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7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8.xml" ContentType="application/vnd.openxmlformats-officedocument.presentationml.notesSl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3" r:id="rId2"/>
    <p:sldMasterId id="2147483668" r:id="rId3"/>
    <p:sldMasterId id="2147483673" r:id="rId4"/>
    <p:sldMasterId id="2147483679" r:id="rId5"/>
    <p:sldMasterId id="2147483694" r:id="rId6"/>
  </p:sldMasterIdLst>
  <p:notesMasterIdLst>
    <p:notesMasterId r:id="rId26"/>
  </p:notesMasterIdLst>
  <p:sldIdLst>
    <p:sldId id="256" r:id="rId7"/>
    <p:sldId id="296" r:id="rId8"/>
    <p:sldId id="285" r:id="rId9"/>
    <p:sldId id="286" r:id="rId10"/>
    <p:sldId id="259" r:id="rId11"/>
    <p:sldId id="260" r:id="rId12"/>
    <p:sldId id="261" r:id="rId13"/>
    <p:sldId id="294" r:id="rId14"/>
    <p:sldId id="287" r:id="rId15"/>
    <p:sldId id="298" r:id="rId16"/>
    <p:sldId id="270" r:id="rId17"/>
    <p:sldId id="271" r:id="rId18"/>
    <p:sldId id="272" r:id="rId19"/>
    <p:sldId id="282" r:id="rId20"/>
    <p:sldId id="288" r:id="rId21"/>
    <p:sldId id="289" r:id="rId22"/>
    <p:sldId id="297" r:id="rId23"/>
    <p:sldId id="276" r:id="rId24"/>
    <p:sldId id="278" r:id="rId25"/>
  </p:sldIdLst>
  <p:sldSz cx="24384000" cy="13716000"/>
  <p:notesSz cx="6858000" cy="9144000"/>
  <p:defaultTextStyle>
    <a:defPPr marL="0" marR="0" indent="0" algn="l" defTabSz="914205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32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1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228551" algn="ctr" defTabSz="82532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1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457103" algn="ctr" defTabSz="82532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1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685654" algn="ctr" defTabSz="82532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1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914205" algn="ctr" defTabSz="82532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1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1142758" algn="ctr" defTabSz="82532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1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1371310" algn="ctr" defTabSz="82532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1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1599861" algn="ctr" defTabSz="82532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1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1828412" algn="ctr" defTabSz="82532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1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  <p15:guide id="3" pos="768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3434"/>
    <a:srgbClr val="002476"/>
    <a:srgbClr val="F2F2F2"/>
    <a:srgbClr val="565656"/>
    <a:srgbClr val="0022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7"/>
    <p:restoredTop sz="83600" autoAdjust="0"/>
  </p:normalViewPr>
  <p:slideViewPr>
    <p:cSldViewPr snapToGrid="0" snapToObjects="1">
      <p:cViewPr varScale="1">
        <p:scale>
          <a:sx n="47" d="100"/>
          <a:sy n="47" d="100"/>
        </p:scale>
        <p:origin x="588" y="60"/>
      </p:cViewPr>
      <p:guideLst>
        <p:guide orient="horz" pos="4320"/>
        <p:guide pos="7680"/>
        <p:guide pos="76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930050621260929E-2"/>
          <c:y val="0.24772313296903462"/>
          <c:w val="0.95213989875747818"/>
          <c:h val="0.657559198542805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604735883424407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C569-455C-B665-FE01CD55BC9D}"/>
                </c:ext>
              </c:extLst>
            </c:dLbl>
            <c:dLbl>
              <c:idx val="1"/>
              <c:layout>
                <c:manualLayout>
                  <c:x val="0"/>
                  <c:y val="-0.4061930783242258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C569-455C-B665-FE01CD55BC9D}"/>
                </c:ext>
              </c:extLst>
            </c:dLbl>
            <c:dLbl>
              <c:idx val="2"/>
              <c:layout>
                <c:manualLayout>
                  <c:x val="0"/>
                  <c:y val="-0.4535519125683060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C569-455C-B665-FE01CD55BC9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7.4</c:v>
                </c:pt>
                <c:pt idx="1">
                  <c:v>15.5</c:v>
                </c:pt>
                <c:pt idx="2">
                  <c:v>18.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569-455C-B665-FE01CD55BC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9905024"/>
        <c:axId val="129906560"/>
      </c:barChart>
      <c:catAx>
        <c:axId val="1299050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accent6"/>
            </a:solidFill>
            <a:prstDash val="solid"/>
          </a:ln>
        </c:spPr>
        <c:crossAx val="129906560"/>
        <c:crosses val="min"/>
        <c:auto val="0"/>
        <c:lblAlgn val="ctr"/>
        <c:lblOffset val="100"/>
        <c:noMultiLvlLbl val="0"/>
      </c:catAx>
      <c:valAx>
        <c:axId val="129906560"/>
        <c:scaling>
          <c:orientation val="minMax"/>
          <c:max val="18.10000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99050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hape 134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35" name="Shape 135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85132222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103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551" defTabSz="457103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103" defTabSz="457103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654" defTabSz="457103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205" defTabSz="457103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2758" defTabSz="457103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310" defTabSz="457103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599861" defTabSz="457103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412" defTabSz="457103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5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905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036570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3852" y="8684899"/>
            <a:ext cx="2972547" cy="457639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7420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5357" y="4913436"/>
            <a:ext cx="5844153" cy="226772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0275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7104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87239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62762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92777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1394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78001" y="2298702"/>
            <a:ext cx="20828000" cy="464820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78001" y="7073901"/>
            <a:ext cx="20828000" cy="158749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300"/>
            </a:lvl1pPr>
            <a:lvl2pPr marL="0" indent="0" algn="ctr">
              <a:spcBef>
                <a:spcPts val="0"/>
              </a:spcBef>
              <a:buSzTx/>
              <a:buNone/>
              <a:defRPr sz="5300"/>
            </a:lvl2pPr>
            <a:lvl3pPr marL="0" indent="0" algn="ctr">
              <a:spcBef>
                <a:spcPts val="0"/>
              </a:spcBef>
              <a:buSzTx/>
              <a:buNone/>
              <a:defRPr sz="5300"/>
            </a:lvl3pPr>
            <a:lvl4pPr marL="0" indent="0" algn="ctr">
              <a:spcBef>
                <a:spcPts val="0"/>
              </a:spcBef>
              <a:buSzTx/>
              <a:buNone/>
              <a:defRPr sz="5300"/>
            </a:lvl4pPr>
            <a:lvl5pPr marL="0" indent="0" algn="ctr">
              <a:spcBef>
                <a:spcPts val="0"/>
              </a:spcBef>
              <a:buSzTx/>
              <a:buNone/>
              <a:defRPr sz="53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— Иван Арсентьев"/>
          <p:cNvSpPr txBox="1">
            <a:spLocks noGrp="1"/>
          </p:cNvSpPr>
          <p:nvPr>
            <p:ph type="body" sz="quarter" idx="13"/>
          </p:nvPr>
        </p:nvSpPr>
        <p:spPr>
          <a:xfrm>
            <a:off x="2387599" y="8953504"/>
            <a:ext cx="19621500" cy="605027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300" i="1"/>
            </a:lvl1pPr>
          </a:lstStyle>
          <a:p>
            <a:r>
              <a:t>— Иван Арсентьев</a:t>
            </a:r>
          </a:p>
        </p:txBody>
      </p:sp>
      <p:sp>
        <p:nvSpPr>
          <p:cNvPr id="94" name="«Место ввода цитаты»."/>
          <p:cNvSpPr txBox="1">
            <a:spLocks noGrp="1"/>
          </p:cNvSpPr>
          <p:nvPr>
            <p:ph type="body" sz="quarter" idx="14"/>
          </p:nvPr>
        </p:nvSpPr>
        <p:spPr>
          <a:xfrm>
            <a:off x="2387599" y="6061576"/>
            <a:ext cx="19621500" cy="85625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490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«Место ввода цитаты».</a:t>
            </a:r>
          </a:p>
        </p:txBody>
      </p:sp>
      <p:sp>
        <p:nvSpPr>
          <p:cNvPr id="9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Изображение"/>
          <p:cNvSpPr>
            <a:spLocks noGrp="1"/>
          </p:cNvSpPr>
          <p:nvPr>
            <p:ph type="pic" idx="13"/>
          </p:nvPr>
        </p:nvSpPr>
        <p:spPr>
          <a:xfrm>
            <a:off x="1" y="0"/>
            <a:ext cx="24384000" cy="16264467"/>
          </a:xfrm>
          <a:prstGeom prst="rect">
            <a:avLst/>
          </a:prstGeom>
        </p:spPr>
        <p:txBody>
          <a:bodyPr lIns="91419" tIns="45709" rIns="91419" bIns="45709" anchor="t">
            <a:noAutofit/>
          </a:bodyPr>
          <a:lstStyle/>
          <a:p>
            <a:endParaRPr/>
          </a:p>
        </p:txBody>
      </p:sp>
      <p:sp>
        <p:nvSpPr>
          <p:cNvPr id="10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048003" y="2244725"/>
            <a:ext cx="18288001" cy="4775202"/>
          </a:xfrm>
          <a:prstGeom prst="rect">
            <a:avLst/>
          </a:prstGeom>
        </p:spPr>
        <p:txBody>
          <a:bodyPr lIns="91419" tIns="91419" rIns="91419" bIns="91419" anchor="b"/>
          <a:lstStyle>
            <a:lvl1pPr defTabSz="1828412">
              <a:lnSpc>
                <a:spcPct val="90000"/>
              </a:lnSpc>
              <a:defRPr sz="12000">
                <a:latin typeface="Muller Medium"/>
                <a:ea typeface="Muller Medium"/>
                <a:cs typeface="Muller Medium"/>
                <a:sym typeface="Muller Medium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3048003" y="7204075"/>
            <a:ext cx="18288001" cy="3311526"/>
          </a:xfrm>
          <a:prstGeom prst="rect">
            <a:avLst/>
          </a:prstGeom>
        </p:spPr>
        <p:txBody>
          <a:bodyPr lIns="91419" tIns="91419" rIns="91419" bIns="91419" anchor="t"/>
          <a:lstStyle>
            <a:lvl1pPr marL="0" indent="0" algn="ctr" defTabSz="1828412">
              <a:lnSpc>
                <a:spcPct val="90000"/>
              </a:lnSpc>
              <a:spcBef>
                <a:spcPts val="2000"/>
              </a:spcBef>
              <a:buSzTx/>
              <a:buNone/>
              <a:defRPr sz="4900">
                <a:latin typeface="Muller Regular"/>
                <a:ea typeface="Muller Regular"/>
                <a:cs typeface="Muller Regular"/>
                <a:sym typeface="Muller Regular"/>
              </a:defRPr>
            </a:lvl1pPr>
            <a:lvl2pPr marL="0" indent="457103" algn="ctr" defTabSz="1828412">
              <a:lnSpc>
                <a:spcPct val="90000"/>
              </a:lnSpc>
              <a:spcBef>
                <a:spcPts val="2000"/>
              </a:spcBef>
              <a:buSzTx/>
              <a:buNone/>
              <a:defRPr sz="4900">
                <a:latin typeface="Muller Regular"/>
                <a:ea typeface="Muller Regular"/>
                <a:cs typeface="Muller Regular"/>
                <a:sym typeface="Muller Regular"/>
              </a:defRPr>
            </a:lvl2pPr>
            <a:lvl3pPr marL="0" indent="914205" algn="ctr" defTabSz="1828412">
              <a:lnSpc>
                <a:spcPct val="90000"/>
              </a:lnSpc>
              <a:spcBef>
                <a:spcPts val="2000"/>
              </a:spcBef>
              <a:buSzTx/>
              <a:buNone/>
              <a:defRPr sz="4900">
                <a:latin typeface="Muller Regular"/>
                <a:ea typeface="Muller Regular"/>
                <a:cs typeface="Muller Regular"/>
                <a:sym typeface="Muller Regular"/>
              </a:defRPr>
            </a:lvl3pPr>
            <a:lvl4pPr marL="0" indent="1371310" algn="ctr" defTabSz="1828412">
              <a:lnSpc>
                <a:spcPct val="90000"/>
              </a:lnSpc>
              <a:spcBef>
                <a:spcPts val="2000"/>
              </a:spcBef>
              <a:buSzTx/>
              <a:buNone/>
              <a:defRPr sz="4900">
                <a:latin typeface="Muller Regular"/>
                <a:ea typeface="Muller Regular"/>
                <a:cs typeface="Muller Regular"/>
                <a:sym typeface="Muller Regular"/>
              </a:defRPr>
            </a:lvl4pPr>
            <a:lvl5pPr marL="0" indent="1828412" algn="ctr" defTabSz="1828412">
              <a:lnSpc>
                <a:spcPct val="90000"/>
              </a:lnSpc>
              <a:spcBef>
                <a:spcPts val="2000"/>
              </a:spcBef>
              <a:buSzTx/>
              <a:buNone/>
              <a:defRPr sz="4900">
                <a:latin typeface="Muller Regular"/>
                <a:ea typeface="Muller Regular"/>
                <a:cs typeface="Muller Regular"/>
                <a:sym typeface="Muller Regular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22140227" y="12797090"/>
            <a:ext cx="567377" cy="561480"/>
          </a:xfrm>
          <a:prstGeom prst="rect">
            <a:avLst/>
          </a:prstGeom>
        </p:spPr>
        <p:txBody>
          <a:bodyPr lIns="91419" tIns="91419" rIns="91419" bIns="91419" anchor="ctr"/>
          <a:lstStyle>
            <a:lvl1pPr algn="r" defTabSz="1828412">
              <a:defRPr>
                <a:solidFill>
                  <a:srgbClr val="888888"/>
                </a:solidFill>
                <a:latin typeface="Muller Regular"/>
                <a:ea typeface="Muller Regular"/>
                <a:cs typeface="Muller Regular"/>
                <a:sym typeface="Muller Regular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76401" y="730251"/>
            <a:ext cx="21031200" cy="2651125"/>
          </a:xfrm>
          <a:prstGeom prst="rect">
            <a:avLst/>
          </a:prstGeom>
        </p:spPr>
        <p:txBody>
          <a:bodyPr lIns="91419" tIns="91419" rIns="91419" bIns="91419"/>
          <a:lstStyle>
            <a:lvl1pPr algn="l" defTabSz="1828412">
              <a:lnSpc>
                <a:spcPct val="90000"/>
              </a:lnSpc>
              <a:defRPr sz="8800">
                <a:latin typeface="Muller Medium"/>
                <a:ea typeface="Muller Medium"/>
                <a:cs typeface="Muller Medium"/>
                <a:sym typeface="Muller Medium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7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76401" y="3651251"/>
            <a:ext cx="21031200" cy="8702676"/>
          </a:xfrm>
          <a:prstGeom prst="rect">
            <a:avLst/>
          </a:prstGeom>
        </p:spPr>
        <p:txBody>
          <a:bodyPr lIns="91419" tIns="91419" rIns="91419" bIns="91419" anchor="t"/>
          <a:lstStyle>
            <a:lvl1pPr marL="457103" indent="-457103" defTabSz="1828412">
              <a:lnSpc>
                <a:spcPct val="90000"/>
              </a:lnSpc>
              <a:spcBef>
                <a:spcPts val="2000"/>
              </a:spcBef>
              <a:buSzPct val="100000"/>
              <a:buFont typeface="Arial"/>
              <a:defRPr sz="5500">
                <a:latin typeface="Muller Regular"/>
                <a:ea typeface="Muller Regular"/>
                <a:cs typeface="Muller Regular"/>
                <a:sym typeface="Muller Regular"/>
              </a:defRPr>
            </a:lvl1pPr>
            <a:lvl2pPr marL="990391" indent="-533286" defTabSz="1828412">
              <a:lnSpc>
                <a:spcPct val="90000"/>
              </a:lnSpc>
              <a:spcBef>
                <a:spcPts val="2000"/>
              </a:spcBef>
              <a:buSzPct val="100000"/>
              <a:buFont typeface="Arial"/>
              <a:defRPr sz="5500">
                <a:latin typeface="Muller Regular"/>
                <a:ea typeface="Muller Regular"/>
                <a:cs typeface="Muller Regular"/>
                <a:sym typeface="Muller Regular"/>
              </a:defRPr>
            </a:lvl2pPr>
            <a:lvl3pPr marL="1554150" indent="-639944" defTabSz="1828412">
              <a:lnSpc>
                <a:spcPct val="90000"/>
              </a:lnSpc>
              <a:spcBef>
                <a:spcPts val="2000"/>
              </a:spcBef>
              <a:buSzPct val="100000"/>
              <a:buFont typeface="Arial"/>
              <a:defRPr sz="5500">
                <a:latin typeface="Muller Regular"/>
                <a:ea typeface="Muller Regular"/>
                <a:cs typeface="Muller Regular"/>
                <a:sym typeface="Muller Regular"/>
              </a:defRPr>
            </a:lvl3pPr>
            <a:lvl4pPr marL="2082359" indent="-711049" defTabSz="1828412">
              <a:lnSpc>
                <a:spcPct val="90000"/>
              </a:lnSpc>
              <a:spcBef>
                <a:spcPts val="2000"/>
              </a:spcBef>
              <a:buSzPct val="100000"/>
              <a:buFont typeface="Arial"/>
              <a:defRPr sz="5500">
                <a:latin typeface="Muller Regular"/>
                <a:ea typeface="Muller Regular"/>
                <a:cs typeface="Muller Regular"/>
                <a:sym typeface="Muller Regular"/>
              </a:defRPr>
            </a:lvl4pPr>
            <a:lvl5pPr marL="2539461" indent="-711049" defTabSz="1828412">
              <a:lnSpc>
                <a:spcPct val="90000"/>
              </a:lnSpc>
              <a:spcBef>
                <a:spcPts val="2000"/>
              </a:spcBef>
              <a:buSzPct val="100000"/>
              <a:buFont typeface="Arial"/>
              <a:defRPr sz="5500">
                <a:latin typeface="Muller Regular"/>
                <a:ea typeface="Muller Regular"/>
                <a:cs typeface="Muller Regular"/>
                <a:sym typeface="Muller Regular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22140227" y="12797090"/>
            <a:ext cx="567377" cy="561480"/>
          </a:xfrm>
          <a:prstGeom prst="rect">
            <a:avLst/>
          </a:prstGeom>
        </p:spPr>
        <p:txBody>
          <a:bodyPr lIns="91419" tIns="91419" rIns="91419" bIns="91419" anchor="ctr"/>
          <a:lstStyle>
            <a:lvl1pPr algn="r" defTabSz="1828412">
              <a:defRPr>
                <a:solidFill>
                  <a:srgbClr val="888888"/>
                </a:solidFill>
                <a:latin typeface="Muller Regular"/>
                <a:ea typeface="Muller Regular"/>
                <a:cs typeface="Muller Regular"/>
                <a:sym typeface="Muller Regular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994323"/>
              </p:ext>
            </p:extLst>
          </p:nvPr>
        </p:nvGraphicFramePr>
        <p:xfrm>
          <a:off x="4326" y="3251"/>
          <a:ext cx="4318" cy="3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6" y="3251"/>
                        <a:ext cx="4318" cy="3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4">
            <a:extLst>
              <a:ext uri="{FF2B5EF4-FFF2-40B4-BE49-F238E27FC236}">
                <a16:creationId xmlns:a16="http://schemas.microsoft.com/office/drawing/2014/main" id="{666F59EC-78D7-4405-BFB0-066142D1A895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r="9"/>
          <a:stretch/>
        </p:blipFill>
        <p:spPr bwMode="gray">
          <a:xfrm>
            <a:off x="34" y="438"/>
            <a:ext cx="24384000" cy="13715192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884814" y="2927120"/>
            <a:ext cx="16012651" cy="95410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1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884822" y="8105046"/>
            <a:ext cx="1601264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defTabSz="182744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b="0" kern="1200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pic>
        <p:nvPicPr>
          <p:cNvPr id="8" name="Изображение 8">
            <a:extLst>
              <a:ext uri="{FF2B5EF4-FFF2-40B4-BE49-F238E27FC236}">
                <a16:creationId xmlns:a16="http://schemas.microsoft.com/office/drawing/2014/main" id="{6B689FA8-377C-4C43-9218-520F34CEC55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66" t="16386" r="14746" b="26156"/>
          <a:stretch/>
        </p:blipFill>
        <p:spPr>
          <a:xfrm>
            <a:off x="16652005" y="385208"/>
            <a:ext cx="3654198" cy="161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5993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7AE1BB-729E-45B0-BDA5-83003B76EC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4858272"/>
              </p:ext>
            </p:extLst>
          </p:nvPr>
        </p:nvGraphicFramePr>
        <p:xfrm>
          <a:off x="4326" y="3251"/>
          <a:ext cx="4318" cy="3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6" y="3251"/>
                        <a:ext cx="4318" cy="3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23304107" y="1332960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algn="l" defTabSz="1827443" fontAlgn="base" hangingPunct="1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b="0" kern="1200" smtClean="0">
                <a:solidFill>
                  <a:srgbClr val="808080"/>
                </a:solidFill>
                <a:ea typeface="+mn-ea"/>
                <a:cs typeface="+mn-cs"/>
              </a:rPr>
              <a:pPr algn="l" defTabSz="1827443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b="0" kern="1200" dirty="0">
              <a:solidFill>
                <a:srgbClr val="80808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0755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8AB67CB-A75D-48EB-9444-030D74C947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8444576"/>
              </p:ext>
            </p:extLst>
          </p:nvPr>
        </p:nvGraphicFramePr>
        <p:xfrm>
          <a:off x="4326" y="3251"/>
          <a:ext cx="4318" cy="3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6" y="3251"/>
                        <a:ext cx="4318" cy="3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Рисунок 7">
            <a:extLst>
              <a:ext uri="{FF2B5EF4-FFF2-40B4-BE49-F238E27FC236}">
                <a16:creationId xmlns:a16="http://schemas.microsoft.com/office/drawing/2014/main" id="{2B4C3568-B1A0-4098-91A6-68D890A7CA72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" r="-52"/>
          <a:stretch/>
        </p:blipFill>
        <p:spPr bwMode="gray">
          <a:xfrm>
            <a:off x="-9682" y="438"/>
            <a:ext cx="24393718" cy="137151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23304107" y="13329605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algn="l" defTabSz="1827443" fontAlgn="base" hangingPunct="1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b="0" kern="1200" smtClean="0">
                <a:solidFill>
                  <a:srgbClr val="FFFFFF"/>
                </a:solidFill>
                <a:ea typeface="+mn-ea"/>
                <a:cs typeface="+mn-cs"/>
              </a:rPr>
              <a:pPr algn="l" defTabSz="1827443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b="0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21990992" y="103675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2383892" fontAlgn="base" hangingPunct="1">
              <a:spcBef>
                <a:spcPct val="0"/>
              </a:spcBef>
              <a:spcAft>
                <a:spcPct val="0"/>
              </a:spcAft>
            </a:pPr>
            <a:endParaRPr lang="ru-RU" sz="2000" b="0" kern="1200" dirty="0">
              <a:solidFill>
                <a:srgbClr val="808080"/>
              </a:solidFill>
              <a:latin typeface="Arial"/>
              <a:ea typeface="+mn-ea"/>
              <a:cs typeface="+mn-cs"/>
            </a:endParaRPr>
          </a:p>
        </p:txBody>
      </p:sp>
      <p:pic>
        <p:nvPicPr>
          <p:cNvPr id="8" name="Изображение 8">
            <a:extLst>
              <a:ext uri="{FF2B5EF4-FFF2-40B4-BE49-F238E27FC236}">
                <a16:creationId xmlns:a16="http://schemas.microsoft.com/office/drawing/2014/main" id="{B797639E-EEBB-4ECA-A9AE-3976105A0AD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24" t="20045" r="13408" b="27065"/>
          <a:stretch/>
        </p:blipFill>
        <p:spPr>
          <a:xfrm>
            <a:off x="21990998" y="463685"/>
            <a:ext cx="1780125" cy="70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9428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928035"/>
              </p:ext>
            </p:extLst>
          </p:nvPr>
        </p:nvGraphicFramePr>
        <p:xfrm>
          <a:off x="4326" y="3247"/>
          <a:ext cx="4318" cy="3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6" y="3247"/>
                        <a:ext cx="4318" cy="3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4">
            <a:extLst>
              <a:ext uri="{FF2B5EF4-FFF2-40B4-BE49-F238E27FC236}">
                <a16:creationId xmlns:a16="http://schemas.microsoft.com/office/drawing/2014/main" id="{666F59EC-78D7-4405-BFB0-066142D1A895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r="9"/>
          <a:stretch/>
        </p:blipFill>
        <p:spPr bwMode="gray">
          <a:xfrm>
            <a:off x="13" y="423"/>
            <a:ext cx="24384000" cy="13715192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884792" y="2927124"/>
            <a:ext cx="16012651" cy="10048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3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884800" y="8105036"/>
            <a:ext cx="1601264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b="0" kern="1200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pic>
        <p:nvPicPr>
          <p:cNvPr id="8" name="Изображение 8">
            <a:extLst>
              <a:ext uri="{FF2B5EF4-FFF2-40B4-BE49-F238E27FC236}">
                <a16:creationId xmlns:a16="http://schemas.microsoft.com/office/drawing/2014/main" id="{6B689FA8-377C-4C43-9218-520F34CEC55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66" t="16386" r="14746" b="26156"/>
          <a:stretch/>
        </p:blipFill>
        <p:spPr>
          <a:xfrm>
            <a:off x="16652005" y="385189"/>
            <a:ext cx="3654198" cy="161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0074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7AE1BB-729E-45B0-BDA5-83003B76EC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9302573"/>
              </p:ext>
            </p:extLst>
          </p:nvPr>
        </p:nvGraphicFramePr>
        <p:xfrm>
          <a:off x="4326" y="3247"/>
          <a:ext cx="4318" cy="3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6" y="3247"/>
                        <a:ext cx="4318" cy="3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23304107" y="1332960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b="0" kern="1200" smtClean="0">
                <a:solidFill>
                  <a:srgbClr val="808080"/>
                </a:solidFill>
                <a:ea typeface="+mn-ea"/>
                <a:cs typeface="+mn-cs"/>
              </a:rPr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b="0" kern="1200" dirty="0">
              <a:solidFill>
                <a:srgbClr val="80808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81845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3124201" y="-38101"/>
            <a:ext cx="18135600" cy="12096698"/>
          </a:xfrm>
          <a:prstGeom prst="rect">
            <a:avLst/>
          </a:prstGeom>
        </p:spPr>
        <p:txBody>
          <a:bodyPr lIns="91419" tIns="45709" rIns="91419" bIns="4570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5004" y="9512300"/>
            <a:ext cx="23113999" cy="200660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35004" y="11442700"/>
            <a:ext cx="23113999" cy="158749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300"/>
            </a:lvl1pPr>
            <a:lvl2pPr marL="0" indent="0" algn="ctr">
              <a:spcBef>
                <a:spcPts val="0"/>
              </a:spcBef>
              <a:buSzTx/>
              <a:buNone/>
              <a:defRPr sz="5300"/>
            </a:lvl2pPr>
            <a:lvl3pPr marL="0" indent="0" algn="ctr">
              <a:spcBef>
                <a:spcPts val="0"/>
              </a:spcBef>
              <a:buSzTx/>
              <a:buNone/>
              <a:defRPr sz="5300"/>
            </a:lvl3pPr>
            <a:lvl4pPr marL="0" indent="0" algn="ctr">
              <a:spcBef>
                <a:spcPts val="0"/>
              </a:spcBef>
              <a:buSzTx/>
              <a:buNone/>
              <a:defRPr sz="5300"/>
            </a:lvl4pPr>
            <a:lvl5pPr marL="0" indent="0" algn="ctr">
              <a:spcBef>
                <a:spcPts val="0"/>
              </a:spcBef>
              <a:buSzTx/>
              <a:buNone/>
              <a:defRPr sz="53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8AB67CB-A75D-48EB-9444-030D74C947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481009"/>
              </p:ext>
            </p:extLst>
          </p:nvPr>
        </p:nvGraphicFramePr>
        <p:xfrm>
          <a:off x="4326" y="3247"/>
          <a:ext cx="4318" cy="3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6" y="3247"/>
                        <a:ext cx="4318" cy="3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Рисунок 7">
            <a:extLst>
              <a:ext uri="{FF2B5EF4-FFF2-40B4-BE49-F238E27FC236}">
                <a16:creationId xmlns:a16="http://schemas.microsoft.com/office/drawing/2014/main" id="{2B4C3568-B1A0-4098-91A6-68D890A7CA72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" r="-52"/>
          <a:stretch/>
        </p:blipFill>
        <p:spPr bwMode="gray">
          <a:xfrm>
            <a:off x="-9705" y="423"/>
            <a:ext cx="24393718" cy="137151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23304107" y="13329605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b="0" kern="1200" smtClean="0">
                <a:solidFill>
                  <a:srgbClr val="FFFFFF"/>
                </a:solidFill>
                <a:ea typeface="+mn-ea"/>
                <a:cs typeface="+mn-cs"/>
              </a:rPr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b="0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21990970" y="103671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2434091" fontAlgn="base" hangingPunct="1">
              <a:spcBef>
                <a:spcPct val="0"/>
              </a:spcBef>
              <a:spcAft>
                <a:spcPct val="0"/>
              </a:spcAft>
            </a:pPr>
            <a:endParaRPr lang="ru-RU" sz="2000" b="0" kern="1200" dirty="0">
              <a:solidFill>
                <a:srgbClr val="808080"/>
              </a:solidFill>
              <a:latin typeface="Arial"/>
              <a:ea typeface="+mn-ea"/>
              <a:cs typeface="+mn-cs"/>
            </a:endParaRPr>
          </a:p>
        </p:txBody>
      </p:sp>
      <p:pic>
        <p:nvPicPr>
          <p:cNvPr id="8" name="Изображение 8">
            <a:extLst>
              <a:ext uri="{FF2B5EF4-FFF2-40B4-BE49-F238E27FC236}">
                <a16:creationId xmlns:a16="http://schemas.microsoft.com/office/drawing/2014/main" id="{B797639E-EEBB-4ECA-A9AE-3976105A0AD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24" t="20045" r="13408" b="27065"/>
          <a:stretch/>
        </p:blipFill>
        <p:spPr>
          <a:xfrm>
            <a:off x="21990976" y="463679"/>
            <a:ext cx="1780125" cy="70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6390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991472"/>
              </p:ext>
            </p:extLst>
          </p:nvPr>
        </p:nvGraphicFramePr>
        <p:xfrm>
          <a:off x="4326" y="3247"/>
          <a:ext cx="4318" cy="3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6" y="3247"/>
                        <a:ext cx="4318" cy="3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4">
            <a:extLst>
              <a:ext uri="{FF2B5EF4-FFF2-40B4-BE49-F238E27FC236}">
                <a16:creationId xmlns:a16="http://schemas.microsoft.com/office/drawing/2014/main" id="{666F59EC-78D7-4405-BFB0-066142D1A895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r="9"/>
          <a:stretch/>
        </p:blipFill>
        <p:spPr bwMode="gray">
          <a:xfrm>
            <a:off x="13" y="423"/>
            <a:ext cx="24384000" cy="13715192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884792" y="2927124"/>
            <a:ext cx="16012651" cy="100489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3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884800" y="8105036"/>
            <a:ext cx="1601264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b="0" kern="1200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pic>
        <p:nvPicPr>
          <p:cNvPr id="8" name="Изображение 8">
            <a:extLst>
              <a:ext uri="{FF2B5EF4-FFF2-40B4-BE49-F238E27FC236}">
                <a16:creationId xmlns:a16="http://schemas.microsoft.com/office/drawing/2014/main" id="{6B689FA8-377C-4C43-9218-520F34CEC55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66" t="16386" r="14746" b="26156"/>
          <a:stretch/>
        </p:blipFill>
        <p:spPr>
          <a:xfrm>
            <a:off x="16652005" y="385189"/>
            <a:ext cx="3654198" cy="161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6728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7AE1BB-729E-45B0-BDA5-83003B76EC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952462"/>
              </p:ext>
            </p:extLst>
          </p:nvPr>
        </p:nvGraphicFramePr>
        <p:xfrm>
          <a:off x="4326" y="3247"/>
          <a:ext cx="4318" cy="3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6" y="3247"/>
                        <a:ext cx="4318" cy="3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23304107" y="1332960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b="0" kern="1200" smtClean="0">
                <a:solidFill>
                  <a:srgbClr val="808080"/>
                </a:solidFill>
                <a:ea typeface="+mn-ea"/>
                <a:cs typeface="+mn-cs"/>
              </a:rPr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b="0" kern="1200" dirty="0">
              <a:solidFill>
                <a:srgbClr val="80808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5061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8AB67CB-A75D-48EB-9444-030D74C947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2730013"/>
              </p:ext>
            </p:extLst>
          </p:nvPr>
        </p:nvGraphicFramePr>
        <p:xfrm>
          <a:off x="4326" y="3247"/>
          <a:ext cx="4318" cy="3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9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6" y="3247"/>
                        <a:ext cx="4318" cy="3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Рисунок 7">
            <a:extLst>
              <a:ext uri="{FF2B5EF4-FFF2-40B4-BE49-F238E27FC236}">
                <a16:creationId xmlns:a16="http://schemas.microsoft.com/office/drawing/2014/main" id="{2B4C3568-B1A0-4098-91A6-68D890A7CA72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" r="-52"/>
          <a:stretch/>
        </p:blipFill>
        <p:spPr bwMode="gray">
          <a:xfrm>
            <a:off x="-9705" y="423"/>
            <a:ext cx="24393718" cy="137151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23304107" y="13329605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b="0" kern="1200" smtClean="0">
                <a:solidFill>
                  <a:srgbClr val="FFFFFF"/>
                </a:solidFill>
                <a:ea typeface="+mn-ea"/>
                <a:cs typeface="+mn-cs"/>
              </a:rPr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b="0" kern="1200" dirty="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21990970" y="103671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2434091" fontAlgn="base" hangingPunct="1">
              <a:spcBef>
                <a:spcPct val="0"/>
              </a:spcBef>
              <a:spcAft>
                <a:spcPct val="0"/>
              </a:spcAft>
            </a:pPr>
            <a:endParaRPr lang="ru-RU" sz="2000" b="0" kern="1200" dirty="0">
              <a:solidFill>
                <a:srgbClr val="808080"/>
              </a:solidFill>
              <a:latin typeface="Arial"/>
              <a:ea typeface="+mn-ea"/>
              <a:cs typeface="+mn-cs"/>
            </a:endParaRPr>
          </a:p>
        </p:txBody>
      </p:sp>
      <p:pic>
        <p:nvPicPr>
          <p:cNvPr id="8" name="Изображение 8">
            <a:extLst>
              <a:ext uri="{FF2B5EF4-FFF2-40B4-BE49-F238E27FC236}">
                <a16:creationId xmlns:a16="http://schemas.microsoft.com/office/drawing/2014/main" id="{B797639E-EEBB-4ECA-A9AE-3976105A0AD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24" t="20045" r="13408" b="27065"/>
          <a:stretch/>
        </p:blipFill>
        <p:spPr>
          <a:xfrm>
            <a:off x="21990976" y="463679"/>
            <a:ext cx="1780125" cy="70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6159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7AE1BB-729E-45B0-BDA5-83003B76E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3876515"/>
              </p:ext>
            </p:extLst>
          </p:nvPr>
        </p:nvGraphicFramePr>
        <p:xfrm>
          <a:off x="4324" y="3244"/>
          <a:ext cx="431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3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4" y="3244"/>
                        <a:ext cx="431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23304109" y="13280936"/>
            <a:ext cx="255151" cy="25122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sz="1600" b="0" kern="1200" smtClean="0">
                <a:solidFill>
                  <a:srgbClr val="808080"/>
                </a:solidFill>
                <a:ea typeface="+mn-ea"/>
                <a:cs typeface="+mn-cs"/>
              </a:rPr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00" b="0" kern="1200" dirty="0">
              <a:solidFill>
                <a:srgbClr val="80808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65585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одзаголовок копия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Прямоугольник"/>
          <p:cNvSpPr/>
          <p:nvPr/>
        </p:nvSpPr>
        <p:spPr>
          <a:xfrm>
            <a:off x="-59263" y="-98818"/>
            <a:ext cx="24502533" cy="13868402"/>
          </a:xfrm>
          <a:prstGeom prst="rect">
            <a:avLst/>
          </a:prstGeom>
          <a:solidFill>
            <a:srgbClr val="92DCF9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  <a:defRPr sz="35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500" b="0" kern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7" name="Треугольник"/>
          <p:cNvSpPr/>
          <p:nvPr/>
        </p:nvSpPr>
        <p:spPr>
          <a:xfrm rot="5400000">
            <a:off x="-1484325" y="1352168"/>
            <a:ext cx="4820677" cy="19190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close/>
              </a:path>
            </a:pathLst>
          </a:custGeom>
          <a:solidFill>
            <a:schemeClr val="accent1"/>
          </a:solidFill>
          <a:ln w="25400">
            <a:solidFill>
              <a:schemeClr val="accent1"/>
            </a:solidFill>
          </a:ln>
        </p:spPr>
        <p:txBody>
          <a:bodyPr lIns="0" tIns="0" rIns="0" bIns="0" anchor="ctr"/>
          <a:lstStyle/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  <a:defRPr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300" b="0" kern="1200"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22633748" y="12784406"/>
            <a:ext cx="357735" cy="353805"/>
          </a:xfrm>
          <a:prstGeom prst="rect">
            <a:avLst/>
          </a:prstGeom>
        </p:spPr>
        <p:txBody>
          <a:bodyPr lIns="91431" tIns="45716" rIns="91431" bIns="45716"/>
          <a:lstStyle>
            <a:lvl1pPr algn="l">
              <a:defRPr sz="1600">
                <a:solidFill>
                  <a:srgbClr val="FFFFFF"/>
                </a:solidFill>
                <a:latin typeface="VTB Group Cond"/>
                <a:ea typeface="VTB Group Cond"/>
                <a:cs typeface="VTB Group Cond"/>
                <a:sym typeface="VTB Group Cond"/>
              </a:defRPr>
            </a:lvl1pPr>
          </a:lstStyle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b="0" kern="1200"/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b="0" kern="1200"/>
          </a:p>
        </p:txBody>
      </p:sp>
    </p:spTree>
    <p:extLst>
      <p:ext uri="{BB962C8B-B14F-4D97-AF65-F5344CB8AC3E}">
        <p14:creationId xmlns:p14="http://schemas.microsoft.com/office/powerpoint/2010/main" val="65324501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78000" y="2298700"/>
            <a:ext cx="20828000" cy="464820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78000" y="7073900"/>
            <a:ext cx="20828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7136318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3124200" y="-38100"/>
            <a:ext cx="18135600" cy="1209669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4232093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78000" y="4533900"/>
            <a:ext cx="20828000" cy="464820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7877507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Изображение"/>
          <p:cNvSpPr>
            <a:spLocks noGrp="1"/>
          </p:cNvSpPr>
          <p:nvPr>
            <p:ph type="pic" idx="13"/>
          </p:nvPr>
        </p:nvSpPr>
        <p:spPr>
          <a:xfrm>
            <a:off x="7950200" y="1104900"/>
            <a:ext cx="17259302" cy="11506201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51000" y="952500"/>
            <a:ext cx="10223500" cy="5549900"/>
          </a:xfrm>
          <a:prstGeom prst="rect">
            <a:avLst/>
          </a:prstGeom>
        </p:spPr>
        <p:txBody>
          <a:bodyPr anchor="b"/>
          <a:lstStyle>
            <a:lvl1pPr>
              <a:defRPr sz="8400"/>
            </a:lvl1pPr>
          </a:lstStyle>
          <a:p>
            <a:r>
              <a:t>Текст заголовка</a:t>
            </a:r>
          </a:p>
        </p:txBody>
      </p:sp>
      <p:sp>
        <p:nvSpPr>
          <p:cNvPr id="4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651000" y="6527800"/>
            <a:ext cx="10223500" cy="57277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400"/>
            </a:lvl1pPr>
            <a:lvl2pPr marL="0" indent="0" algn="ctr">
              <a:spcBef>
                <a:spcPts val="0"/>
              </a:spcBef>
              <a:buSzTx/>
              <a:buNone/>
              <a:defRPr sz="5400"/>
            </a:lvl2pPr>
            <a:lvl3pPr marL="0" indent="0" algn="ctr">
              <a:spcBef>
                <a:spcPts val="0"/>
              </a:spcBef>
              <a:buSzTx/>
              <a:buNone/>
              <a:defRPr sz="5400"/>
            </a:lvl3pPr>
            <a:lvl4pPr marL="0" indent="0" algn="ctr">
              <a:spcBef>
                <a:spcPts val="0"/>
              </a:spcBef>
              <a:buSzTx/>
              <a:buNone/>
              <a:defRPr sz="5400"/>
            </a:lvl4pPr>
            <a:lvl5pPr marL="0" indent="0" algn="ctr">
              <a:spcBef>
                <a:spcPts val="0"/>
              </a:spcBef>
              <a:buSzTx/>
              <a:buNone/>
              <a:defRPr sz="5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65396926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78001" y="4533901"/>
            <a:ext cx="20828000" cy="464820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64142993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61687598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10960100" y="3149600"/>
            <a:ext cx="13944600" cy="92964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1689100" y="3149600"/>
            <a:ext cx="10223500" cy="9296400"/>
          </a:xfrm>
          <a:prstGeom prst="rect">
            <a:avLst/>
          </a:prstGeom>
        </p:spPr>
        <p:txBody>
          <a:bodyPr/>
          <a:lstStyle>
            <a:lvl1pPr marL="558800" indent="-558800">
              <a:spcBef>
                <a:spcPts val="4500"/>
              </a:spcBef>
              <a:defRPr sz="3800"/>
            </a:lvl1pPr>
            <a:lvl2pPr marL="1117600" indent="-558800">
              <a:spcBef>
                <a:spcPts val="4500"/>
              </a:spcBef>
              <a:defRPr sz="3800"/>
            </a:lvl2pPr>
            <a:lvl3pPr marL="1676400" indent="-558800">
              <a:spcBef>
                <a:spcPts val="4500"/>
              </a:spcBef>
              <a:defRPr sz="3800"/>
            </a:lvl3pPr>
            <a:lvl4pPr marL="2235200" indent="-558800">
              <a:spcBef>
                <a:spcPts val="4500"/>
              </a:spcBef>
              <a:defRPr sz="3800"/>
            </a:lvl4pPr>
            <a:lvl5pPr marL="2794000" indent="-558800">
              <a:spcBef>
                <a:spcPts val="4500"/>
              </a:spcBef>
              <a:defRPr sz="3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6804123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89100" y="1778000"/>
            <a:ext cx="21005800" cy="10160000"/>
          </a:xfrm>
          <a:prstGeom prst="rect">
            <a:avLst/>
          </a:prstGeom>
        </p:spPr>
        <p:txBody>
          <a:bodyPr/>
          <a:lstStyle>
            <a:lvl1pPr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18165069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 (3 ш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15681340" y="7035800"/>
            <a:ext cx="8396678" cy="56007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Изображение"/>
          <p:cNvSpPr>
            <a:spLocks noGrp="1"/>
          </p:cNvSpPr>
          <p:nvPr>
            <p:ph type="pic" sz="quarter" idx="14"/>
          </p:nvPr>
        </p:nvSpPr>
        <p:spPr>
          <a:xfrm>
            <a:off x="15290800" y="1130300"/>
            <a:ext cx="8331200" cy="555413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Изображение"/>
          <p:cNvSpPr>
            <a:spLocks noGrp="1"/>
          </p:cNvSpPr>
          <p:nvPr>
            <p:ph type="pic" idx="15"/>
          </p:nvPr>
        </p:nvSpPr>
        <p:spPr>
          <a:xfrm>
            <a:off x="-304800" y="1130300"/>
            <a:ext cx="17202150" cy="114681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2490742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— Иван Арсентьев"/>
          <p:cNvSpPr txBox="1">
            <a:spLocks noGrp="1"/>
          </p:cNvSpPr>
          <p:nvPr>
            <p:ph type="body" sz="quarter" idx="13"/>
          </p:nvPr>
        </p:nvSpPr>
        <p:spPr>
          <a:xfrm>
            <a:off x="2387600" y="8953500"/>
            <a:ext cx="19621500" cy="585521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200" i="1"/>
            </a:lvl1pPr>
          </a:lstStyle>
          <a:p>
            <a:r>
              <a:t>— Иван Арсентьев</a:t>
            </a:r>
          </a:p>
        </p:txBody>
      </p:sp>
      <p:sp>
        <p:nvSpPr>
          <p:cNvPr id="94" name="«Место ввода цитаты»."/>
          <p:cNvSpPr txBox="1">
            <a:spLocks noGrp="1"/>
          </p:cNvSpPr>
          <p:nvPr>
            <p:ph type="body" sz="quarter" idx="14"/>
          </p:nvPr>
        </p:nvSpPr>
        <p:spPr>
          <a:xfrm>
            <a:off x="2387600" y="6076950"/>
            <a:ext cx="19621500" cy="82550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480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«Место ввода цитаты».</a:t>
            </a:r>
          </a:p>
        </p:txBody>
      </p:sp>
      <p:sp>
        <p:nvSpPr>
          <p:cNvPr id="9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99728119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Изображение"/>
          <p:cNvSpPr>
            <a:spLocks noGrp="1"/>
          </p:cNvSpPr>
          <p:nvPr>
            <p:ph type="pic" idx="13"/>
          </p:nvPr>
        </p:nvSpPr>
        <p:spPr>
          <a:xfrm>
            <a:off x="0" y="0"/>
            <a:ext cx="24384000" cy="1626446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1515427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9108110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048000" y="2244725"/>
            <a:ext cx="18288000" cy="4775201"/>
          </a:xfrm>
          <a:prstGeom prst="rect">
            <a:avLst/>
          </a:prstGeom>
        </p:spPr>
        <p:txBody>
          <a:bodyPr lIns="91439" tIns="91439" rIns="91439" bIns="91439" anchor="b"/>
          <a:lstStyle>
            <a:lvl1pPr defTabSz="1828800">
              <a:lnSpc>
                <a:spcPct val="90000"/>
              </a:lnSpc>
              <a:defRPr sz="12000">
                <a:latin typeface="Muller Medium"/>
                <a:ea typeface="Muller Medium"/>
                <a:cs typeface="Muller Medium"/>
                <a:sym typeface="Muller Medium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3048000" y="7204075"/>
            <a:ext cx="18288000" cy="3311525"/>
          </a:xfrm>
          <a:prstGeom prst="rect">
            <a:avLst/>
          </a:prstGeom>
        </p:spPr>
        <p:txBody>
          <a:bodyPr lIns="91439" tIns="91439" rIns="91439" bIns="91439" anchor="t"/>
          <a:lstStyle>
            <a:lvl1pPr marL="0" indent="0" algn="ctr" defTabSz="1828800">
              <a:lnSpc>
                <a:spcPct val="90000"/>
              </a:lnSpc>
              <a:spcBef>
                <a:spcPts val="2000"/>
              </a:spcBef>
              <a:buSzTx/>
              <a:buNone/>
              <a:defRPr sz="4800">
                <a:latin typeface="Muller Regular"/>
                <a:ea typeface="Muller Regular"/>
                <a:cs typeface="Muller Regular"/>
                <a:sym typeface="Muller Regular"/>
              </a:defRPr>
            </a:lvl1pPr>
            <a:lvl2pPr marL="0" indent="457200" algn="ctr" defTabSz="1828800">
              <a:lnSpc>
                <a:spcPct val="90000"/>
              </a:lnSpc>
              <a:spcBef>
                <a:spcPts val="2000"/>
              </a:spcBef>
              <a:buSzTx/>
              <a:buNone/>
              <a:defRPr sz="4800">
                <a:latin typeface="Muller Regular"/>
                <a:ea typeface="Muller Regular"/>
                <a:cs typeface="Muller Regular"/>
                <a:sym typeface="Muller Regular"/>
              </a:defRPr>
            </a:lvl2pPr>
            <a:lvl3pPr marL="0" indent="914400" algn="ctr" defTabSz="1828800">
              <a:lnSpc>
                <a:spcPct val="90000"/>
              </a:lnSpc>
              <a:spcBef>
                <a:spcPts val="2000"/>
              </a:spcBef>
              <a:buSzTx/>
              <a:buNone/>
              <a:defRPr sz="4800">
                <a:latin typeface="Muller Regular"/>
                <a:ea typeface="Muller Regular"/>
                <a:cs typeface="Muller Regular"/>
                <a:sym typeface="Muller Regular"/>
              </a:defRPr>
            </a:lvl3pPr>
            <a:lvl4pPr marL="0" indent="1371600" algn="ctr" defTabSz="1828800">
              <a:lnSpc>
                <a:spcPct val="90000"/>
              </a:lnSpc>
              <a:spcBef>
                <a:spcPts val="2000"/>
              </a:spcBef>
              <a:buSzTx/>
              <a:buNone/>
              <a:defRPr sz="4800">
                <a:latin typeface="Muller Regular"/>
                <a:ea typeface="Muller Regular"/>
                <a:cs typeface="Muller Regular"/>
                <a:sym typeface="Muller Regular"/>
              </a:defRPr>
            </a:lvl4pPr>
            <a:lvl5pPr marL="0" indent="1828800" algn="ctr" defTabSz="1828800">
              <a:lnSpc>
                <a:spcPct val="90000"/>
              </a:lnSpc>
              <a:spcBef>
                <a:spcPts val="2000"/>
              </a:spcBef>
              <a:buSzTx/>
              <a:buNone/>
              <a:defRPr sz="4800">
                <a:latin typeface="Muller Regular"/>
                <a:ea typeface="Muller Regular"/>
                <a:cs typeface="Muller Regular"/>
                <a:sym typeface="Muller Regular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22166681" y="12802235"/>
            <a:ext cx="540919" cy="551181"/>
          </a:xfrm>
          <a:prstGeom prst="rect">
            <a:avLst/>
          </a:prstGeom>
        </p:spPr>
        <p:txBody>
          <a:bodyPr lIns="91439" tIns="91439" rIns="91439" bIns="91439" anchor="ctr"/>
          <a:lstStyle>
            <a:lvl1pPr algn="r" defTabSz="1828800">
              <a:defRPr>
                <a:solidFill>
                  <a:srgbClr val="888888"/>
                </a:solidFill>
                <a:latin typeface="Muller Regular"/>
                <a:ea typeface="Muller Regular"/>
                <a:cs typeface="Muller Regular"/>
                <a:sym typeface="Muller Regular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79532704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76400" y="730250"/>
            <a:ext cx="21031200" cy="2651126"/>
          </a:xfrm>
          <a:prstGeom prst="rect">
            <a:avLst/>
          </a:prstGeom>
        </p:spPr>
        <p:txBody>
          <a:bodyPr lIns="91439" tIns="91439" rIns="91439" bIns="91439"/>
          <a:lstStyle>
            <a:lvl1pPr algn="l" defTabSz="1828800">
              <a:lnSpc>
                <a:spcPct val="90000"/>
              </a:lnSpc>
              <a:defRPr sz="8800">
                <a:latin typeface="Muller Medium"/>
                <a:ea typeface="Muller Medium"/>
                <a:cs typeface="Muller Medium"/>
                <a:sym typeface="Muller Medium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7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lIns="91439" tIns="91439" rIns="91439" bIns="91439" anchor="t"/>
          <a:lstStyle>
            <a:lvl1pPr marL="457200" indent="-457200" defTabSz="1828800">
              <a:lnSpc>
                <a:spcPct val="90000"/>
              </a:lnSpc>
              <a:spcBef>
                <a:spcPts val="2000"/>
              </a:spcBef>
              <a:buSzPct val="100000"/>
              <a:buFont typeface="Arial"/>
              <a:defRPr sz="5600">
                <a:latin typeface="Muller Regular"/>
                <a:ea typeface="Muller Regular"/>
                <a:cs typeface="Muller Regular"/>
                <a:sym typeface="Muller Regular"/>
              </a:defRPr>
            </a:lvl1pPr>
            <a:lvl2pPr marL="990600" indent="-533400" defTabSz="1828800">
              <a:lnSpc>
                <a:spcPct val="90000"/>
              </a:lnSpc>
              <a:spcBef>
                <a:spcPts val="2000"/>
              </a:spcBef>
              <a:buSzPct val="100000"/>
              <a:buFont typeface="Arial"/>
              <a:defRPr sz="5600">
                <a:latin typeface="Muller Regular"/>
                <a:ea typeface="Muller Regular"/>
                <a:cs typeface="Muller Regular"/>
                <a:sym typeface="Muller Regular"/>
              </a:defRPr>
            </a:lvl2pPr>
            <a:lvl3pPr marL="1554479" indent="-640079" defTabSz="1828800">
              <a:lnSpc>
                <a:spcPct val="90000"/>
              </a:lnSpc>
              <a:spcBef>
                <a:spcPts val="2000"/>
              </a:spcBef>
              <a:buSzPct val="100000"/>
              <a:buFont typeface="Arial"/>
              <a:defRPr sz="5600">
                <a:latin typeface="Muller Regular"/>
                <a:ea typeface="Muller Regular"/>
                <a:cs typeface="Muller Regular"/>
                <a:sym typeface="Muller Regular"/>
              </a:defRPr>
            </a:lvl3pPr>
            <a:lvl4pPr marL="2082800" indent="-711200" defTabSz="1828800">
              <a:lnSpc>
                <a:spcPct val="90000"/>
              </a:lnSpc>
              <a:spcBef>
                <a:spcPts val="2000"/>
              </a:spcBef>
              <a:buSzPct val="100000"/>
              <a:buFont typeface="Arial"/>
              <a:defRPr sz="5600">
                <a:latin typeface="Muller Regular"/>
                <a:ea typeface="Muller Regular"/>
                <a:cs typeface="Muller Regular"/>
                <a:sym typeface="Muller Regular"/>
              </a:defRPr>
            </a:lvl4pPr>
            <a:lvl5pPr marL="2540000" indent="-711200" defTabSz="1828800">
              <a:lnSpc>
                <a:spcPct val="90000"/>
              </a:lnSpc>
              <a:spcBef>
                <a:spcPts val="2000"/>
              </a:spcBef>
              <a:buSzPct val="100000"/>
              <a:buFont typeface="Arial"/>
              <a:defRPr sz="5600">
                <a:latin typeface="Muller Regular"/>
                <a:ea typeface="Muller Regular"/>
                <a:cs typeface="Muller Regular"/>
                <a:sym typeface="Muller Regular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22166681" y="12802235"/>
            <a:ext cx="540919" cy="551181"/>
          </a:xfrm>
          <a:prstGeom prst="rect">
            <a:avLst/>
          </a:prstGeom>
        </p:spPr>
        <p:txBody>
          <a:bodyPr lIns="91439" tIns="91439" rIns="91439" bIns="91439" anchor="ctr"/>
          <a:lstStyle>
            <a:lvl1pPr algn="r" defTabSz="1828800">
              <a:defRPr>
                <a:solidFill>
                  <a:srgbClr val="888888"/>
                </a:solidFill>
                <a:latin typeface="Muller Regular"/>
                <a:ea typeface="Muller Regular"/>
                <a:cs typeface="Muller Regular"/>
                <a:sym typeface="Muller Regular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63422696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Изображение"/>
          <p:cNvSpPr>
            <a:spLocks noGrp="1"/>
          </p:cNvSpPr>
          <p:nvPr>
            <p:ph type="pic" idx="13"/>
          </p:nvPr>
        </p:nvSpPr>
        <p:spPr>
          <a:xfrm>
            <a:off x="7950202" y="1104903"/>
            <a:ext cx="17259303" cy="11506201"/>
          </a:xfrm>
          <a:prstGeom prst="rect">
            <a:avLst/>
          </a:prstGeom>
        </p:spPr>
        <p:txBody>
          <a:bodyPr lIns="91419" tIns="45709" rIns="91419" bIns="45709" anchor="t">
            <a:noAutofit/>
          </a:bodyPr>
          <a:lstStyle/>
          <a:p>
            <a:endParaRPr/>
          </a:p>
        </p:txBody>
      </p:sp>
      <p:sp>
        <p:nvSpPr>
          <p:cNvPr id="3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51002" y="952500"/>
            <a:ext cx="10223501" cy="5549900"/>
          </a:xfrm>
          <a:prstGeom prst="rect">
            <a:avLst/>
          </a:prstGeom>
        </p:spPr>
        <p:txBody>
          <a:bodyPr anchor="b"/>
          <a:lstStyle>
            <a:lvl1pPr>
              <a:defRPr sz="8400"/>
            </a:lvl1pPr>
          </a:lstStyle>
          <a:p>
            <a:r>
              <a:t>Текст заголовка</a:t>
            </a:r>
          </a:p>
        </p:txBody>
      </p:sp>
      <p:sp>
        <p:nvSpPr>
          <p:cNvPr id="4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651002" y="6527799"/>
            <a:ext cx="10223501" cy="57277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5300"/>
            </a:lvl1pPr>
            <a:lvl2pPr marL="0" indent="0" algn="ctr">
              <a:spcBef>
                <a:spcPts val="0"/>
              </a:spcBef>
              <a:buSzTx/>
              <a:buNone/>
              <a:defRPr sz="5300"/>
            </a:lvl2pPr>
            <a:lvl3pPr marL="0" indent="0" algn="ctr">
              <a:spcBef>
                <a:spcPts val="0"/>
              </a:spcBef>
              <a:buSzTx/>
              <a:buNone/>
              <a:defRPr sz="5300"/>
            </a:lvl3pPr>
            <a:lvl4pPr marL="0" indent="0" algn="ctr">
              <a:spcBef>
                <a:spcPts val="0"/>
              </a:spcBef>
              <a:buSzTx/>
              <a:buNone/>
              <a:defRPr sz="5300"/>
            </a:lvl4pPr>
            <a:lvl5pPr marL="0" indent="0" algn="ctr">
              <a:spcBef>
                <a:spcPts val="0"/>
              </a:spcBef>
              <a:buSzTx/>
              <a:buNone/>
              <a:defRPr sz="53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327" y="3246"/>
          <a:ext cx="4318" cy="3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7" y="3246"/>
                        <a:ext cx="4318" cy="3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4">
            <a:extLst>
              <a:ext uri="{FF2B5EF4-FFF2-40B4-BE49-F238E27FC236}">
                <a16:creationId xmlns:a16="http://schemas.microsoft.com/office/drawing/2014/main" id="{666F59EC-78D7-4405-BFB0-066142D1A895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r="9"/>
          <a:stretch/>
        </p:blipFill>
        <p:spPr bwMode="gray">
          <a:xfrm>
            <a:off x="52" y="456"/>
            <a:ext cx="24384000" cy="13715192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884824" y="2927175"/>
            <a:ext cx="16012652" cy="100489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6400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884826" y="7858815"/>
            <a:ext cx="1601264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82434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3200" dirty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pic>
        <p:nvPicPr>
          <p:cNvPr id="8" name="Изображение 8">
            <a:extLst>
              <a:ext uri="{FF2B5EF4-FFF2-40B4-BE49-F238E27FC236}">
                <a16:creationId xmlns:a16="http://schemas.microsoft.com/office/drawing/2014/main" id="{6B689FA8-377C-4C43-9218-520F34CEC55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66" t="16386" r="14746" b="26156"/>
          <a:stretch/>
        </p:blipFill>
        <p:spPr>
          <a:xfrm>
            <a:off x="16652005" y="385239"/>
            <a:ext cx="3654198" cy="161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153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7AE1BB-729E-45B0-BDA5-83003B76EC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327" y="3246"/>
          <a:ext cx="4318" cy="3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2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7AE1BB-729E-45B0-BDA5-83003B76E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7" y="3246"/>
                        <a:ext cx="4318" cy="3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23308101" y="13252665"/>
            <a:ext cx="312585" cy="3077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1824348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sz="2000" smtClean="0">
                <a:solidFill>
                  <a:srgbClr val="808080"/>
                </a:solidFill>
              </a:rPr>
              <a:pPr defTabSz="182434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20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1526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8AB67CB-A75D-48EB-9444-030D74C947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327" y="3246"/>
          <a:ext cx="4318" cy="32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8AB67CB-A75D-48EB-9444-030D74C94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7" y="3246"/>
                        <a:ext cx="4318" cy="32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Рисунок 7">
            <a:extLst>
              <a:ext uri="{FF2B5EF4-FFF2-40B4-BE49-F238E27FC236}">
                <a16:creationId xmlns:a16="http://schemas.microsoft.com/office/drawing/2014/main" id="{2B4C3568-B1A0-4098-91A6-68D890A7CA72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" r="-52"/>
          <a:stretch/>
        </p:blipFill>
        <p:spPr bwMode="gray">
          <a:xfrm>
            <a:off x="-9655" y="456"/>
            <a:ext cx="24393718" cy="137151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23308101" y="13252663"/>
            <a:ext cx="312585" cy="3077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1824348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sz="2000" smtClean="0">
                <a:solidFill>
                  <a:srgbClr val="FFFFFF"/>
                </a:solidFill>
              </a:rPr>
              <a:pPr defTabSz="182434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2000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21990992" y="103670"/>
            <a:ext cx="1788304" cy="249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2427908" fontAlgn="base">
              <a:spcBef>
                <a:spcPct val="0"/>
              </a:spcBef>
              <a:spcAft>
                <a:spcPct val="0"/>
              </a:spcAft>
            </a:pPr>
            <a:endParaRPr lang="ru-RU" sz="2000" dirty="0">
              <a:solidFill>
                <a:srgbClr val="808080"/>
              </a:solidFill>
            </a:endParaRPr>
          </a:p>
        </p:txBody>
      </p:sp>
      <p:pic>
        <p:nvPicPr>
          <p:cNvPr id="8" name="Изображение 8">
            <a:extLst>
              <a:ext uri="{FF2B5EF4-FFF2-40B4-BE49-F238E27FC236}">
                <a16:creationId xmlns:a16="http://schemas.microsoft.com/office/drawing/2014/main" id="{B797639E-EEBB-4ECA-A9AE-3976105A0AD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24" t="20045" r="13408" b="27065"/>
          <a:stretch/>
        </p:blipFill>
        <p:spPr>
          <a:xfrm>
            <a:off x="21991025" y="463678"/>
            <a:ext cx="1780126" cy="709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5881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7AE1BB-729E-45B0-BDA5-83003B76E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4325" y="3293"/>
          <a:ext cx="431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0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7AE1BB-729E-45B0-BDA5-83003B76E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325" y="3293"/>
                        <a:ext cx="431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23305848" y="13283459"/>
            <a:ext cx="251672" cy="2462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1824348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sz="1600" smtClean="0">
                <a:solidFill>
                  <a:srgbClr val="808080"/>
                </a:solidFill>
              </a:rPr>
              <a:pPr defTabSz="182434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146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 sz="4900"/>
            </a:lvl1pPr>
            <a:lvl2pPr>
              <a:defRPr sz="4900"/>
            </a:lvl2pPr>
            <a:lvl3pPr>
              <a:defRPr sz="4900"/>
            </a:lvl3pPr>
            <a:lvl4pPr>
              <a:defRPr sz="4900"/>
            </a:lvl4pPr>
            <a:lvl5pPr>
              <a:defRPr sz="49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10960100" y="3149600"/>
            <a:ext cx="13944600" cy="9296399"/>
          </a:xfrm>
          <a:prstGeom prst="rect">
            <a:avLst/>
          </a:prstGeom>
        </p:spPr>
        <p:txBody>
          <a:bodyPr lIns="91419" tIns="45709" rIns="91419" bIns="45709" anchor="t">
            <a:noAutofit/>
          </a:bodyPr>
          <a:lstStyle/>
          <a:p>
            <a:endParaRPr/>
          </a:p>
        </p:txBody>
      </p:sp>
      <p:sp>
        <p:nvSpPr>
          <p:cNvPr id="6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1689103" y="3149600"/>
            <a:ext cx="10223501" cy="9296399"/>
          </a:xfrm>
          <a:prstGeom prst="rect">
            <a:avLst/>
          </a:prstGeom>
        </p:spPr>
        <p:txBody>
          <a:bodyPr/>
          <a:lstStyle>
            <a:lvl1pPr marL="558682" indent="-558682">
              <a:spcBef>
                <a:spcPts val="4500"/>
              </a:spcBef>
              <a:defRPr sz="3900"/>
            </a:lvl1pPr>
            <a:lvl2pPr marL="1117363" indent="-558682">
              <a:spcBef>
                <a:spcPts val="4500"/>
              </a:spcBef>
              <a:defRPr sz="3900"/>
            </a:lvl2pPr>
            <a:lvl3pPr marL="1676045" indent="-558682">
              <a:spcBef>
                <a:spcPts val="4500"/>
              </a:spcBef>
              <a:defRPr sz="3900"/>
            </a:lvl3pPr>
            <a:lvl4pPr marL="2234726" indent="-558682">
              <a:spcBef>
                <a:spcPts val="4500"/>
              </a:spcBef>
              <a:defRPr sz="3900"/>
            </a:lvl4pPr>
            <a:lvl5pPr marL="2793408" indent="-558682">
              <a:spcBef>
                <a:spcPts val="4500"/>
              </a:spcBef>
              <a:defRPr sz="39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89101" y="1778002"/>
            <a:ext cx="21005800" cy="10159999"/>
          </a:xfrm>
          <a:prstGeom prst="rect">
            <a:avLst/>
          </a:prstGeom>
        </p:spPr>
        <p:txBody>
          <a:bodyPr/>
          <a:lstStyle>
            <a:lvl1pPr>
              <a:defRPr sz="4900"/>
            </a:lvl1pPr>
            <a:lvl2pPr>
              <a:defRPr sz="4900"/>
            </a:lvl2pPr>
            <a:lvl3pPr>
              <a:defRPr sz="4900"/>
            </a:lvl3pPr>
            <a:lvl4pPr>
              <a:defRPr sz="4900"/>
            </a:lvl4pPr>
            <a:lvl5pPr>
              <a:defRPr sz="49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 (3 ш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15681341" y="7035801"/>
            <a:ext cx="8396677" cy="5600699"/>
          </a:xfrm>
          <a:prstGeom prst="rect">
            <a:avLst/>
          </a:prstGeom>
        </p:spPr>
        <p:txBody>
          <a:bodyPr lIns="91419" tIns="45709" rIns="91419" bIns="45709" anchor="t">
            <a:noAutofit/>
          </a:bodyPr>
          <a:lstStyle/>
          <a:p>
            <a:endParaRPr/>
          </a:p>
        </p:txBody>
      </p:sp>
      <p:sp>
        <p:nvSpPr>
          <p:cNvPr id="84" name="Изображение"/>
          <p:cNvSpPr>
            <a:spLocks noGrp="1"/>
          </p:cNvSpPr>
          <p:nvPr>
            <p:ph type="pic" sz="quarter" idx="14"/>
          </p:nvPr>
        </p:nvSpPr>
        <p:spPr>
          <a:xfrm>
            <a:off x="15290799" y="1130303"/>
            <a:ext cx="8331201" cy="5554134"/>
          </a:xfrm>
          <a:prstGeom prst="rect">
            <a:avLst/>
          </a:prstGeom>
        </p:spPr>
        <p:txBody>
          <a:bodyPr lIns="91419" tIns="45709" rIns="91419" bIns="45709" anchor="t">
            <a:noAutofit/>
          </a:bodyPr>
          <a:lstStyle/>
          <a:p>
            <a:endParaRPr/>
          </a:p>
        </p:txBody>
      </p:sp>
      <p:sp>
        <p:nvSpPr>
          <p:cNvPr id="85" name="Изображение"/>
          <p:cNvSpPr>
            <a:spLocks noGrp="1"/>
          </p:cNvSpPr>
          <p:nvPr>
            <p:ph type="pic" idx="15"/>
          </p:nvPr>
        </p:nvSpPr>
        <p:spPr>
          <a:xfrm>
            <a:off x="-304800" y="1130299"/>
            <a:ext cx="17202150" cy="11468100"/>
          </a:xfrm>
          <a:prstGeom prst="rect">
            <a:avLst/>
          </a:prstGeom>
        </p:spPr>
        <p:txBody>
          <a:bodyPr lIns="91419" tIns="45709" rIns="91419" bIns="45709" anchor="t">
            <a:noAutofit/>
          </a:bodyPr>
          <a:lstStyle/>
          <a:p>
            <a:endParaRPr/>
          </a:p>
        </p:txBody>
      </p:sp>
      <p:sp>
        <p:nvSpPr>
          <p:cNvPr id="8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png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2.png"/><Relationship Id="rId4" Type="http://schemas.openxmlformats.org/officeDocument/2006/relationships/theme" Target="../theme/theme3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23.xml"/><Relationship Id="rId7" Type="http://schemas.openxmlformats.org/officeDocument/2006/relationships/vmlDrawing" Target="../drawings/vmlDrawing9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5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1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slideLayout" Target="../slideLayouts/slideLayout42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vmlDrawing" Target="../drawings/vmlDrawing14.vml"/><Relationship Id="rId11" Type="http://schemas.openxmlformats.org/officeDocument/2006/relationships/image" Target="../media/image8.png"/><Relationship Id="rId5" Type="http://schemas.openxmlformats.org/officeDocument/2006/relationships/theme" Target="../theme/theme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3.xml"/><Relationship Id="rId9" Type="http://schemas.openxmlformats.org/officeDocument/2006/relationships/oleObject" Target="../embeddings/oleObject1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89101" y="355599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1" tIns="50791" rIns="50791" bIns="50791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89101" y="3149600"/>
            <a:ext cx="21005800" cy="92963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1" tIns="50791" rIns="50791" bIns="50791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42995" y="13081001"/>
            <a:ext cx="485312" cy="479416"/>
          </a:xfrm>
          <a:prstGeom prst="rect">
            <a:avLst/>
          </a:prstGeom>
          <a:ln w="12700">
            <a:miter lim="400000"/>
          </a:ln>
        </p:spPr>
        <p:txBody>
          <a:bodyPr wrap="none" lIns="50791" tIns="50791" rIns="50791" bIns="50791">
            <a:spAutoFit/>
          </a:bodyPr>
          <a:lstStyle>
            <a:lvl1pPr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ransition spd="med"/>
  <p:txStyles>
    <p:titleStyle>
      <a:lvl1pPr marL="0" marR="0" indent="0" algn="ctr" defTabSz="82532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82532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82532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82532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82532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82532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82532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82532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825325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634865" marR="0" indent="-634865" algn="l" defTabSz="825325" latinLnBrk="0">
        <a:lnSpc>
          <a:spcPct val="100000"/>
        </a:lnSpc>
        <a:spcBef>
          <a:spcPts val="5899"/>
        </a:spcBef>
        <a:spcAft>
          <a:spcPts val="0"/>
        </a:spcAft>
        <a:buClrTx/>
        <a:buSzPct val="125000"/>
        <a:buFontTx/>
        <a:buChar char="•"/>
        <a:tabLst/>
        <a:defRPr sz="51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1269731" marR="0" indent="-634865" algn="l" defTabSz="825325" latinLnBrk="0">
        <a:lnSpc>
          <a:spcPct val="100000"/>
        </a:lnSpc>
        <a:spcBef>
          <a:spcPts val="5899"/>
        </a:spcBef>
        <a:spcAft>
          <a:spcPts val="0"/>
        </a:spcAft>
        <a:buClrTx/>
        <a:buSzPct val="125000"/>
        <a:buFontTx/>
        <a:buChar char="•"/>
        <a:tabLst/>
        <a:defRPr sz="51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1904596" marR="0" indent="-634865" algn="l" defTabSz="825325" latinLnBrk="0">
        <a:lnSpc>
          <a:spcPct val="100000"/>
        </a:lnSpc>
        <a:spcBef>
          <a:spcPts val="5899"/>
        </a:spcBef>
        <a:spcAft>
          <a:spcPts val="0"/>
        </a:spcAft>
        <a:buClrTx/>
        <a:buSzPct val="125000"/>
        <a:buFontTx/>
        <a:buChar char="•"/>
        <a:tabLst/>
        <a:defRPr sz="51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2539461" marR="0" indent="-634865" algn="l" defTabSz="825325" latinLnBrk="0">
        <a:lnSpc>
          <a:spcPct val="100000"/>
        </a:lnSpc>
        <a:spcBef>
          <a:spcPts val="5899"/>
        </a:spcBef>
        <a:spcAft>
          <a:spcPts val="0"/>
        </a:spcAft>
        <a:buClrTx/>
        <a:buSzPct val="125000"/>
        <a:buFontTx/>
        <a:buChar char="•"/>
        <a:tabLst/>
        <a:defRPr sz="51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3174327" marR="0" indent="-634865" algn="l" defTabSz="825325" latinLnBrk="0">
        <a:lnSpc>
          <a:spcPct val="100000"/>
        </a:lnSpc>
        <a:spcBef>
          <a:spcPts val="5899"/>
        </a:spcBef>
        <a:spcAft>
          <a:spcPts val="0"/>
        </a:spcAft>
        <a:buClrTx/>
        <a:buSzPct val="125000"/>
        <a:buFontTx/>
        <a:buChar char="•"/>
        <a:tabLst/>
        <a:defRPr sz="51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3809192" marR="0" indent="-634865" algn="l" defTabSz="825325" latinLnBrk="0">
        <a:lnSpc>
          <a:spcPct val="100000"/>
        </a:lnSpc>
        <a:spcBef>
          <a:spcPts val="5899"/>
        </a:spcBef>
        <a:spcAft>
          <a:spcPts val="0"/>
        </a:spcAft>
        <a:buClrTx/>
        <a:buSzPct val="125000"/>
        <a:buFontTx/>
        <a:buChar char="•"/>
        <a:tabLst/>
        <a:defRPr sz="51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444057" marR="0" indent="-634865" algn="l" defTabSz="825325" latinLnBrk="0">
        <a:lnSpc>
          <a:spcPct val="100000"/>
        </a:lnSpc>
        <a:spcBef>
          <a:spcPts val="5899"/>
        </a:spcBef>
        <a:spcAft>
          <a:spcPts val="0"/>
        </a:spcAft>
        <a:buClrTx/>
        <a:buSzPct val="125000"/>
        <a:buFontTx/>
        <a:buChar char="•"/>
        <a:tabLst/>
        <a:defRPr sz="51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78923" marR="0" indent="-634865" algn="l" defTabSz="825325" latinLnBrk="0">
        <a:lnSpc>
          <a:spcPct val="100000"/>
        </a:lnSpc>
        <a:spcBef>
          <a:spcPts val="5899"/>
        </a:spcBef>
        <a:spcAft>
          <a:spcPts val="0"/>
        </a:spcAft>
        <a:buClrTx/>
        <a:buSzPct val="125000"/>
        <a:buFontTx/>
        <a:buChar char="•"/>
        <a:tabLst/>
        <a:defRPr sz="51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713788" marR="0" indent="-634865" algn="l" defTabSz="825325" latinLnBrk="0">
        <a:lnSpc>
          <a:spcPct val="100000"/>
        </a:lnSpc>
        <a:spcBef>
          <a:spcPts val="5899"/>
        </a:spcBef>
        <a:spcAft>
          <a:spcPts val="0"/>
        </a:spcAft>
        <a:buClrTx/>
        <a:buSzPct val="125000"/>
        <a:buFontTx/>
        <a:buChar char="•"/>
        <a:tabLst/>
        <a:defRPr sz="51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82532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551" algn="ctr" defTabSz="82532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103" algn="ctr" defTabSz="82532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654" algn="ctr" defTabSz="82532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205" algn="ctr" defTabSz="82532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2758" algn="ctr" defTabSz="82532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310" algn="ctr" defTabSz="82532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599861" algn="ctr" defTabSz="82532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412" algn="ctr" defTabSz="825325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29170113"/>
              </p:ext>
            </p:extLst>
          </p:nvPr>
        </p:nvGraphicFramePr>
        <p:xfrm>
          <a:off x="17" y="8"/>
          <a:ext cx="431957" cy="3239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" y="8"/>
                        <a:ext cx="431957" cy="3239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17" y="8"/>
            <a:ext cx="431957" cy="323949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defTabSz="1827443" fontAlgn="base" hangingPunct="1">
              <a:spcBef>
                <a:spcPct val="0"/>
              </a:spcBef>
              <a:spcAft>
                <a:spcPct val="0"/>
              </a:spcAft>
            </a:pPr>
            <a:endParaRPr lang="ru-RU" sz="4300" b="0" kern="12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23987" y="469754"/>
            <a:ext cx="21367973" cy="690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24010" y="92412"/>
            <a:ext cx="1249588" cy="314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defTabSz="1827443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000" b="0" kern="1200" cap="all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23970" y="1359413"/>
            <a:ext cx="20738277" cy="690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4500" b="0" kern="1200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324010" y="12884356"/>
            <a:ext cx="23450968" cy="647702"/>
            <a:chOff x="380999" y="6313976"/>
            <a:chExt cx="8356601" cy="31740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380999" y="6313976"/>
              <a:ext cx="8356601" cy="1538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000" b="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380999" y="6477494"/>
              <a:ext cx="6938064" cy="1538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1623079" indent="-1623079" algn="l" defTabSz="2383892" fontAlgn="base" hangingPunct="1">
                <a:spcBef>
                  <a:spcPct val="0"/>
                </a:spcBef>
                <a:spcAft>
                  <a:spcPct val="0"/>
                </a:spcAft>
                <a:tabLst>
                  <a:tab pos="1678024" algn="l"/>
                </a:tabLst>
              </a:pPr>
              <a:r>
                <a:rPr lang="ru-RU" sz="2000" b="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952418" y="3982034"/>
            <a:ext cx="11706048" cy="253915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952417" y="2560134"/>
            <a:ext cx="11602377" cy="1043112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 defTabSz="1827443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3300" kern="1200" dirty="0">
                  <a:solidFill>
                    <a:srgbClr val="0A2896"/>
                  </a:solidFill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algn="l" defTabSz="1827443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3300" b="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22633194" y="1361892"/>
            <a:ext cx="1141785" cy="335475"/>
            <a:chOff x="8321153" y="285750"/>
            <a:chExt cx="419622" cy="164400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21153" y="285750"/>
              <a:ext cx="419622" cy="16440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2383892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2000" b="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1153" y="285750"/>
              <a:ext cx="0" cy="16440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1153" y="450150"/>
              <a:ext cx="419622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3" name="Изображение 10">
            <a:extLst>
              <a:ext uri="{FF2B5EF4-FFF2-40B4-BE49-F238E27FC236}">
                <a16:creationId xmlns:a16="http://schemas.microsoft.com/office/drawing/2014/main" id="{E45AB555-D6ED-4AD4-B929-895DDFCFE94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13" t="20657" r="16398" b="28627"/>
          <a:stretch/>
        </p:blipFill>
        <p:spPr>
          <a:xfrm>
            <a:off x="22000780" y="469749"/>
            <a:ext cx="1700758" cy="680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941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</p:sldLayoutIdLst>
  <p:hf hdr="0" ftr="0" dt="0"/>
  <p:txStyles>
    <p:titleStyle>
      <a:lvl1pPr algn="l" defTabSz="2383892" rtl="0" eaLnBrk="1" fontAlgn="base" hangingPunct="1">
        <a:spcBef>
          <a:spcPct val="0"/>
        </a:spcBef>
        <a:spcAft>
          <a:spcPct val="0"/>
        </a:spcAft>
        <a:tabLst>
          <a:tab pos="718548" algn="l"/>
        </a:tabLst>
        <a:defRPr sz="45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2383892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2pPr>
      <a:lvl3pPr algn="l" defTabSz="2383892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3pPr>
      <a:lvl4pPr algn="l" defTabSz="2383892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4pPr>
      <a:lvl5pPr algn="l" defTabSz="2383892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5pPr>
      <a:lvl6pPr marL="1217306" algn="l" defTabSz="2383892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6pPr>
      <a:lvl7pPr marL="2434617" algn="l" defTabSz="2383892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7pPr>
      <a:lvl8pPr marL="3651915" algn="l" defTabSz="2383892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8pPr>
      <a:lvl9pPr marL="4869229" algn="l" defTabSz="2383892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23838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3300" baseline="0">
          <a:solidFill>
            <a:schemeClr val="tx1"/>
          </a:solidFill>
          <a:latin typeface="+mn-lt"/>
          <a:ea typeface="+mn-ea"/>
          <a:cs typeface="+mn-cs"/>
        </a:defRPr>
      </a:lvl1pPr>
      <a:lvl2pPr marL="515668" indent="-511440" algn="l" defTabSz="23838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3300" baseline="0">
          <a:solidFill>
            <a:schemeClr val="tx1"/>
          </a:solidFill>
          <a:latin typeface="+mn-lt"/>
        </a:defRPr>
      </a:lvl2pPr>
      <a:lvl3pPr marL="1217306" indent="-697416" algn="l" defTabSz="23838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300" baseline="0">
          <a:solidFill>
            <a:schemeClr val="tx1"/>
          </a:solidFill>
          <a:latin typeface="+mn-lt"/>
        </a:defRPr>
      </a:lvl3pPr>
      <a:lvl4pPr marL="1635757" indent="-414221" algn="l" defTabSz="23838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3300" baseline="0">
          <a:solidFill>
            <a:schemeClr val="tx1"/>
          </a:solidFill>
          <a:latin typeface="+mn-lt"/>
        </a:defRPr>
      </a:lvl4pPr>
      <a:lvl5pPr marL="1996382" indent="-346594" algn="l" defTabSz="23838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300" baseline="0">
          <a:solidFill>
            <a:schemeClr val="tx1"/>
          </a:solidFill>
          <a:latin typeface="+mn-lt"/>
        </a:defRPr>
      </a:lvl5pPr>
      <a:lvl6pPr marL="1996382" indent="-346594" algn="l" defTabSz="23838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300" baseline="0">
          <a:solidFill>
            <a:schemeClr val="tx1"/>
          </a:solidFill>
          <a:latin typeface="+mn-lt"/>
        </a:defRPr>
      </a:lvl6pPr>
      <a:lvl7pPr marL="1996382" indent="-346594" algn="l" defTabSz="23838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300" baseline="0">
          <a:solidFill>
            <a:schemeClr val="tx1"/>
          </a:solidFill>
          <a:latin typeface="+mn-lt"/>
        </a:defRPr>
      </a:lvl7pPr>
      <a:lvl8pPr marL="1996382" indent="-346594" algn="l" defTabSz="23838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300" baseline="0">
          <a:solidFill>
            <a:schemeClr val="tx1"/>
          </a:solidFill>
          <a:latin typeface="+mn-lt"/>
        </a:defRPr>
      </a:lvl8pPr>
      <a:lvl9pPr marL="1996382" indent="-346594" algn="l" defTabSz="23838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3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2434617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1pPr>
      <a:lvl2pPr marL="1217306" algn="l" defTabSz="2434617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2pPr>
      <a:lvl3pPr marL="2434617" algn="l" defTabSz="2434617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3pPr>
      <a:lvl4pPr marL="3651915" algn="l" defTabSz="2434617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4pPr>
      <a:lvl5pPr marL="4869229" algn="l" defTabSz="2434617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5pPr>
      <a:lvl6pPr marL="6086530" algn="l" defTabSz="2434617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6pPr>
      <a:lvl7pPr marL="7303840" algn="l" defTabSz="2434617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7pPr>
      <a:lvl8pPr marL="8521146" algn="l" defTabSz="2434617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8pPr>
      <a:lvl9pPr marL="9738455" algn="l" defTabSz="2434617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63903690"/>
              </p:ext>
            </p:extLst>
          </p:nvPr>
        </p:nvGraphicFramePr>
        <p:xfrm>
          <a:off x="12" y="4"/>
          <a:ext cx="431957" cy="3239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" y="4"/>
                        <a:ext cx="431957" cy="3239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12" y="4"/>
            <a:ext cx="431957" cy="323949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endParaRPr lang="ru-RU" sz="4300" b="0" kern="12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23982" y="469744"/>
            <a:ext cx="21367973" cy="697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23987" y="92412"/>
            <a:ext cx="1249588" cy="314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000" b="0" kern="1200" cap="all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23970" y="1359403"/>
            <a:ext cx="20738277" cy="697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4500" b="0" kern="1200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323990" y="12884433"/>
            <a:ext cx="23450968" cy="647700"/>
            <a:chOff x="380999" y="6313980"/>
            <a:chExt cx="8356601" cy="3174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380999" y="6313980"/>
              <a:ext cx="8356601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000" b="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380999" y="6477495"/>
              <a:ext cx="693806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1657255" indent="-1657255" algn="l" defTabSz="243409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1713359" algn="l"/>
                </a:tabLst>
              </a:pPr>
              <a:r>
                <a:rPr lang="ru-RU" sz="2000" b="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952416" y="3982032"/>
            <a:ext cx="11706048" cy="253915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952417" y="2560138"/>
            <a:ext cx="11602377" cy="104311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3300" kern="1200" dirty="0">
                  <a:solidFill>
                    <a:srgbClr val="0A2896"/>
                  </a:solidFill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3300" b="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22633168" y="1361883"/>
            <a:ext cx="1141785" cy="335477"/>
            <a:chOff x="8321153" y="285750"/>
            <a:chExt cx="419622" cy="164400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21153" y="285750"/>
              <a:ext cx="419622" cy="16440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243409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2000" b="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1153" y="285750"/>
              <a:ext cx="0" cy="16440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1153" y="450150"/>
              <a:ext cx="419622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3" name="Изображение 10">
            <a:extLst>
              <a:ext uri="{FF2B5EF4-FFF2-40B4-BE49-F238E27FC236}">
                <a16:creationId xmlns:a16="http://schemas.microsoft.com/office/drawing/2014/main" id="{E45AB555-D6ED-4AD4-B929-895DDFCFE94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13" t="20657" r="16398" b="28627"/>
          <a:stretch/>
        </p:blipFill>
        <p:spPr>
          <a:xfrm>
            <a:off x="22000762" y="469732"/>
            <a:ext cx="1700758" cy="68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71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</p:sldLayoutIdLst>
  <p:hf hdr="0" ftr="0" dt="0"/>
  <p:txStyles>
    <p:titleStyle>
      <a:lvl1pPr algn="l" defTabSz="2434091" rtl="0" eaLnBrk="1" fontAlgn="base" hangingPunct="1">
        <a:spcBef>
          <a:spcPct val="0"/>
        </a:spcBef>
        <a:spcAft>
          <a:spcPct val="0"/>
        </a:spcAft>
        <a:tabLst>
          <a:tab pos="733679" algn="l"/>
        </a:tabLst>
        <a:defRPr sz="45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2pPr>
      <a:lvl3pPr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3pPr>
      <a:lvl4pPr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4pPr>
      <a:lvl5pPr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5pPr>
      <a:lvl6pPr marL="1242938"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6pPr>
      <a:lvl7pPr marL="2485881"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7pPr>
      <a:lvl8pPr marL="3728815"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8pPr>
      <a:lvl9pPr marL="4971761"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3300" baseline="0">
          <a:solidFill>
            <a:schemeClr val="tx1"/>
          </a:solidFill>
          <a:latin typeface="+mn-lt"/>
          <a:ea typeface="+mn-ea"/>
          <a:cs typeface="+mn-cs"/>
        </a:defRPr>
      </a:lvl1pPr>
      <a:lvl2pPr marL="526524" indent="-522208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3300" baseline="0">
          <a:solidFill>
            <a:schemeClr val="tx1"/>
          </a:solidFill>
          <a:latin typeface="+mn-lt"/>
        </a:defRPr>
      </a:lvl2pPr>
      <a:lvl3pPr marL="1242938" indent="-712102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300" baseline="0">
          <a:solidFill>
            <a:schemeClr val="tx1"/>
          </a:solidFill>
          <a:latin typeface="+mn-lt"/>
        </a:defRPr>
      </a:lvl3pPr>
      <a:lvl4pPr marL="1670203" indent="-422945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3300" baseline="0">
          <a:solidFill>
            <a:schemeClr val="tx1"/>
          </a:solidFill>
          <a:latin typeface="+mn-lt"/>
        </a:defRPr>
      </a:lvl4pPr>
      <a:lvl5pPr marL="2038419" indent="-353893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300" baseline="0">
          <a:solidFill>
            <a:schemeClr val="tx1"/>
          </a:solidFill>
          <a:latin typeface="+mn-lt"/>
        </a:defRPr>
      </a:lvl5pPr>
      <a:lvl6pPr marL="2038419" indent="-353893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300" baseline="0">
          <a:solidFill>
            <a:schemeClr val="tx1"/>
          </a:solidFill>
          <a:latin typeface="+mn-lt"/>
        </a:defRPr>
      </a:lvl6pPr>
      <a:lvl7pPr marL="2038419" indent="-353893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300" baseline="0">
          <a:solidFill>
            <a:schemeClr val="tx1"/>
          </a:solidFill>
          <a:latin typeface="+mn-lt"/>
        </a:defRPr>
      </a:lvl7pPr>
      <a:lvl8pPr marL="2038419" indent="-353893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300" baseline="0">
          <a:solidFill>
            <a:schemeClr val="tx1"/>
          </a:solidFill>
          <a:latin typeface="+mn-lt"/>
        </a:defRPr>
      </a:lvl8pPr>
      <a:lvl9pPr marL="2038419" indent="-353893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3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1pPr>
      <a:lvl2pPr marL="1242938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2pPr>
      <a:lvl3pPr marL="2485881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3pPr>
      <a:lvl4pPr marL="3728815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4pPr>
      <a:lvl5pPr marL="4971761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5pPr>
      <a:lvl6pPr marL="6214696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6pPr>
      <a:lvl7pPr marL="7457642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7pPr>
      <a:lvl8pPr marL="8700578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8pPr>
      <a:lvl9pPr marL="9943521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46754257"/>
              </p:ext>
            </p:extLst>
          </p:nvPr>
        </p:nvGraphicFramePr>
        <p:xfrm>
          <a:off x="12" y="4"/>
          <a:ext cx="431957" cy="3239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Слайд think-cell" r:id="rId10" imgW="270" imgH="270" progId="TCLayout.ActiveDocument.1">
                  <p:embed/>
                </p:oleObj>
              </mc:Choice>
              <mc:Fallback>
                <p:oleObj name="Слайд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2" y="4"/>
                        <a:ext cx="431957" cy="3239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12" y="4"/>
            <a:ext cx="431957" cy="323949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endParaRPr lang="ru-RU" sz="4300" b="0" kern="12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23982" y="469744"/>
            <a:ext cx="21367973" cy="697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23987" y="92412"/>
            <a:ext cx="1249588" cy="314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defTabSz="914400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000" b="0" kern="1200" cap="all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23970" y="1359403"/>
            <a:ext cx="20738277" cy="697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4500" b="0" kern="1200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323990" y="12884433"/>
            <a:ext cx="23450968" cy="647700"/>
            <a:chOff x="380999" y="6313980"/>
            <a:chExt cx="8356601" cy="3174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380999" y="6313980"/>
              <a:ext cx="8356601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000" b="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380999" y="6477495"/>
              <a:ext cx="693806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1657255" indent="-1657255" algn="l" defTabSz="243409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1713359" algn="l"/>
                </a:tabLst>
              </a:pPr>
              <a:r>
                <a:rPr lang="ru-RU" sz="2000" b="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952416" y="3982032"/>
            <a:ext cx="11706048" cy="253915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952417" y="2560138"/>
            <a:ext cx="11602377" cy="1043114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3300" kern="1200" dirty="0">
                  <a:solidFill>
                    <a:srgbClr val="0A2896"/>
                  </a:solidFill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algn="l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sz="3300" b="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22633168" y="1361883"/>
            <a:ext cx="1141785" cy="335477"/>
            <a:chOff x="8321153" y="285750"/>
            <a:chExt cx="419622" cy="164400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21153" y="285750"/>
              <a:ext cx="419622" cy="16440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2434091" fontAlgn="base" hangingPunct="1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2000" b="0" kern="1200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1153" y="285750"/>
              <a:ext cx="0" cy="16440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1153" y="450150"/>
              <a:ext cx="419622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3" name="Изображение 10">
            <a:extLst>
              <a:ext uri="{FF2B5EF4-FFF2-40B4-BE49-F238E27FC236}">
                <a16:creationId xmlns:a16="http://schemas.microsoft.com/office/drawing/2014/main" id="{E45AB555-D6ED-4AD4-B929-895DDFCFE94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13" t="20657" r="16398" b="28627"/>
          <a:stretch/>
        </p:blipFill>
        <p:spPr>
          <a:xfrm>
            <a:off x="22000762" y="469732"/>
            <a:ext cx="1700758" cy="68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837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</p:sldLayoutIdLst>
  <p:hf hdr="0" ftr="0" dt="0"/>
  <p:txStyles>
    <p:titleStyle>
      <a:lvl1pPr algn="l" defTabSz="2434091" rtl="0" eaLnBrk="1" fontAlgn="base" hangingPunct="1">
        <a:spcBef>
          <a:spcPct val="0"/>
        </a:spcBef>
        <a:spcAft>
          <a:spcPct val="0"/>
        </a:spcAft>
        <a:tabLst>
          <a:tab pos="733679" algn="l"/>
        </a:tabLst>
        <a:defRPr sz="45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2pPr>
      <a:lvl3pPr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3pPr>
      <a:lvl4pPr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4pPr>
      <a:lvl5pPr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5pPr>
      <a:lvl6pPr marL="1242938"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6pPr>
      <a:lvl7pPr marL="2485881"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7pPr>
      <a:lvl8pPr marL="3728815"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8pPr>
      <a:lvl9pPr marL="4971761" algn="l" defTabSz="2434091" rtl="0" eaLnBrk="1" fontAlgn="base" hangingPunct="1">
        <a:spcBef>
          <a:spcPct val="0"/>
        </a:spcBef>
        <a:spcAft>
          <a:spcPct val="0"/>
        </a:spcAft>
        <a:defRPr sz="5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3300" baseline="0">
          <a:solidFill>
            <a:schemeClr val="tx1"/>
          </a:solidFill>
          <a:latin typeface="+mn-lt"/>
          <a:ea typeface="+mn-ea"/>
          <a:cs typeface="+mn-cs"/>
        </a:defRPr>
      </a:lvl1pPr>
      <a:lvl2pPr marL="526524" indent="-522208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3300" baseline="0">
          <a:solidFill>
            <a:schemeClr val="tx1"/>
          </a:solidFill>
          <a:latin typeface="+mn-lt"/>
        </a:defRPr>
      </a:lvl2pPr>
      <a:lvl3pPr marL="1242938" indent="-712102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300" baseline="0">
          <a:solidFill>
            <a:schemeClr val="tx1"/>
          </a:solidFill>
          <a:latin typeface="+mn-lt"/>
        </a:defRPr>
      </a:lvl3pPr>
      <a:lvl4pPr marL="1670203" indent="-422945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3300" baseline="0">
          <a:solidFill>
            <a:schemeClr val="tx1"/>
          </a:solidFill>
          <a:latin typeface="+mn-lt"/>
        </a:defRPr>
      </a:lvl4pPr>
      <a:lvl5pPr marL="2038419" indent="-353893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300" baseline="0">
          <a:solidFill>
            <a:schemeClr val="tx1"/>
          </a:solidFill>
          <a:latin typeface="+mn-lt"/>
        </a:defRPr>
      </a:lvl5pPr>
      <a:lvl6pPr marL="2038419" indent="-353893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300" baseline="0">
          <a:solidFill>
            <a:schemeClr val="tx1"/>
          </a:solidFill>
          <a:latin typeface="+mn-lt"/>
        </a:defRPr>
      </a:lvl6pPr>
      <a:lvl7pPr marL="2038419" indent="-353893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300" baseline="0">
          <a:solidFill>
            <a:schemeClr val="tx1"/>
          </a:solidFill>
          <a:latin typeface="+mn-lt"/>
        </a:defRPr>
      </a:lvl7pPr>
      <a:lvl8pPr marL="2038419" indent="-353893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300" baseline="0">
          <a:solidFill>
            <a:schemeClr val="tx1"/>
          </a:solidFill>
          <a:latin typeface="+mn-lt"/>
        </a:defRPr>
      </a:lvl8pPr>
      <a:lvl9pPr marL="2038419" indent="-353893" algn="l" defTabSz="24340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3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1pPr>
      <a:lvl2pPr marL="1242938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2pPr>
      <a:lvl3pPr marL="2485881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3pPr>
      <a:lvl4pPr marL="3728815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4pPr>
      <a:lvl5pPr marL="4971761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5pPr>
      <a:lvl6pPr marL="6214696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6pPr>
      <a:lvl7pPr marL="7457642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7pPr>
      <a:lvl8pPr marL="8700578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8pPr>
      <a:lvl9pPr marL="9943521" algn="l" defTabSz="2485881" rtl="0" eaLnBrk="1" latinLnBrk="0" hangingPunct="1">
        <a:defRPr sz="4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89100" y="355600"/>
            <a:ext cx="21005800" cy="228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89100" y="3149600"/>
            <a:ext cx="21005800" cy="9296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1059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defTabSz="825500"/>
            <a:fld id="{86CB4B4D-7CA3-9044-876B-883B54F8677D}" type="slidenum">
              <a:rPr/>
              <a:pPr defTabSz="82550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02483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</p:sldLayoutIdLst>
  <p:transition spd="med"/>
  <p:txStyles>
    <p:title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63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127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190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254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317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381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444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508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571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125000"/>
        <a:buFontTx/>
        <a:buChar char="•"/>
        <a:tabLst/>
        <a:defRPr sz="5200" b="0" i="0" u="none" strike="noStrike" cap="none" spc="0" baseline="0"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7" y="4"/>
          <a:ext cx="431958" cy="3239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4" name="Слайд think-cell" r:id="rId9" imgW="270" imgH="270" progId="TCLayout.ActiveDocument.1">
                  <p:embed/>
                </p:oleObj>
              </mc:Choice>
              <mc:Fallback>
                <p:oleObj name="Слайд think-cell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" y="4"/>
                        <a:ext cx="431958" cy="3239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17" y="4"/>
            <a:ext cx="431958" cy="323948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824348" fontAlgn="base">
              <a:spcBef>
                <a:spcPct val="0"/>
              </a:spcBef>
              <a:spcAft>
                <a:spcPct val="0"/>
              </a:spcAft>
            </a:pPr>
            <a:endParaRPr lang="ru-RU" sz="42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23987" y="469795"/>
            <a:ext cx="21367974" cy="697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19631" y="92413"/>
            <a:ext cx="125835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824348" fontAlgn="base">
              <a:spcBef>
                <a:spcPct val="0"/>
              </a:spcBef>
              <a:spcAft>
                <a:spcPct val="0"/>
              </a:spcAft>
            </a:pPr>
            <a:r>
              <a:rPr lang="ru-RU" sz="2000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23970" y="1359452"/>
            <a:ext cx="20738276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44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324010" y="12890673"/>
            <a:ext cx="23450968" cy="641449"/>
            <a:chOff x="380999" y="6317043"/>
            <a:chExt cx="8356601" cy="31434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380999" y="6317043"/>
              <a:ext cx="8356601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0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380999" y="6480558"/>
              <a:ext cx="6938064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1653046" indent="-1653046" defTabSz="2427908" fontAlgn="base">
                <a:spcBef>
                  <a:spcPct val="0"/>
                </a:spcBef>
                <a:spcAft>
                  <a:spcPct val="0"/>
                </a:spcAft>
                <a:tabLst>
                  <a:tab pos="1709006" algn="l"/>
                </a:tabLst>
              </a:pPr>
              <a:r>
                <a:rPr lang="ru-RU" sz="2000" dirty="0">
                  <a:solidFill>
                    <a:srgbClr val="808080"/>
                  </a:solidFill>
                </a:rPr>
                <a:t>ИСТОЧНИК: источник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952416" y="3982032"/>
            <a:ext cx="11706048" cy="251222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952418" y="2599033"/>
            <a:ext cx="11602376" cy="100424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824348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3200" b="1" dirty="0">
                  <a:solidFill>
                    <a:srgbClr val="0A2896"/>
                  </a:solidFill>
                </a:rPr>
                <a:t>Название документа</a:t>
              </a:r>
            </a:p>
            <a:p>
              <a:pPr defTabSz="1824348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3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22586621" y="1361884"/>
            <a:ext cx="1188352" cy="370552"/>
            <a:chOff x="8304039" y="285750"/>
            <a:chExt cx="436736" cy="18158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5850" y="285750"/>
              <a:ext cx="424925" cy="16440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2427908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2000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04039" y="285750"/>
              <a:ext cx="0" cy="18158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04039" y="467339"/>
              <a:ext cx="43673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3" name="Изображение 10">
            <a:extLst>
              <a:ext uri="{FF2B5EF4-FFF2-40B4-BE49-F238E27FC236}">
                <a16:creationId xmlns:a16="http://schemas.microsoft.com/office/drawing/2014/main" id="{E45AB555-D6ED-4AD4-B929-895DDFCFE949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13" t="20657" r="16398" b="28627"/>
          <a:stretch/>
        </p:blipFill>
        <p:spPr>
          <a:xfrm>
            <a:off x="22000781" y="469732"/>
            <a:ext cx="1700758" cy="680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429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</p:sldLayoutIdLst>
  <p:hf hdr="0" ftr="0" dt="0"/>
  <p:txStyles>
    <p:titleStyle>
      <a:lvl1pPr algn="l" defTabSz="2427908" rtl="0" eaLnBrk="1" fontAlgn="base" hangingPunct="1">
        <a:spcBef>
          <a:spcPct val="0"/>
        </a:spcBef>
        <a:spcAft>
          <a:spcPct val="0"/>
        </a:spcAft>
        <a:tabLst>
          <a:tab pos="731818" algn="l"/>
        </a:tabLst>
        <a:defRPr sz="4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2427908" rtl="0" eaLnBrk="1" fontAlgn="base" hangingPunct="1">
        <a:spcBef>
          <a:spcPct val="0"/>
        </a:spcBef>
        <a:spcAft>
          <a:spcPct val="0"/>
        </a:spcAft>
        <a:defRPr sz="5200" b="1">
          <a:solidFill>
            <a:schemeClr val="tx2"/>
          </a:solidFill>
          <a:latin typeface="Arial" charset="0"/>
        </a:defRPr>
      </a:lvl2pPr>
      <a:lvl3pPr algn="l" defTabSz="2427908" rtl="0" eaLnBrk="1" fontAlgn="base" hangingPunct="1">
        <a:spcBef>
          <a:spcPct val="0"/>
        </a:spcBef>
        <a:spcAft>
          <a:spcPct val="0"/>
        </a:spcAft>
        <a:defRPr sz="5200" b="1">
          <a:solidFill>
            <a:schemeClr val="tx2"/>
          </a:solidFill>
          <a:latin typeface="Arial" charset="0"/>
        </a:defRPr>
      </a:lvl3pPr>
      <a:lvl4pPr algn="l" defTabSz="2427908" rtl="0" eaLnBrk="1" fontAlgn="base" hangingPunct="1">
        <a:spcBef>
          <a:spcPct val="0"/>
        </a:spcBef>
        <a:spcAft>
          <a:spcPct val="0"/>
        </a:spcAft>
        <a:defRPr sz="5200" b="1">
          <a:solidFill>
            <a:schemeClr val="tx2"/>
          </a:solidFill>
          <a:latin typeface="Arial" charset="0"/>
        </a:defRPr>
      </a:lvl4pPr>
      <a:lvl5pPr algn="l" defTabSz="2427908" rtl="0" eaLnBrk="1" fontAlgn="base" hangingPunct="1">
        <a:spcBef>
          <a:spcPct val="0"/>
        </a:spcBef>
        <a:spcAft>
          <a:spcPct val="0"/>
        </a:spcAft>
        <a:defRPr sz="5200" b="1">
          <a:solidFill>
            <a:schemeClr val="tx2"/>
          </a:solidFill>
          <a:latin typeface="Arial" charset="0"/>
        </a:defRPr>
      </a:lvl5pPr>
      <a:lvl6pPr marL="1239784" algn="l" defTabSz="2427908" rtl="0" eaLnBrk="1" fontAlgn="base" hangingPunct="1">
        <a:spcBef>
          <a:spcPct val="0"/>
        </a:spcBef>
        <a:spcAft>
          <a:spcPct val="0"/>
        </a:spcAft>
        <a:defRPr sz="5200" b="1">
          <a:solidFill>
            <a:schemeClr val="tx2"/>
          </a:solidFill>
          <a:latin typeface="Arial" charset="0"/>
        </a:defRPr>
      </a:lvl6pPr>
      <a:lvl7pPr marL="2479564" algn="l" defTabSz="2427908" rtl="0" eaLnBrk="1" fontAlgn="base" hangingPunct="1">
        <a:spcBef>
          <a:spcPct val="0"/>
        </a:spcBef>
        <a:spcAft>
          <a:spcPct val="0"/>
        </a:spcAft>
        <a:defRPr sz="5200" b="1">
          <a:solidFill>
            <a:schemeClr val="tx2"/>
          </a:solidFill>
          <a:latin typeface="Arial" charset="0"/>
        </a:defRPr>
      </a:lvl7pPr>
      <a:lvl8pPr marL="3719344" algn="l" defTabSz="2427908" rtl="0" eaLnBrk="1" fontAlgn="base" hangingPunct="1">
        <a:spcBef>
          <a:spcPct val="0"/>
        </a:spcBef>
        <a:spcAft>
          <a:spcPct val="0"/>
        </a:spcAft>
        <a:defRPr sz="5200" b="1">
          <a:solidFill>
            <a:schemeClr val="tx2"/>
          </a:solidFill>
          <a:latin typeface="Arial" charset="0"/>
        </a:defRPr>
      </a:lvl8pPr>
      <a:lvl9pPr marL="4959126" algn="l" defTabSz="2427908" rtl="0" eaLnBrk="1" fontAlgn="base" hangingPunct="1">
        <a:spcBef>
          <a:spcPct val="0"/>
        </a:spcBef>
        <a:spcAft>
          <a:spcPct val="0"/>
        </a:spcAft>
        <a:defRPr sz="52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24279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3200" baseline="0">
          <a:solidFill>
            <a:schemeClr val="tx1"/>
          </a:solidFill>
          <a:latin typeface="+mn-lt"/>
          <a:ea typeface="+mn-ea"/>
          <a:cs typeface="+mn-cs"/>
        </a:defRPr>
      </a:lvl1pPr>
      <a:lvl2pPr marL="525186" indent="-520880" algn="l" defTabSz="24279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3200" baseline="0">
          <a:solidFill>
            <a:schemeClr val="tx1"/>
          </a:solidFill>
          <a:latin typeface="+mn-lt"/>
        </a:defRPr>
      </a:lvl2pPr>
      <a:lvl3pPr marL="1239784" indent="-710300" algn="l" defTabSz="24279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3200" baseline="0">
          <a:solidFill>
            <a:schemeClr val="tx1"/>
          </a:solidFill>
          <a:latin typeface="+mn-lt"/>
        </a:defRPr>
      </a:lvl3pPr>
      <a:lvl4pPr marL="1665960" indent="-421870" algn="l" defTabSz="24279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3200" baseline="0">
          <a:solidFill>
            <a:schemeClr val="tx1"/>
          </a:solidFill>
          <a:latin typeface="+mn-lt"/>
        </a:defRPr>
      </a:lvl4pPr>
      <a:lvl5pPr marL="2033240" indent="-352994" algn="l" defTabSz="24279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200" baseline="0">
          <a:solidFill>
            <a:schemeClr val="tx1"/>
          </a:solidFill>
          <a:latin typeface="+mn-lt"/>
        </a:defRPr>
      </a:lvl5pPr>
      <a:lvl6pPr marL="2033240" indent="-352994" algn="l" defTabSz="24279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200" baseline="0">
          <a:solidFill>
            <a:schemeClr val="tx1"/>
          </a:solidFill>
          <a:latin typeface="+mn-lt"/>
        </a:defRPr>
      </a:lvl6pPr>
      <a:lvl7pPr marL="2033240" indent="-352994" algn="l" defTabSz="24279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200" baseline="0">
          <a:solidFill>
            <a:schemeClr val="tx1"/>
          </a:solidFill>
          <a:latin typeface="+mn-lt"/>
        </a:defRPr>
      </a:lvl7pPr>
      <a:lvl8pPr marL="2033240" indent="-352994" algn="l" defTabSz="24279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200" baseline="0">
          <a:solidFill>
            <a:schemeClr val="tx1"/>
          </a:solidFill>
          <a:latin typeface="+mn-lt"/>
        </a:defRPr>
      </a:lvl8pPr>
      <a:lvl9pPr marL="2033240" indent="-352994" algn="l" defTabSz="24279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42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247956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39784" algn="l" defTabSz="247956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79564" algn="l" defTabSz="247956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719344" algn="l" defTabSz="247956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959126" algn="l" defTabSz="247956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198906" algn="l" defTabSz="247956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438692" algn="l" defTabSz="247956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678468" algn="l" defTabSz="247956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918254" algn="l" defTabSz="247956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9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tif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tif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38.xml"/><Relationship Id="rId299" Type="http://schemas.openxmlformats.org/officeDocument/2006/relationships/tags" Target="../tags/tag320.xml"/><Relationship Id="rId303" Type="http://schemas.openxmlformats.org/officeDocument/2006/relationships/tags" Target="../tags/tag324.xml"/><Relationship Id="rId21" Type="http://schemas.openxmlformats.org/officeDocument/2006/relationships/tags" Target="../tags/tag42.xml"/><Relationship Id="rId42" Type="http://schemas.openxmlformats.org/officeDocument/2006/relationships/tags" Target="../tags/tag63.xml"/><Relationship Id="rId63" Type="http://schemas.openxmlformats.org/officeDocument/2006/relationships/tags" Target="../tags/tag84.xml"/><Relationship Id="rId84" Type="http://schemas.openxmlformats.org/officeDocument/2006/relationships/tags" Target="../tags/tag105.xml"/><Relationship Id="rId138" Type="http://schemas.openxmlformats.org/officeDocument/2006/relationships/tags" Target="../tags/tag159.xml"/><Relationship Id="rId159" Type="http://schemas.openxmlformats.org/officeDocument/2006/relationships/tags" Target="../tags/tag180.xml"/><Relationship Id="rId324" Type="http://schemas.openxmlformats.org/officeDocument/2006/relationships/tags" Target="../tags/tag345.xml"/><Relationship Id="rId345" Type="http://schemas.openxmlformats.org/officeDocument/2006/relationships/image" Target="../media/image12.emf"/><Relationship Id="rId170" Type="http://schemas.openxmlformats.org/officeDocument/2006/relationships/tags" Target="../tags/tag191.xml"/><Relationship Id="rId191" Type="http://schemas.openxmlformats.org/officeDocument/2006/relationships/tags" Target="../tags/tag212.xml"/><Relationship Id="rId205" Type="http://schemas.openxmlformats.org/officeDocument/2006/relationships/tags" Target="../tags/tag226.xml"/><Relationship Id="rId226" Type="http://schemas.openxmlformats.org/officeDocument/2006/relationships/tags" Target="../tags/tag247.xml"/><Relationship Id="rId247" Type="http://schemas.openxmlformats.org/officeDocument/2006/relationships/tags" Target="../tags/tag268.xml"/><Relationship Id="rId107" Type="http://schemas.openxmlformats.org/officeDocument/2006/relationships/tags" Target="../tags/tag128.xml"/><Relationship Id="rId268" Type="http://schemas.openxmlformats.org/officeDocument/2006/relationships/tags" Target="../tags/tag289.xml"/><Relationship Id="rId289" Type="http://schemas.openxmlformats.org/officeDocument/2006/relationships/tags" Target="../tags/tag310.xml"/><Relationship Id="rId11" Type="http://schemas.openxmlformats.org/officeDocument/2006/relationships/tags" Target="../tags/tag32.xml"/><Relationship Id="rId32" Type="http://schemas.openxmlformats.org/officeDocument/2006/relationships/tags" Target="../tags/tag53.xml"/><Relationship Id="rId53" Type="http://schemas.openxmlformats.org/officeDocument/2006/relationships/tags" Target="../tags/tag74.xml"/><Relationship Id="rId74" Type="http://schemas.openxmlformats.org/officeDocument/2006/relationships/tags" Target="../tags/tag95.xml"/><Relationship Id="rId128" Type="http://schemas.openxmlformats.org/officeDocument/2006/relationships/tags" Target="../tags/tag149.xml"/><Relationship Id="rId149" Type="http://schemas.openxmlformats.org/officeDocument/2006/relationships/tags" Target="../tags/tag170.xml"/><Relationship Id="rId314" Type="http://schemas.openxmlformats.org/officeDocument/2006/relationships/tags" Target="../tags/tag335.xml"/><Relationship Id="rId335" Type="http://schemas.openxmlformats.org/officeDocument/2006/relationships/tags" Target="../tags/tag356.xml"/><Relationship Id="rId5" Type="http://schemas.openxmlformats.org/officeDocument/2006/relationships/tags" Target="../tags/tag26.xml"/><Relationship Id="rId95" Type="http://schemas.openxmlformats.org/officeDocument/2006/relationships/tags" Target="../tags/tag116.xml"/><Relationship Id="rId160" Type="http://schemas.openxmlformats.org/officeDocument/2006/relationships/tags" Target="../tags/tag181.xml"/><Relationship Id="rId181" Type="http://schemas.openxmlformats.org/officeDocument/2006/relationships/tags" Target="../tags/tag202.xml"/><Relationship Id="rId216" Type="http://schemas.openxmlformats.org/officeDocument/2006/relationships/tags" Target="../tags/tag237.xml"/><Relationship Id="rId237" Type="http://schemas.openxmlformats.org/officeDocument/2006/relationships/tags" Target="../tags/tag258.xml"/><Relationship Id="rId258" Type="http://schemas.openxmlformats.org/officeDocument/2006/relationships/tags" Target="../tags/tag279.xml"/><Relationship Id="rId279" Type="http://schemas.openxmlformats.org/officeDocument/2006/relationships/tags" Target="../tags/tag300.xml"/><Relationship Id="rId22" Type="http://schemas.openxmlformats.org/officeDocument/2006/relationships/tags" Target="../tags/tag43.xml"/><Relationship Id="rId43" Type="http://schemas.openxmlformats.org/officeDocument/2006/relationships/tags" Target="../tags/tag64.xml"/><Relationship Id="rId64" Type="http://schemas.openxmlformats.org/officeDocument/2006/relationships/tags" Target="../tags/tag85.xml"/><Relationship Id="rId118" Type="http://schemas.openxmlformats.org/officeDocument/2006/relationships/tags" Target="../tags/tag139.xml"/><Relationship Id="rId139" Type="http://schemas.openxmlformats.org/officeDocument/2006/relationships/tags" Target="../tags/tag160.xml"/><Relationship Id="rId290" Type="http://schemas.openxmlformats.org/officeDocument/2006/relationships/tags" Target="../tags/tag311.xml"/><Relationship Id="rId304" Type="http://schemas.openxmlformats.org/officeDocument/2006/relationships/tags" Target="../tags/tag325.xml"/><Relationship Id="rId325" Type="http://schemas.openxmlformats.org/officeDocument/2006/relationships/tags" Target="../tags/tag346.xml"/><Relationship Id="rId346" Type="http://schemas.openxmlformats.org/officeDocument/2006/relationships/chart" Target="../charts/chart1.xml"/><Relationship Id="rId85" Type="http://schemas.openxmlformats.org/officeDocument/2006/relationships/tags" Target="../tags/tag106.xml"/><Relationship Id="rId150" Type="http://schemas.openxmlformats.org/officeDocument/2006/relationships/tags" Target="../tags/tag171.xml"/><Relationship Id="rId171" Type="http://schemas.openxmlformats.org/officeDocument/2006/relationships/tags" Target="../tags/tag192.xml"/><Relationship Id="rId192" Type="http://schemas.openxmlformats.org/officeDocument/2006/relationships/tags" Target="../tags/tag213.xml"/><Relationship Id="rId206" Type="http://schemas.openxmlformats.org/officeDocument/2006/relationships/tags" Target="../tags/tag227.xml"/><Relationship Id="rId227" Type="http://schemas.openxmlformats.org/officeDocument/2006/relationships/tags" Target="../tags/tag248.xml"/><Relationship Id="rId248" Type="http://schemas.openxmlformats.org/officeDocument/2006/relationships/tags" Target="../tags/tag269.xml"/><Relationship Id="rId269" Type="http://schemas.openxmlformats.org/officeDocument/2006/relationships/tags" Target="../tags/tag290.xml"/><Relationship Id="rId12" Type="http://schemas.openxmlformats.org/officeDocument/2006/relationships/tags" Target="../tags/tag33.xml"/><Relationship Id="rId33" Type="http://schemas.openxmlformats.org/officeDocument/2006/relationships/tags" Target="../tags/tag54.xml"/><Relationship Id="rId108" Type="http://schemas.openxmlformats.org/officeDocument/2006/relationships/tags" Target="../tags/tag129.xml"/><Relationship Id="rId129" Type="http://schemas.openxmlformats.org/officeDocument/2006/relationships/tags" Target="../tags/tag150.xml"/><Relationship Id="rId280" Type="http://schemas.openxmlformats.org/officeDocument/2006/relationships/tags" Target="../tags/tag301.xml"/><Relationship Id="rId315" Type="http://schemas.openxmlformats.org/officeDocument/2006/relationships/tags" Target="../tags/tag336.xml"/><Relationship Id="rId336" Type="http://schemas.openxmlformats.org/officeDocument/2006/relationships/tags" Target="../tags/tag357.xml"/><Relationship Id="rId54" Type="http://schemas.openxmlformats.org/officeDocument/2006/relationships/tags" Target="../tags/tag75.xml"/><Relationship Id="rId75" Type="http://schemas.openxmlformats.org/officeDocument/2006/relationships/tags" Target="../tags/tag96.xml"/><Relationship Id="rId96" Type="http://schemas.openxmlformats.org/officeDocument/2006/relationships/tags" Target="../tags/tag117.xml"/><Relationship Id="rId140" Type="http://schemas.openxmlformats.org/officeDocument/2006/relationships/tags" Target="../tags/tag161.xml"/><Relationship Id="rId161" Type="http://schemas.openxmlformats.org/officeDocument/2006/relationships/tags" Target="../tags/tag182.xml"/><Relationship Id="rId182" Type="http://schemas.openxmlformats.org/officeDocument/2006/relationships/tags" Target="../tags/tag203.xml"/><Relationship Id="rId217" Type="http://schemas.openxmlformats.org/officeDocument/2006/relationships/tags" Target="../tags/tag238.xml"/><Relationship Id="rId6" Type="http://schemas.openxmlformats.org/officeDocument/2006/relationships/tags" Target="../tags/tag27.xml"/><Relationship Id="rId238" Type="http://schemas.openxmlformats.org/officeDocument/2006/relationships/tags" Target="../tags/tag259.xml"/><Relationship Id="rId259" Type="http://schemas.openxmlformats.org/officeDocument/2006/relationships/tags" Target="../tags/tag280.xml"/><Relationship Id="rId23" Type="http://schemas.openxmlformats.org/officeDocument/2006/relationships/tags" Target="../tags/tag44.xml"/><Relationship Id="rId119" Type="http://schemas.openxmlformats.org/officeDocument/2006/relationships/tags" Target="../tags/tag140.xml"/><Relationship Id="rId270" Type="http://schemas.openxmlformats.org/officeDocument/2006/relationships/tags" Target="../tags/tag291.xml"/><Relationship Id="rId291" Type="http://schemas.openxmlformats.org/officeDocument/2006/relationships/tags" Target="../tags/tag312.xml"/><Relationship Id="rId305" Type="http://schemas.openxmlformats.org/officeDocument/2006/relationships/tags" Target="../tags/tag326.xml"/><Relationship Id="rId326" Type="http://schemas.openxmlformats.org/officeDocument/2006/relationships/tags" Target="../tags/tag347.xml"/><Relationship Id="rId44" Type="http://schemas.openxmlformats.org/officeDocument/2006/relationships/tags" Target="../tags/tag65.xml"/><Relationship Id="rId65" Type="http://schemas.openxmlformats.org/officeDocument/2006/relationships/tags" Target="../tags/tag86.xml"/><Relationship Id="rId86" Type="http://schemas.openxmlformats.org/officeDocument/2006/relationships/tags" Target="../tags/tag107.xml"/><Relationship Id="rId130" Type="http://schemas.openxmlformats.org/officeDocument/2006/relationships/tags" Target="../tags/tag151.xml"/><Relationship Id="rId151" Type="http://schemas.openxmlformats.org/officeDocument/2006/relationships/tags" Target="../tags/tag172.xml"/><Relationship Id="rId172" Type="http://schemas.openxmlformats.org/officeDocument/2006/relationships/tags" Target="../tags/tag193.xml"/><Relationship Id="rId193" Type="http://schemas.openxmlformats.org/officeDocument/2006/relationships/tags" Target="../tags/tag214.xml"/><Relationship Id="rId207" Type="http://schemas.openxmlformats.org/officeDocument/2006/relationships/tags" Target="../tags/tag228.xml"/><Relationship Id="rId228" Type="http://schemas.openxmlformats.org/officeDocument/2006/relationships/tags" Target="../tags/tag249.xml"/><Relationship Id="rId249" Type="http://schemas.openxmlformats.org/officeDocument/2006/relationships/tags" Target="../tags/tag270.xml"/><Relationship Id="rId13" Type="http://schemas.openxmlformats.org/officeDocument/2006/relationships/tags" Target="../tags/tag34.xml"/><Relationship Id="rId109" Type="http://schemas.openxmlformats.org/officeDocument/2006/relationships/tags" Target="../tags/tag130.xml"/><Relationship Id="rId260" Type="http://schemas.openxmlformats.org/officeDocument/2006/relationships/tags" Target="../tags/tag281.xml"/><Relationship Id="rId281" Type="http://schemas.openxmlformats.org/officeDocument/2006/relationships/tags" Target="../tags/tag302.xml"/><Relationship Id="rId316" Type="http://schemas.openxmlformats.org/officeDocument/2006/relationships/tags" Target="../tags/tag337.xml"/><Relationship Id="rId337" Type="http://schemas.openxmlformats.org/officeDocument/2006/relationships/tags" Target="../tags/tag358.xml"/><Relationship Id="rId34" Type="http://schemas.openxmlformats.org/officeDocument/2006/relationships/tags" Target="../tags/tag55.xml"/><Relationship Id="rId55" Type="http://schemas.openxmlformats.org/officeDocument/2006/relationships/tags" Target="../tags/tag76.xml"/><Relationship Id="rId76" Type="http://schemas.openxmlformats.org/officeDocument/2006/relationships/tags" Target="../tags/tag97.xml"/><Relationship Id="rId97" Type="http://schemas.openxmlformats.org/officeDocument/2006/relationships/tags" Target="../tags/tag118.xml"/><Relationship Id="rId120" Type="http://schemas.openxmlformats.org/officeDocument/2006/relationships/tags" Target="../tags/tag141.xml"/><Relationship Id="rId141" Type="http://schemas.openxmlformats.org/officeDocument/2006/relationships/tags" Target="../tags/tag162.xml"/><Relationship Id="rId7" Type="http://schemas.openxmlformats.org/officeDocument/2006/relationships/tags" Target="../tags/tag28.xml"/><Relationship Id="rId162" Type="http://schemas.openxmlformats.org/officeDocument/2006/relationships/tags" Target="../tags/tag183.xml"/><Relationship Id="rId183" Type="http://schemas.openxmlformats.org/officeDocument/2006/relationships/tags" Target="../tags/tag204.xml"/><Relationship Id="rId218" Type="http://schemas.openxmlformats.org/officeDocument/2006/relationships/tags" Target="../tags/tag239.xml"/><Relationship Id="rId239" Type="http://schemas.openxmlformats.org/officeDocument/2006/relationships/tags" Target="../tags/tag260.xml"/><Relationship Id="rId250" Type="http://schemas.openxmlformats.org/officeDocument/2006/relationships/tags" Target="../tags/tag271.xml"/><Relationship Id="rId271" Type="http://schemas.openxmlformats.org/officeDocument/2006/relationships/tags" Target="../tags/tag292.xml"/><Relationship Id="rId292" Type="http://schemas.openxmlformats.org/officeDocument/2006/relationships/tags" Target="../tags/tag313.xml"/><Relationship Id="rId306" Type="http://schemas.openxmlformats.org/officeDocument/2006/relationships/tags" Target="../tags/tag327.xml"/><Relationship Id="rId24" Type="http://schemas.openxmlformats.org/officeDocument/2006/relationships/tags" Target="../tags/tag45.xml"/><Relationship Id="rId45" Type="http://schemas.openxmlformats.org/officeDocument/2006/relationships/tags" Target="../tags/tag66.xml"/><Relationship Id="rId66" Type="http://schemas.openxmlformats.org/officeDocument/2006/relationships/tags" Target="../tags/tag87.xml"/><Relationship Id="rId87" Type="http://schemas.openxmlformats.org/officeDocument/2006/relationships/tags" Target="../tags/tag108.xml"/><Relationship Id="rId110" Type="http://schemas.openxmlformats.org/officeDocument/2006/relationships/tags" Target="../tags/tag131.xml"/><Relationship Id="rId131" Type="http://schemas.openxmlformats.org/officeDocument/2006/relationships/tags" Target="../tags/tag152.xml"/><Relationship Id="rId327" Type="http://schemas.openxmlformats.org/officeDocument/2006/relationships/tags" Target="../tags/tag348.xml"/><Relationship Id="rId152" Type="http://schemas.openxmlformats.org/officeDocument/2006/relationships/tags" Target="../tags/tag173.xml"/><Relationship Id="rId173" Type="http://schemas.openxmlformats.org/officeDocument/2006/relationships/tags" Target="../tags/tag194.xml"/><Relationship Id="rId194" Type="http://schemas.openxmlformats.org/officeDocument/2006/relationships/tags" Target="../tags/tag215.xml"/><Relationship Id="rId208" Type="http://schemas.openxmlformats.org/officeDocument/2006/relationships/tags" Target="../tags/tag229.xml"/><Relationship Id="rId229" Type="http://schemas.openxmlformats.org/officeDocument/2006/relationships/tags" Target="../tags/tag250.xml"/><Relationship Id="rId240" Type="http://schemas.openxmlformats.org/officeDocument/2006/relationships/tags" Target="../tags/tag261.xml"/><Relationship Id="rId261" Type="http://schemas.openxmlformats.org/officeDocument/2006/relationships/tags" Target="../tags/tag282.xml"/><Relationship Id="rId14" Type="http://schemas.openxmlformats.org/officeDocument/2006/relationships/tags" Target="../tags/tag35.xml"/><Relationship Id="rId35" Type="http://schemas.openxmlformats.org/officeDocument/2006/relationships/tags" Target="../tags/tag56.xml"/><Relationship Id="rId56" Type="http://schemas.openxmlformats.org/officeDocument/2006/relationships/tags" Target="../tags/tag77.xml"/><Relationship Id="rId77" Type="http://schemas.openxmlformats.org/officeDocument/2006/relationships/tags" Target="../tags/tag98.xml"/><Relationship Id="rId100" Type="http://schemas.openxmlformats.org/officeDocument/2006/relationships/tags" Target="../tags/tag121.xml"/><Relationship Id="rId282" Type="http://schemas.openxmlformats.org/officeDocument/2006/relationships/tags" Target="../tags/tag303.xml"/><Relationship Id="rId317" Type="http://schemas.openxmlformats.org/officeDocument/2006/relationships/tags" Target="../tags/tag338.xml"/><Relationship Id="rId338" Type="http://schemas.openxmlformats.org/officeDocument/2006/relationships/tags" Target="../tags/tag359.xml"/><Relationship Id="rId8" Type="http://schemas.openxmlformats.org/officeDocument/2006/relationships/tags" Target="../tags/tag29.xml"/><Relationship Id="rId98" Type="http://schemas.openxmlformats.org/officeDocument/2006/relationships/tags" Target="../tags/tag119.xml"/><Relationship Id="rId121" Type="http://schemas.openxmlformats.org/officeDocument/2006/relationships/tags" Target="../tags/tag142.xml"/><Relationship Id="rId142" Type="http://schemas.openxmlformats.org/officeDocument/2006/relationships/tags" Target="../tags/tag163.xml"/><Relationship Id="rId163" Type="http://schemas.openxmlformats.org/officeDocument/2006/relationships/tags" Target="../tags/tag184.xml"/><Relationship Id="rId184" Type="http://schemas.openxmlformats.org/officeDocument/2006/relationships/tags" Target="../tags/tag205.xml"/><Relationship Id="rId219" Type="http://schemas.openxmlformats.org/officeDocument/2006/relationships/tags" Target="../tags/tag240.xml"/><Relationship Id="rId230" Type="http://schemas.openxmlformats.org/officeDocument/2006/relationships/tags" Target="../tags/tag251.xml"/><Relationship Id="rId251" Type="http://schemas.openxmlformats.org/officeDocument/2006/relationships/tags" Target="../tags/tag272.xml"/><Relationship Id="rId25" Type="http://schemas.openxmlformats.org/officeDocument/2006/relationships/tags" Target="../tags/tag46.xml"/><Relationship Id="rId46" Type="http://schemas.openxmlformats.org/officeDocument/2006/relationships/tags" Target="../tags/tag67.xml"/><Relationship Id="rId67" Type="http://schemas.openxmlformats.org/officeDocument/2006/relationships/tags" Target="../tags/tag88.xml"/><Relationship Id="rId116" Type="http://schemas.openxmlformats.org/officeDocument/2006/relationships/tags" Target="../tags/tag137.xml"/><Relationship Id="rId137" Type="http://schemas.openxmlformats.org/officeDocument/2006/relationships/tags" Target="../tags/tag158.xml"/><Relationship Id="rId158" Type="http://schemas.openxmlformats.org/officeDocument/2006/relationships/tags" Target="../tags/tag179.xml"/><Relationship Id="rId272" Type="http://schemas.openxmlformats.org/officeDocument/2006/relationships/tags" Target="../tags/tag293.xml"/><Relationship Id="rId293" Type="http://schemas.openxmlformats.org/officeDocument/2006/relationships/tags" Target="../tags/tag314.xml"/><Relationship Id="rId302" Type="http://schemas.openxmlformats.org/officeDocument/2006/relationships/tags" Target="../tags/tag323.xml"/><Relationship Id="rId307" Type="http://schemas.openxmlformats.org/officeDocument/2006/relationships/tags" Target="../tags/tag328.xml"/><Relationship Id="rId323" Type="http://schemas.openxmlformats.org/officeDocument/2006/relationships/tags" Target="../tags/tag344.xml"/><Relationship Id="rId328" Type="http://schemas.openxmlformats.org/officeDocument/2006/relationships/tags" Target="../tags/tag349.xml"/><Relationship Id="rId344" Type="http://schemas.openxmlformats.org/officeDocument/2006/relationships/oleObject" Target="../embeddings/oleObject19.bin"/><Relationship Id="rId20" Type="http://schemas.openxmlformats.org/officeDocument/2006/relationships/tags" Target="../tags/tag41.xml"/><Relationship Id="rId41" Type="http://schemas.openxmlformats.org/officeDocument/2006/relationships/tags" Target="../tags/tag62.xml"/><Relationship Id="rId62" Type="http://schemas.openxmlformats.org/officeDocument/2006/relationships/tags" Target="../tags/tag83.xml"/><Relationship Id="rId83" Type="http://schemas.openxmlformats.org/officeDocument/2006/relationships/tags" Target="../tags/tag104.xml"/><Relationship Id="rId88" Type="http://schemas.openxmlformats.org/officeDocument/2006/relationships/tags" Target="../tags/tag109.xml"/><Relationship Id="rId111" Type="http://schemas.openxmlformats.org/officeDocument/2006/relationships/tags" Target="../tags/tag132.xml"/><Relationship Id="rId132" Type="http://schemas.openxmlformats.org/officeDocument/2006/relationships/tags" Target="../tags/tag153.xml"/><Relationship Id="rId153" Type="http://schemas.openxmlformats.org/officeDocument/2006/relationships/tags" Target="../tags/tag174.xml"/><Relationship Id="rId174" Type="http://schemas.openxmlformats.org/officeDocument/2006/relationships/tags" Target="../tags/tag195.xml"/><Relationship Id="rId179" Type="http://schemas.openxmlformats.org/officeDocument/2006/relationships/tags" Target="../tags/tag200.xml"/><Relationship Id="rId195" Type="http://schemas.openxmlformats.org/officeDocument/2006/relationships/tags" Target="../tags/tag216.xml"/><Relationship Id="rId209" Type="http://schemas.openxmlformats.org/officeDocument/2006/relationships/tags" Target="../tags/tag230.xml"/><Relationship Id="rId190" Type="http://schemas.openxmlformats.org/officeDocument/2006/relationships/tags" Target="../tags/tag211.xml"/><Relationship Id="rId204" Type="http://schemas.openxmlformats.org/officeDocument/2006/relationships/tags" Target="../tags/tag225.xml"/><Relationship Id="rId220" Type="http://schemas.openxmlformats.org/officeDocument/2006/relationships/tags" Target="../tags/tag241.xml"/><Relationship Id="rId225" Type="http://schemas.openxmlformats.org/officeDocument/2006/relationships/tags" Target="../tags/tag246.xml"/><Relationship Id="rId241" Type="http://schemas.openxmlformats.org/officeDocument/2006/relationships/tags" Target="../tags/tag262.xml"/><Relationship Id="rId246" Type="http://schemas.openxmlformats.org/officeDocument/2006/relationships/tags" Target="../tags/tag267.xml"/><Relationship Id="rId267" Type="http://schemas.openxmlformats.org/officeDocument/2006/relationships/tags" Target="../tags/tag288.xml"/><Relationship Id="rId288" Type="http://schemas.openxmlformats.org/officeDocument/2006/relationships/tags" Target="../tags/tag309.xml"/><Relationship Id="rId15" Type="http://schemas.openxmlformats.org/officeDocument/2006/relationships/tags" Target="../tags/tag36.xml"/><Relationship Id="rId36" Type="http://schemas.openxmlformats.org/officeDocument/2006/relationships/tags" Target="../tags/tag57.xml"/><Relationship Id="rId57" Type="http://schemas.openxmlformats.org/officeDocument/2006/relationships/tags" Target="../tags/tag78.xml"/><Relationship Id="rId106" Type="http://schemas.openxmlformats.org/officeDocument/2006/relationships/tags" Target="../tags/tag127.xml"/><Relationship Id="rId127" Type="http://schemas.openxmlformats.org/officeDocument/2006/relationships/tags" Target="../tags/tag148.xml"/><Relationship Id="rId262" Type="http://schemas.openxmlformats.org/officeDocument/2006/relationships/tags" Target="../tags/tag283.xml"/><Relationship Id="rId283" Type="http://schemas.openxmlformats.org/officeDocument/2006/relationships/tags" Target="../tags/tag304.xml"/><Relationship Id="rId313" Type="http://schemas.openxmlformats.org/officeDocument/2006/relationships/tags" Target="../tags/tag334.xml"/><Relationship Id="rId318" Type="http://schemas.openxmlformats.org/officeDocument/2006/relationships/tags" Target="../tags/tag339.xml"/><Relationship Id="rId339" Type="http://schemas.openxmlformats.org/officeDocument/2006/relationships/tags" Target="../tags/tag360.xml"/><Relationship Id="rId10" Type="http://schemas.openxmlformats.org/officeDocument/2006/relationships/tags" Target="../tags/tag31.xml"/><Relationship Id="rId31" Type="http://schemas.openxmlformats.org/officeDocument/2006/relationships/tags" Target="../tags/tag52.xml"/><Relationship Id="rId52" Type="http://schemas.openxmlformats.org/officeDocument/2006/relationships/tags" Target="../tags/tag73.xml"/><Relationship Id="rId73" Type="http://schemas.openxmlformats.org/officeDocument/2006/relationships/tags" Target="../tags/tag94.xml"/><Relationship Id="rId78" Type="http://schemas.openxmlformats.org/officeDocument/2006/relationships/tags" Target="../tags/tag99.xml"/><Relationship Id="rId94" Type="http://schemas.openxmlformats.org/officeDocument/2006/relationships/tags" Target="../tags/tag115.xml"/><Relationship Id="rId99" Type="http://schemas.openxmlformats.org/officeDocument/2006/relationships/tags" Target="../tags/tag120.xml"/><Relationship Id="rId101" Type="http://schemas.openxmlformats.org/officeDocument/2006/relationships/tags" Target="../tags/tag122.xml"/><Relationship Id="rId122" Type="http://schemas.openxmlformats.org/officeDocument/2006/relationships/tags" Target="../tags/tag143.xml"/><Relationship Id="rId143" Type="http://schemas.openxmlformats.org/officeDocument/2006/relationships/tags" Target="../tags/tag164.xml"/><Relationship Id="rId148" Type="http://schemas.openxmlformats.org/officeDocument/2006/relationships/tags" Target="../tags/tag169.xml"/><Relationship Id="rId164" Type="http://schemas.openxmlformats.org/officeDocument/2006/relationships/tags" Target="../tags/tag185.xml"/><Relationship Id="rId169" Type="http://schemas.openxmlformats.org/officeDocument/2006/relationships/tags" Target="../tags/tag190.xml"/><Relationship Id="rId185" Type="http://schemas.openxmlformats.org/officeDocument/2006/relationships/tags" Target="../tags/tag206.xml"/><Relationship Id="rId334" Type="http://schemas.openxmlformats.org/officeDocument/2006/relationships/tags" Target="../tags/tag355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80" Type="http://schemas.openxmlformats.org/officeDocument/2006/relationships/tags" Target="../tags/tag201.xml"/><Relationship Id="rId210" Type="http://schemas.openxmlformats.org/officeDocument/2006/relationships/tags" Target="../tags/tag231.xml"/><Relationship Id="rId215" Type="http://schemas.openxmlformats.org/officeDocument/2006/relationships/tags" Target="../tags/tag236.xml"/><Relationship Id="rId236" Type="http://schemas.openxmlformats.org/officeDocument/2006/relationships/tags" Target="../tags/tag257.xml"/><Relationship Id="rId257" Type="http://schemas.openxmlformats.org/officeDocument/2006/relationships/tags" Target="../tags/tag278.xml"/><Relationship Id="rId278" Type="http://schemas.openxmlformats.org/officeDocument/2006/relationships/tags" Target="../tags/tag299.xml"/><Relationship Id="rId26" Type="http://schemas.openxmlformats.org/officeDocument/2006/relationships/tags" Target="../tags/tag47.xml"/><Relationship Id="rId231" Type="http://schemas.openxmlformats.org/officeDocument/2006/relationships/tags" Target="../tags/tag252.xml"/><Relationship Id="rId252" Type="http://schemas.openxmlformats.org/officeDocument/2006/relationships/tags" Target="../tags/tag273.xml"/><Relationship Id="rId273" Type="http://schemas.openxmlformats.org/officeDocument/2006/relationships/tags" Target="../tags/tag294.xml"/><Relationship Id="rId294" Type="http://schemas.openxmlformats.org/officeDocument/2006/relationships/tags" Target="../tags/tag315.xml"/><Relationship Id="rId308" Type="http://schemas.openxmlformats.org/officeDocument/2006/relationships/tags" Target="../tags/tag329.xml"/><Relationship Id="rId329" Type="http://schemas.openxmlformats.org/officeDocument/2006/relationships/tags" Target="../tags/tag350.xml"/><Relationship Id="rId47" Type="http://schemas.openxmlformats.org/officeDocument/2006/relationships/tags" Target="../tags/tag68.xml"/><Relationship Id="rId68" Type="http://schemas.openxmlformats.org/officeDocument/2006/relationships/tags" Target="../tags/tag89.xml"/><Relationship Id="rId89" Type="http://schemas.openxmlformats.org/officeDocument/2006/relationships/tags" Target="../tags/tag110.xml"/><Relationship Id="rId112" Type="http://schemas.openxmlformats.org/officeDocument/2006/relationships/tags" Target="../tags/tag133.xml"/><Relationship Id="rId133" Type="http://schemas.openxmlformats.org/officeDocument/2006/relationships/tags" Target="../tags/tag154.xml"/><Relationship Id="rId154" Type="http://schemas.openxmlformats.org/officeDocument/2006/relationships/tags" Target="../tags/tag175.xml"/><Relationship Id="rId175" Type="http://schemas.openxmlformats.org/officeDocument/2006/relationships/tags" Target="../tags/tag196.xml"/><Relationship Id="rId340" Type="http://schemas.openxmlformats.org/officeDocument/2006/relationships/tags" Target="../tags/tag361.xml"/><Relationship Id="rId196" Type="http://schemas.openxmlformats.org/officeDocument/2006/relationships/tags" Target="../tags/tag217.xml"/><Relationship Id="rId200" Type="http://schemas.openxmlformats.org/officeDocument/2006/relationships/tags" Target="../tags/tag221.xml"/><Relationship Id="rId16" Type="http://schemas.openxmlformats.org/officeDocument/2006/relationships/tags" Target="../tags/tag37.xml"/><Relationship Id="rId221" Type="http://schemas.openxmlformats.org/officeDocument/2006/relationships/tags" Target="../tags/tag242.xml"/><Relationship Id="rId242" Type="http://schemas.openxmlformats.org/officeDocument/2006/relationships/tags" Target="../tags/tag263.xml"/><Relationship Id="rId263" Type="http://schemas.openxmlformats.org/officeDocument/2006/relationships/tags" Target="../tags/tag284.xml"/><Relationship Id="rId284" Type="http://schemas.openxmlformats.org/officeDocument/2006/relationships/tags" Target="../tags/tag305.xml"/><Relationship Id="rId319" Type="http://schemas.openxmlformats.org/officeDocument/2006/relationships/tags" Target="../tags/tag340.xml"/><Relationship Id="rId37" Type="http://schemas.openxmlformats.org/officeDocument/2006/relationships/tags" Target="../tags/tag58.xml"/><Relationship Id="rId58" Type="http://schemas.openxmlformats.org/officeDocument/2006/relationships/tags" Target="../tags/tag79.xml"/><Relationship Id="rId79" Type="http://schemas.openxmlformats.org/officeDocument/2006/relationships/tags" Target="../tags/tag100.xml"/><Relationship Id="rId102" Type="http://schemas.openxmlformats.org/officeDocument/2006/relationships/tags" Target="../tags/tag123.xml"/><Relationship Id="rId123" Type="http://schemas.openxmlformats.org/officeDocument/2006/relationships/tags" Target="../tags/tag144.xml"/><Relationship Id="rId144" Type="http://schemas.openxmlformats.org/officeDocument/2006/relationships/tags" Target="../tags/tag165.xml"/><Relationship Id="rId330" Type="http://schemas.openxmlformats.org/officeDocument/2006/relationships/tags" Target="../tags/tag351.xml"/><Relationship Id="rId90" Type="http://schemas.openxmlformats.org/officeDocument/2006/relationships/tags" Target="../tags/tag111.xml"/><Relationship Id="rId165" Type="http://schemas.openxmlformats.org/officeDocument/2006/relationships/tags" Target="../tags/tag186.xml"/><Relationship Id="rId186" Type="http://schemas.openxmlformats.org/officeDocument/2006/relationships/tags" Target="../tags/tag207.xml"/><Relationship Id="rId211" Type="http://schemas.openxmlformats.org/officeDocument/2006/relationships/tags" Target="../tags/tag232.xml"/><Relationship Id="rId232" Type="http://schemas.openxmlformats.org/officeDocument/2006/relationships/tags" Target="../tags/tag253.xml"/><Relationship Id="rId253" Type="http://schemas.openxmlformats.org/officeDocument/2006/relationships/tags" Target="../tags/tag274.xml"/><Relationship Id="rId274" Type="http://schemas.openxmlformats.org/officeDocument/2006/relationships/tags" Target="../tags/tag295.xml"/><Relationship Id="rId295" Type="http://schemas.openxmlformats.org/officeDocument/2006/relationships/tags" Target="../tags/tag316.xml"/><Relationship Id="rId309" Type="http://schemas.openxmlformats.org/officeDocument/2006/relationships/tags" Target="../tags/tag330.xml"/><Relationship Id="rId27" Type="http://schemas.openxmlformats.org/officeDocument/2006/relationships/tags" Target="../tags/tag48.xml"/><Relationship Id="rId48" Type="http://schemas.openxmlformats.org/officeDocument/2006/relationships/tags" Target="../tags/tag69.xml"/><Relationship Id="rId69" Type="http://schemas.openxmlformats.org/officeDocument/2006/relationships/tags" Target="../tags/tag90.xml"/><Relationship Id="rId113" Type="http://schemas.openxmlformats.org/officeDocument/2006/relationships/tags" Target="../tags/tag134.xml"/><Relationship Id="rId134" Type="http://schemas.openxmlformats.org/officeDocument/2006/relationships/tags" Target="../tags/tag155.xml"/><Relationship Id="rId320" Type="http://schemas.openxmlformats.org/officeDocument/2006/relationships/tags" Target="../tags/tag341.xml"/><Relationship Id="rId80" Type="http://schemas.openxmlformats.org/officeDocument/2006/relationships/tags" Target="../tags/tag101.xml"/><Relationship Id="rId155" Type="http://schemas.openxmlformats.org/officeDocument/2006/relationships/tags" Target="../tags/tag176.xml"/><Relationship Id="rId176" Type="http://schemas.openxmlformats.org/officeDocument/2006/relationships/tags" Target="../tags/tag197.xml"/><Relationship Id="rId197" Type="http://schemas.openxmlformats.org/officeDocument/2006/relationships/tags" Target="../tags/tag218.xml"/><Relationship Id="rId341" Type="http://schemas.openxmlformats.org/officeDocument/2006/relationships/tags" Target="../tags/tag362.xml"/><Relationship Id="rId201" Type="http://schemas.openxmlformats.org/officeDocument/2006/relationships/tags" Target="../tags/tag222.xml"/><Relationship Id="rId222" Type="http://schemas.openxmlformats.org/officeDocument/2006/relationships/tags" Target="../tags/tag243.xml"/><Relationship Id="rId243" Type="http://schemas.openxmlformats.org/officeDocument/2006/relationships/tags" Target="../tags/tag264.xml"/><Relationship Id="rId264" Type="http://schemas.openxmlformats.org/officeDocument/2006/relationships/tags" Target="../tags/tag285.xml"/><Relationship Id="rId285" Type="http://schemas.openxmlformats.org/officeDocument/2006/relationships/tags" Target="../tags/tag306.xml"/><Relationship Id="rId17" Type="http://schemas.openxmlformats.org/officeDocument/2006/relationships/tags" Target="../tags/tag38.xml"/><Relationship Id="rId38" Type="http://schemas.openxmlformats.org/officeDocument/2006/relationships/tags" Target="../tags/tag59.xml"/><Relationship Id="rId59" Type="http://schemas.openxmlformats.org/officeDocument/2006/relationships/tags" Target="../tags/tag80.xml"/><Relationship Id="rId103" Type="http://schemas.openxmlformats.org/officeDocument/2006/relationships/tags" Target="../tags/tag124.xml"/><Relationship Id="rId124" Type="http://schemas.openxmlformats.org/officeDocument/2006/relationships/tags" Target="../tags/tag145.xml"/><Relationship Id="rId310" Type="http://schemas.openxmlformats.org/officeDocument/2006/relationships/tags" Target="../tags/tag331.xml"/><Relationship Id="rId70" Type="http://schemas.openxmlformats.org/officeDocument/2006/relationships/tags" Target="../tags/tag91.xml"/><Relationship Id="rId91" Type="http://schemas.openxmlformats.org/officeDocument/2006/relationships/tags" Target="../tags/tag112.xml"/><Relationship Id="rId145" Type="http://schemas.openxmlformats.org/officeDocument/2006/relationships/tags" Target="../tags/tag166.xml"/><Relationship Id="rId166" Type="http://schemas.openxmlformats.org/officeDocument/2006/relationships/tags" Target="../tags/tag187.xml"/><Relationship Id="rId187" Type="http://schemas.openxmlformats.org/officeDocument/2006/relationships/tags" Target="../tags/tag208.xml"/><Relationship Id="rId331" Type="http://schemas.openxmlformats.org/officeDocument/2006/relationships/tags" Target="../tags/tag352.xml"/><Relationship Id="rId1" Type="http://schemas.openxmlformats.org/officeDocument/2006/relationships/vmlDrawing" Target="../drawings/vmlDrawing19.vml"/><Relationship Id="rId212" Type="http://schemas.openxmlformats.org/officeDocument/2006/relationships/tags" Target="../tags/tag233.xml"/><Relationship Id="rId233" Type="http://schemas.openxmlformats.org/officeDocument/2006/relationships/tags" Target="../tags/tag254.xml"/><Relationship Id="rId254" Type="http://schemas.openxmlformats.org/officeDocument/2006/relationships/tags" Target="../tags/tag275.xml"/><Relationship Id="rId28" Type="http://schemas.openxmlformats.org/officeDocument/2006/relationships/tags" Target="../tags/tag49.xml"/><Relationship Id="rId49" Type="http://schemas.openxmlformats.org/officeDocument/2006/relationships/tags" Target="../tags/tag70.xml"/><Relationship Id="rId114" Type="http://schemas.openxmlformats.org/officeDocument/2006/relationships/tags" Target="../tags/tag135.xml"/><Relationship Id="rId275" Type="http://schemas.openxmlformats.org/officeDocument/2006/relationships/tags" Target="../tags/tag296.xml"/><Relationship Id="rId296" Type="http://schemas.openxmlformats.org/officeDocument/2006/relationships/tags" Target="../tags/tag317.xml"/><Relationship Id="rId300" Type="http://schemas.openxmlformats.org/officeDocument/2006/relationships/tags" Target="../tags/tag321.xml"/><Relationship Id="rId60" Type="http://schemas.openxmlformats.org/officeDocument/2006/relationships/tags" Target="../tags/tag81.xml"/><Relationship Id="rId81" Type="http://schemas.openxmlformats.org/officeDocument/2006/relationships/tags" Target="../tags/tag102.xml"/><Relationship Id="rId135" Type="http://schemas.openxmlformats.org/officeDocument/2006/relationships/tags" Target="../tags/tag156.xml"/><Relationship Id="rId156" Type="http://schemas.openxmlformats.org/officeDocument/2006/relationships/tags" Target="../tags/tag177.xml"/><Relationship Id="rId177" Type="http://schemas.openxmlformats.org/officeDocument/2006/relationships/tags" Target="../tags/tag198.xml"/><Relationship Id="rId198" Type="http://schemas.openxmlformats.org/officeDocument/2006/relationships/tags" Target="../tags/tag219.xml"/><Relationship Id="rId321" Type="http://schemas.openxmlformats.org/officeDocument/2006/relationships/tags" Target="../tags/tag342.xml"/><Relationship Id="rId342" Type="http://schemas.openxmlformats.org/officeDocument/2006/relationships/slideLayout" Target="../slideLayouts/slideLayout43.xml"/><Relationship Id="rId202" Type="http://schemas.openxmlformats.org/officeDocument/2006/relationships/tags" Target="../tags/tag223.xml"/><Relationship Id="rId223" Type="http://schemas.openxmlformats.org/officeDocument/2006/relationships/tags" Target="../tags/tag244.xml"/><Relationship Id="rId244" Type="http://schemas.openxmlformats.org/officeDocument/2006/relationships/tags" Target="../tags/tag265.xml"/><Relationship Id="rId18" Type="http://schemas.openxmlformats.org/officeDocument/2006/relationships/tags" Target="../tags/tag39.xml"/><Relationship Id="rId39" Type="http://schemas.openxmlformats.org/officeDocument/2006/relationships/tags" Target="../tags/tag60.xml"/><Relationship Id="rId265" Type="http://schemas.openxmlformats.org/officeDocument/2006/relationships/tags" Target="../tags/tag286.xml"/><Relationship Id="rId286" Type="http://schemas.openxmlformats.org/officeDocument/2006/relationships/tags" Target="../tags/tag307.xml"/><Relationship Id="rId50" Type="http://schemas.openxmlformats.org/officeDocument/2006/relationships/tags" Target="../tags/tag71.xml"/><Relationship Id="rId104" Type="http://schemas.openxmlformats.org/officeDocument/2006/relationships/tags" Target="../tags/tag125.xml"/><Relationship Id="rId125" Type="http://schemas.openxmlformats.org/officeDocument/2006/relationships/tags" Target="../tags/tag146.xml"/><Relationship Id="rId146" Type="http://schemas.openxmlformats.org/officeDocument/2006/relationships/tags" Target="../tags/tag167.xml"/><Relationship Id="rId167" Type="http://schemas.openxmlformats.org/officeDocument/2006/relationships/tags" Target="../tags/tag188.xml"/><Relationship Id="rId188" Type="http://schemas.openxmlformats.org/officeDocument/2006/relationships/tags" Target="../tags/tag209.xml"/><Relationship Id="rId311" Type="http://schemas.openxmlformats.org/officeDocument/2006/relationships/tags" Target="../tags/tag332.xml"/><Relationship Id="rId332" Type="http://schemas.openxmlformats.org/officeDocument/2006/relationships/tags" Target="../tags/tag353.xml"/><Relationship Id="rId71" Type="http://schemas.openxmlformats.org/officeDocument/2006/relationships/tags" Target="../tags/tag92.xml"/><Relationship Id="rId92" Type="http://schemas.openxmlformats.org/officeDocument/2006/relationships/tags" Target="../tags/tag113.xml"/><Relationship Id="rId213" Type="http://schemas.openxmlformats.org/officeDocument/2006/relationships/tags" Target="../tags/tag234.xml"/><Relationship Id="rId234" Type="http://schemas.openxmlformats.org/officeDocument/2006/relationships/tags" Target="../tags/tag255.xml"/><Relationship Id="rId2" Type="http://schemas.openxmlformats.org/officeDocument/2006/relationships/tags" Target="../tags/tag23.xml"/><Relationship Id="rId29" Type="http://schemas.openxmlformats.org/officeDocument/2006/relationships/tags" Target="../tags/tag50.xml"/><Relationship Id="rId255" Type="http://schemas.openxmlformats.org/officeDocument/2006/relationships/tags" Target="../tags/tag276.xml"/><Relationship Id="rId276" Type="http://schemas.openxmlformats.org/officeDocument/2006/relationships/tags" Target="../tags/tag297.xml"/><Relationship Id="rId297" Type="http://schemas.openxmlformats.org/officeDocument/2006/relationships/tags" Target="../tags/tag318.xml"/><Relationship Id="rId40" Type="http://schemas.openxmlformats.org/officeDocument/2006/relationships/tags" Target="../tags/tag61.xml"/><Relationship Id="rId115" Type="http://schemas.openxmlformats.org/officeDocument/2006/relationships/tags" Target="../tags/tag136.xml"/><Relationship Id="rId136" Type="http://schemas.openxmlformats.org/officeDocument/2006/relationships/tags" Target="../tags/tag157.xml"/><Relationship Id="rId157" Type="http://schemas.openxmlformats.org/officeDocument/2006/relationships/tags" Target="../tags/tag178.xml"/><Relationship Id="rId178" Type="http://schemas.openxmlformats.org/officeDocument/2006/relationships/tags" Target="../tags/tag199.xml"/><Relationship Id="rId301" Type="http://schemas.openxmlformats.org/officeDocument/2006/relationships/tags" Target="../tags/tag322.xml"/><Relationship Id="rId322" Type="http://schemas.openxmlformats.org/officeDocument/2006/relationships/tags" Target="../tags/tag343.xml"/><Relationship Id="rId343" Type="http://schemas.openxmlformats.org/officeDocument/2006/relationships/notesSlide" Target="../notesSlides/notesSlide1.xml"/><Relationship Id="rId61" Type="http://schemas.openxmlformats.org/officeDocument/2006/relationships/tags" Target="../tags/tag82.xml"/><Relationship Id="rId82" Type="http://schemas.openxmlformats.org/officeDocument/2006/relationships/tags" Target="../tags/tag103.xml"/><Relationship Id="rId199" Type="http://schemas.openxmlformats.org/officeDocument/2006/relationships/tags" Target="../tags/tag220.xml"/><Relationship Id="rId203" Type="http://schemas.openxmlformats.org/officeDocument/2006/relationships/tags" Target="../tags/tag224.xml"/><Relationship Id="rId19" Type="http://schemas.openxmlformats.org/officeDocument/2006/relationships/tags" Target="../tags/tag40.xml"/><Relationship Id="rId224" Type="http://schemas.openxmlformats.org/officeDocument/2006/relationships/tags" Target="../tags/tag245.xml"/><Relationship Id="rId245" Type="http://schemas.openxmlformats.org/officeDocument/2006/relationships/tags" Target="../tags/tag266.xml"/><Relationship Id="rId266" Type="http://schemas.openxmlformats.org/officeDocument/2006/relationships/tags" Target="../tags/tag287.xml"/><Relationship Id="rId287" Type="http://schemas.openxmlformats.org/officeDocument/2006/relationships/tags" Target="../tags/tag308.xml"/><Relationship Id="rId30" Type="http://schemas.openxmlformats.org/officeDocument/2006/relationships/tags" Target="../tags/tag51.xml"/><Relationship Id="rId105" Type="http://schemas.openxmlformats.org/officeDocument/2006/relationships/tags" Target="../tags/tag126.xml"/><Relationship Id="rId126" Type="http://schemas.openxmlformats.org/officeDocument/2006/relationships/tags" Target="../tags/tag147.xml"/><Relationship Id="rId147" Type="http://schemas.openxmlformats.org/officeDocument/2006/relationships/tags" Target="../tags/tag168.xml"/><Relationship Id="rId168" Type="http://schemas.openxmlformats.org/officeDocument/2006/relationships/tags" Target="../tags/tag189.xml"/><Relationship Id="rId312" Type="http://schemas.openxmlformats.org/officeDocument/2006/relationships/tags" Target="../tags/tag333.xml"/><Relationship Id="rId333" Type="http://schemas.openxmlformats.org/officeDocument/2006/relationships/tags" Target="../tags/tag354.xml"/><Relationship Id="rId51" Type="http://schemas.openxmlformats.org/officeDocument/2006/relationships/tags" Target="../tags/tag72.xml"/><Relationship Id="rId72" Type="http://schemas.openxmlformats.org/officeDocument/2006/relationships/tags" Target="../tags/tag93.xml"/><Relationship Id="rId93" Type="http://schemas.openxmlformats.org/officeDocument/2006/relationships/tags" Target="../tags/tag114.xml"/><Relationship Id="rId189" Type="http://schemas.openxmlformats.org/officeDocument/2006/relationships/tags" Target="../tags/tag210.xml"/><Relationship Id="rId3" Type="http://schemas.openxmlformats.org/officeDocument/2006/relationships/tags" Target="../tags/tag24.xml"/><Relationship Id="rId214" Type="http://schemas.openxmlformats.org/officeDocument/2006/relationships/tags" Target="../tags/tag235.xml"/><Relationship Id="rId235" Type="http://schemas.openxmlformats.org/officeDocument/2006/relationships/tags" Target="../tags/tag256.xml"/><Relationship Id="rId256" Type="http://schemas.openxmlformats.org/officeDocument/2006/relationships/tags" Target="../tags/tag277.xml"/><Relationship Id="rId277" Type="http://schemas.openxmlformats.org/officeDocument/2006/relationships/tags" Target="../tags/tag298.xml"/><Relationship Id="rId298" Type="http://schemas.openxmlformats.org/officeDocument/2006/relationships/tags" Target="../tags/tag3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9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" name="ВТБ (сжат).021-min.jpeg" descr="ВТБ (сжат).021-min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24384000" cy="13716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38" name="Изображение" descr="Изображе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7619" y="1591963"/>
            <a:ext cx="2957358" cy="1047499"/>
          </a:xfrm>
          <a:prstGeom prst="rect">
            <a:avLst/>
          </a:prstGeom>
          <a:ln w="12700">
            <a:miter lim="400000"/>
          </a:ln>
        </p:spPr>
      </p:pic>
      <p:sp>
        <p:nvSpPr>
          <p:cNvPr id="139" name="TextBox 3"/>
          <p:cNvSpPr txBox="1"/>
          <p:nvPr/>
        </p:nvSpPr>
        <p:spPr>
          <a:xfrm>
            <a:off x="1391216" y="9608055"/>
            <a:ext cx="18441103" cy="27699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b">
            <a:spAutoFit/>
          </a:bodyPr>
          <a:lstStyle>
            <a:lvl1pPr algn="l" defTabSz="1651000">
              <a:lnSpc>
                <a:spcPct val="90000"/>
              </a:lnSpc>
              <a:defRPr sz="10000" cap="all">
                <a:solidFill>
                  <a:srgbClr val="002476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latin typeface="VTB Group Demi Bold" panose="020B0703050504020204" pitchFamily="34" charset="-52"/>
              </a:rPr>
              <a:t>Стажировка </a:t>
            </a:r>
            <a:r>
              <a:rPr lang="ru-RU" dirty="0" err="1" smtClean="0">
                <a:latin typeface="VTB Group Demi Bold" panose="020B0703050504020204" pitchFamily="34" charset="-52"/>
              </a:rPr>
              <a:t>втб</a:t>
            </a:r>
            <a:r>
              <a:rPr lang="ru-RU" dirty="0" smtClean="0">
                <a:latin typeface="VTB Group Demi Bold" panose="020B0703050504020204" pitchFamily="34" charset="-52"/>
              </a:rPr>
              <a:t> </a:t>
            </a:r>
            <a:r>
              <a:rPr lang="en-US" dirty="0" smtClean="0">
                <a:latin typeface="VTB Group Demi Bold" panose="020B0703050504020204" pitchFamily="34" charset="-52"/>
              </a:rPr>
              <a:t> </a:t>
            </a:r>
            <a:r>
              <a:rPr lang="ru-RU" dirty="0" smtClean="0">
                <a:latin typeface="VTB Group Demi Bold" panose="020B0703050504020204" pitchFamily="34" charset="-52"/>
              </a:rPr>
              <a:t>Юниор </a:t>
            </a:r>
          </a:p>
          <a:p>
            <a:r>
              <a:rPr lang="ru-RU" dirty="0" smtClean="0">
                <a:latin typeface="VTB Group Demi Bold" panose="020B0703050504020204" pitchFamily="34" charset="-52"/>
              </a:rPr>
              <a:t>в сети банка</a:t>
            </a:r>
            <a:endParaRPr dirty="0">
              <a:latin typeface="VTB Group Demi Bold" panose="020B0703050504020204" pitchFamily="34" charset="-52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виркл"/>
          <p:cNvSpPr/>
          <p:nvPr/>
        </p:nvSpPr>
        <p:spPr>
          <a:xfrm>
            <a:off x="1577164" y="2525281"/>
            <a:ext cx="20895974" cy="10202927"/>
          </a:xfrm>
          <a:prstGeom prst="roundRect">
            <a:avLst>
              <a:gd name="adj" fmla="val 2000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TB Group Book" panose="020B0503040504020204" pitchFamily="34" charset="-52"/>
              <a:ea typeface="+mn-ea"/>
              <a:cs typeface="+mn-cs"/>
              <a:sym typeface="Helvetica Neue Medium"/>
            </a:endParaRPr>
          </a:p>
        </p:txBody>
      </p:sp>
      <p:sp>
        <p:nvSpPr>
          <p:cNvPr id="55" name="Программы стажировок ВТБ доступны для всех, независимо от опыта работы"/>
          <p:cNvSpPr txBox="1"/>
          <p:nvPr/>
        </p:nvSpPr>
        <p:spPr>
          <a:xfrm>
            <a:off x="2106592" y="8901751"/>
            <a:ext cx="21783167" cy="1118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marL="0" marR="0" lvl="0" indent="0" algn="l" defTabSz="1651000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6000" b="1" i="0" u="none" strike="noStrike" kern="0" cap="all" spc="0" normalizeH="0" baseline="0" noProof="0" dirty="0">
              <a:ln>
                <a:noFill/>
              </a:ln>
              <a:solidFill>
                <a:srgbClr val="053674"/>
              </a:solidFill>
              <a:effectLst/>
              <a:uLnTx/>
              <a:uFillTx/>
              <a:latin typeface="VTB Group Book" panose="020B0503040504020204" pitchFamily="34" charset="-52"/>
              <a:ea typeface="Arial"/>
              <a:cs typeface="Arial"/>
              <a:sym typeface="Arial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5" t="3828" r="1248" b="48856"/>
          <a:stretch/>
        </p:blipFill>
        <p:spPr>
          <a:xfrm>
            <a:off x="7470564" y="4638750"/>
            <a:ext cx="12175135" cy="1926640"/>
          </a:xfrm>
          <a:prstGeom prst="rect">
            <a:avLst/>
          </a:prstGeom>
          <a:ln>
            <a:solidFill>
              <a:srgbClr val="333333"/>
            </a:solidFill>
          </a:ln>
        </p:spPr>
      </p:pic>
      <p:sp>
        <p:nvSpPr>
          <p:cNvPr id="39" name="TextBox 87"/>
          <p:cNvSpPr>
            <a:spLocks noChangeArrowheads="1"/>
          </p:cNvSpPr>
          <p:nvPr/>
        </p:nvSpPr>
        <p:spPr bwMode="auto">
          <a:xfrm>
            <a:off x="2761322" y="6377335"/>
            <a:ext cx="3019245" cy="2096565"/>
          </a:xfrm>
          <a:prstGeom prst="roundRect">
            <a:avLst>
              <a:gd name="adj" fmla="val 0"/>
            </a:avLst>
          </a:prstGeom>
          <a:solidFill>
            <a:srgbClr val="0A2896"/>
          </a:solidFill>
          <a:ln w="9525">
            <a:noFill/>
            <a:round/>
            <a:headEnd/>
            <a:tailEnd/>
          </a:ln>
        </p:spPr>
        <p:txBody>
          <a:bodyPr lIns="191995" tIns="60958" rIns="191995" bIns="60958" anchor="t"/>
          <a:lstStyle/>
          <a:p>
            <a:pPr marL="3556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TB Group Book" panose="020B0503040504020204" pitchFamily="34" charset="-52"/>
              <a:ea typeface="VTB Group Cond Light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2" name="TextBox 3"/>
          <p:cNvSpPr txBox="1"/>
          <p:nvPr/>
        </p:nvSpPr>
        <p:spPr>
          <a:xfrm>
            <a:off x="1577165" y="1034909"/>
            <a:ext cx="21229672" cy="10563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algn="l" defTabSz="1651000" rtl="0" eaLnBrk="1" fontAlgn="auto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lang="ru-RU" sz="6600" b="1" i="0" u="none" strike="noStrike" kern="0" cap="all" spc="0" normalizeH="0" baseline="0" noProof="0" dirty="0">
                <a:ln>
                  <a:noFill/>
                </a:ln>
                <a:solidFill>
                  <a:srgbClr val="053674"/>
                </a:solidFill>
                <a:effectLst/>
                <a:uLnTx/>
                <a:uFillTx/>
                <a:latin typeface="VTB Group Demi Bold" panose="020B0703050504020204" pitchFamily="34" charset="-52"/>
                <a:ea typeface="Arial"/>
                <a:cs typeface="Arial"/>
                <a:sym typeface="Arial"/>
              </a:rPr>
              <a:t>обучение </a:t>
            </a:r>
            <a:r>
              <a:rPr kumimoji="0" lang="ru-RU" sz="6600" b="1" i="0" u="none" strike="noStrike" kern="0" cap="all" spc="0" normalizeH="0" baseline="0" noProof="0" dirty="0" err="1">
                <a:ln>
                  <a:noFill/>
                </a:ln>
                <a:solidFill>
                  <a:srgbClr val="053674"/>
                </a:solidFill>
                <a:effectLst/>
                <a:uLnTx/>
                <a:uFillTx/>
                <a:latin typeface="VTB Group Demi Bold" panose="020B0703050504020204" pitchFamily="34" charset="-52"/>
                <a:ea typeface="Arial"/>
                <a:cs typeface="Arial"/>
                <a:sym typeface="Arial"/>
              </a:rPr>
              <a:t>втб</a:t>
            </a:r>
            <a:r>
              <a:rPr kumimoji="0" lang="ru-RU" sz="6600" b="1" i="0" u="none" strike="noStrike" kern="0" cap="all" spc="0" normalizeH="0" baseline="0" noProof="0" dirty="0">
                <a:ln>
                  <a:noFill/>
                </a:ln>
                <a:solidFill>
                  <a:srgbClr val="053674"/>
                </a:solidFill>
                <a:effectLst/>
                <a:uLnTx/>
                <a:uFillTx/>
                <a:latin typeface="VTB Group Demi Bold" panose="020B0703050504020204" pitchFamily="34" charset="-52"/>
                <a:ea typeface="Arial"/>
                <a:cs typeface="Arial"/>
                <a:sym typeface="Arial"/>
              </a:rPr>
              <a:t> юниор в региональной сет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761322" y="6469560"/>
            <a:ext cx="3108315" cy="2062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Обучение в среднем и малом бизнесе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340775" y="6878024"/>
            <a:ext cx="341125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Базовое 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об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 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VTB Group Book" panose="020B0503040504020204" pitchFamily="34" charset="-52"/>
              <a:ea typeface="+mn-ea"/>
              <a:cs typeface="Arial" panose="020B0604020202020204" pitchFamily="34" charset="0"/>
              <a:sym typeface="Helvetica Neue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Самостоятельное изучение учебных материалов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1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-4 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неделя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Длительность – 1 месяц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558131" y="6881130"/>
            <a:ext cx="368944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Продвинутое обучение </a:t>
            </a:r>
            <a:endParaRPr kumimoji="0" lang="ru-RU" sz="2800" b="1" i="0" u="none" strike="noStrike" kern="120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VTB Group Book" panose="020B0503040504020204" pitchFamily="34" charset="-52"/>
              <a:ea typeface="+mn-ea"/>
              <a:cs typeface="Arial" panose="020B0604020202020204" pitchFamily="34" charset="0"/>
              <a:sym typeface="Helvetica Neu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VTB Group Book" panose="020B0503040504020204" pitchFamily="34" charset="-52"/>
              <a:ea typeface="+mn-ea"/>
              <a:cs typeface="Arial" panose="020B0604020202020204" pitchFamily="34" charset="0"/>
              <a:sym typeface="Helvetica Neue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Обучение для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повышения экспертизы: программа «Консультативные продажи» для КМ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VTB Group Book" panose="020B0503040504020204" pitchFamily="34" charset="-52"/>
              <a:ea typeface="+mn-ea"/>
              <a:cs typeface="Arial" panose="020B0604020202020204" pitchFamily="34" charset="0"/>
              <a:sym typeface="Helvetica Neue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С 3 месяца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Длительность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1 месяц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VTB Group Book" panose="020B0503040504020204" pitchFamily="34" charset="-52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0672388" y="6878024"/>
            <a:ext cx="3409929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Работа с наставнико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VTB Group Book" panose="020B0503040504020204" pitchFamily="34" charset="-52"/>
              <a:ea typeface="+mn-ea"/>
              <a:cs typeface="Arial" panose="020B0604020202020204" pitchFamily="34" charset="0"/>
              <a:sym typeface="Helvetica Neue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Со 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2 месяца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работы в соответствии с рабочей тетрадью по стажировке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VTB Group Book" panose="020B0503040504020204" pitchFamily="34" charset="-52"/>
              <a:ea typeface="+mn-ea"/>
              <a:cs typeface="Arial" panose="020B0604020202020204" pitchFamily="34" charset="0"/>
              <a:sym typeface="Helvetica Neue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Длительность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– до 14 рабочих дней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VTB Group Book" panose="020B0503040504020204" pitchFamily="34" charset="-52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6664120" y="6878024"/>
            <a:ext cx="368944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Самостоятельная работа</a:t>
            </a:r>
            <a:r>
              <a:rPr kumimoji="0" lang="ru-RU" sz="2800" b="1" i="0" u="none" strike="noStrike" kern="1200" cap="none" spc="0" normalizeH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VTB Group Book" panose="020B0503040504020204" pitchFamily="34" charset="-52"/>
                <a:ea typeface="+mn-ea"/>
                <a:cs typeface="Arial" panose="020B0604020202020204" pitchFamily="34" charset="0"/>
                <a:sym typeface="Helvetica Neue"/>
              </a:rPr>
              <a:t> на стажировке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VTB Group Book" panose="020B0503040504020204" pitchFamily="34" charset="-52"/>
              <a:ea typeface="+mn-ea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069731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" name="ВТБ (сжат).036-min.jpeg" descr="ВТБ (сжат).036-min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24384000" cy="137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451" name="Линия"/>
          <p:cNvSpPr/>
          <p:nvPr/>
        </p:nvSpPr>
        <p:spPr>
          <a:xfrm flipH="1">
            <a:off x="15674166" y="2478654"/>
            <a:ext cx="0" cy="11800440"/>
          </a:xfrm>
          <a:prstGeom prst="line">
            <a:avLst/>
          </a:prstGeom>
          <a:ln w="63500">
            <a:solidFill>
              <a:srgbClr val="1A9FD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453" name="Кружок"/>
          <p:cNvSpPr/>
          <p:nvPr/>
        </p:nvSpPr>
        <p:spPr>
          <a:xfrm>
            <a:off x="14467668" y="1433142"/>
            <a:ext cx="2413001" cy="2413001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454" name="TextBox 25"/>
          <p:cNvSpPr txBox="1"/>
          <p:nvPr/>
        </p:nvSpPr>
        <p:spPr>
          <a:xfrm>
            <a:off x="15021046" y="2363894"/>
            <a:ext cx="1306245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defTabSz="1651000">
              <a:lnSpc>
                <a:spcPct val="80000"/>
              </a:lnSpc>
              <a:spcBef>
                <a:spcPts val="4000"/>
              </a:spcBef>
              <a:defRPr sz="6000" spc="-59">
                <a:solidFill>
                  <a:srgbClr val="00A1E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01</a:t>
            </a:r>
          </a:p>
        </p:txBody>
      </p:sp>
      <p:sp>
        <p:nvSpPr>
          <p:cNvPr id="455" name="Кружок"/>
          <p:cNvSpPr/>
          <p:nvPr/>
        </p:nvSpPr>
        <p:spPr>
          <a:xfrm>
            <a:off x="14467668" y="5651501"/>
            <a:ext cx="2413001" cy="2413001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456" name="TextBox 25"/>
          <p:cNvSpPr txBox="1"/>
          <p:nvPr/>
        </p:nvSpPr>
        <p:spPr>
          <a:xfrm>
            <a:off x="15021046" y="6601936"/>
            <a:ext cx="1306245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defTabSz="1651000">
              <a:lnSpc>
                <a:spcPct val="80000"/>
              </a:lnSpc>
              <a:spcBef>
                <a:spcPts val="4000"/>
              </a:spcBef>
              <a:defRPr sz="6000" spc="-59">
                <a:solidFill>
                  <a:srgbClr val="00A1E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02</a:t>
            </a:r>
          </a:p>
        </p:txBody>
      </p:sp>
      <p:sp>
        <p:nvSpPr>
          <p:cNvPr id="457" name="Кружок"/>
          <p:cNvSpPr/>
          <p:nvPr/>
        </p:nvSpPr>
        <p:spPr>
          <a:xfrm>
            <a:off x="14467668" y="9869857"/>
            <a:ext cx="2413001" cy="2413001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458" name="TextBox 25"/>
          <p:cNvSpPr txBox="1"/>
          <p:nvPr/>
        </p:nvSpPr>
        <p:spPr>
          <a:xfrm>
            <a:off x="15021046" y="10820295"/>
            <a:ext cx="1306245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defTabSz="1651000">
              <a:lnSpc>
                <a:spcPct val="80000"/>
              </a:lnSpc>
              <a:spcBef>
                <a:spcPts val="4000"/>
              </a:spcBef>
              <a:defRPr sz="6000" spc="-59">
                <a:solidFill>
                  <a:srgbClr val="00A1E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03</a:t>
            </a:r>
          </a:p>
        </p:txBody>
      </p:sp>
      <p:sp>
        <p:nvSpPr>
          <p:cNvPr id="459" name="TextBox 25"/>
          <p:cNvSpPr txBox="1"/>
          <p:nvPr/>
        </p:nvSpPr>
        <p:spPr>
          <a:xfrm>
            <a:off x="17557337" y="1702492"/>
            <a:ext cx="5080001" cy="8371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/>
          <a:p>
            <a:pPr algn="l" defTabSz="1650650">
              <a:lnSpc>
                <a:spcPct val="80000"/>
              </a:lnSpc>
              <a:spcBef>
                <a:spcPts val="4000"/>
              </a:spcBef>
              <a:defRPr sz="3400" spc="-34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Book" panose="020B0503040504020204" pitchFamily="34" charset="-52"/>
              </a:rPr>
              <a:t>Приём</a:t>
            </a:r>
            <a:r>
              <a:rPr dirty="0">
                <a:latin typeface="VTB Group Book" panose="020B0503040504020204" pitchFamily="34" charset="-52"/>
              </a:rPr>
              <a:t> </a:t>
            </a:r>
            <a:br>
              <a:rPr dirty="0">
                <a:latin typeface="VTB Group Book" panose="020B0503040504020204" pitchFamily="34" charset="-52"/>
              </a:rPr>
            </a:br>
            <a:r>
              <a:rPr dirty="0" err="1">
                <a:latin typeface="VTB Group Book" panose="020B0503040504020204" pitchFamily="34" charset="-52"/>
              </a:rPr>
              <a:t>заявок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460" name="Отправьте своё резюме на сайт ВТБ"/>
          <p:cNvSpPr txBox="1"/>
          <p:nvPr/>
        </p:nvSpPr>
        <p:spPr>
          <a:xfrm>
            <a:off x="17557335" y="2768747"/>
            <a:ext cx="4475396" cy="9541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l" defTabSz="1651000">
              <a:spcBef>
                <a:spcPts val="1000"/>
              </a:spcBef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latin typeface="VTB Group Book" panose="020B0503040504020204" pitchFamily="34" charset="-52"/>
              </a:rPr>
              <a:t>Оставьте</a:t>
            </a:r>
            <a:r>
              <a:rPr dirty="0" smtClean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своё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резюме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на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 smtClean="0">
                <a:latin typeface="VTB Group Book" panose="020B0503040504020204" pitchFamily="34" charset="-52"/>
              </a:rPr>
              <a:t>сайт</a:t>
            </a:r>
            <a:r>
              <a:rPr lang="ru-RU" dirty="0" smtClean="0">
                <a:latin typeface="VTB Group Book" panose="020B0503040504020204" pitchFamily="34" charset="-52"/>
              </a:rPr>
              <a:t>е</a:t>
            </a:r>
            <a:r>
              <a:rPr dirty="0" smtClean="0">
                <a:latin typeface="VTB Group Book" panose="020B0503040504020204" pitchFamily="34" charset="-52"/>
              </a:rPr>
              <a:t> </a:t>
            </a:r>
            <a:r>
              <a:rPr dirty="0">
                <a:latin typeface="VTB Group Book" panose="020B0503040504020204" pitchFamily="34" charset="-52"/>
              </a:rPr>
              <a:t>ВТБ</a:t>
            </a:r>
          </a:p>
        </p:txBody>
      </p:sp>
      <p:sp>
        <p:nvSpPr>
          <p:cNvPr id="461" name="TextBox 25"/>
          <p:cNvSpPr txBox="1"/>
          <p:nvPr/>
        </p:nvSpPr>
        <p:spPr>
          <a:xfrm>
            <a:off x="17557335" y="6388452"/>
            <a:ext cx="4826380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3400" spc="-34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err="1" smtClean="0">
                <a:latin typeface="VTB Group Book" panose="020B0503040504020204" pitchFamily="34" charset="-52"/>
              </a:rPr>
              <a:t>Видеоинтервью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462" name="Устно ответьте на вопросы о себе"/>
          <p:cNvSpPr txBox="1"/>
          <p:nvPr/>
        </p:nvSpPr>
        <p:spPr>
          <a:xfrm>
            <a:off x="17557334" y="7044017"/>
            <a:ext cx="4241605" cy="1908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l" defTabSz="1651000">
              <a:spcBef>
                <a:spcPts val="1000"/>
              </a:spcBef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latin typeface="VTB Group Book" panose="020B0503040504020204" pitchFamily="34" charset="-52"/>
              </a:rPr>
              <a:t>О</a:t>
            </a:r>
            <a:r>
              <a:rPr dirty="0" err="1" smtClean="0">
                <a:latin typeface="VTB Group Book" panose="020B0503040504020204" pitchFamily="34" charset="-52"/>
              </a:rPr>
              <a:t>тветьте</a:t>
            </a:r>
            <a:r>
              <a:rPr dirty="0" smtClean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на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вопросы</a:t>
            </a:r>
            <a:r>
              <a:rPr dirty="0">
                <a:latin typeface="VTB Group Book" panose="020B0503040504020204" pitchFamily="34" charset="-52"/>
              </a:rPr>
              <a:t> о </a:t>
            </a:r>
            <a:r>
              <a:rPr dirty="0" err="1" smtClean="0">
                <a:latin typeface="VTB Group Book" panose="020B0503040504020204" pitchFamily="34" charset="-52"/>
              </a:rPr>
              <a:t>себе</a:t>
            </a:r>
            <a:r>
              <a:rPr lang="ru-RU" dirty="0" smtClean="0">
                <a:latin typeface="VTB Group Book" panose="020B0503040504020204" pitchFamily="34" charset="-52"/>
              </a:rPr>
              <a:t> на специализированной платформе</a:t>
            </a:r>
            <a:r>
              <a:rPr dirty="0" smtClean="0">
                <a:latin typeface="VTB Group Book" panose="020B0503040504020204" pitchFamily="34" charset="-52"/>
              </a:rPr>
              <a:t> 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463" name="TextBox 25"/>
          <p:cNvSpPr txBox="1"/>
          <p:nvPr/>
        </p:nvSpPr>
        <p:spPr>
          <a:xfrm>
            <a:off x="17557337" y="10139205"/>
            <a:ext cx="5080001" cy="8371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/>
          <a:p>
            <a:pPr algn="l" defTabSz="1650650">
              <a:lnSpc>
                <a:spcPct val="80000"/>
              </a:lnSpc>
              <a:spcBef>
                <a:spcPts val="4000"/>
              </a:spcBef>
              <a:defRPr sz="3400" spc="-34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Book" panose="020B0503040504020204" pitchFamily="34" charset="-52"/>
              </a:rPr>
              <a:t>Онлайн</a:t>
            </a:r>
            <a:r>
              <a:rPr dirty="0">
                <a:latin typeface="VTB Group Book" panose="020B0503040504020204" pitchFamily="34" charset="-52"/>
              </a:rPr>
              <a:t> </a:t>
            </a:r>
            <a:br>
              <a:rPr dirty="0">
                <a:latin typeface="VTB Group Book" panose="020B0503040504020204" pitchFamily="34" charset="-52"/>
              </a:rPr>
            </a:br>
            <a:r>
              <a:rPr dirty="0" err="1" smtClean="0">
                <a:latin typeface="VTB Group Book" panose="020B0503040504020204" pitchFamily="34" charset="-52"/>
              </a:rPr>
              <a:t>тестирование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464" name="Анализируйте вербальную и цифровую информацию"/>
          <p:cNvSpPr txBox="1"/>
          <p:nvPr/>
        </p:nvSpPr>
        <p:spPr>
          <a:xfrm>
            <a:off x="17557335" y="11205463"/>
            <a:ext cx="4964308" cy="14311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l" defTabSz="1651000">
              <a:spcBef>
                <a:spcPts val="1000"/>
              </a:spcBef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latin typeface="VTB Group Book" panose="020B0503040504020204" pitchFamily="34" charset="-52"/>
              </a:rPr>
              <a:t>Пройдите тесты на анализ </a:t>
            </a:r>
            <a:r>
              <a:rPr dirty="0" err="1" smtClean="0">
                <a:latin typeface="VTB Group Book" panose="020B0503040504020204" pitchFamily="34" charset="-52"/>
              </a:rPr>
              <a:t>вербальн</a:t>
            </a:r>
            <a:r>
              <a:rPr lang="ru-RU" dirty="0" smtClean="0">
                <a:latin typeface="VTB Group Book" panose="020B0503040504020204" pitchFamily="34" charset="-52"/>
              </a:rPr>
              <a:t>ой</a:t>
            </a:r>
            <a:r>
              <a:rPr dirty="0" smtClean="0">
                <a:latin typeface="VTB Group Book" panose="020B0503040504020204" pitchFamily="34" charset="-52"/>
              </a:rPr>
              <a:t> </a:t>
            </a:r>
            <a:r>
              <a:rPr dirty="0">
                <a:latin typeface="VTB Group Book" panose="020B0503040504020204" pitchFamily="34" charset="-52"/>
              </a:rPr>
              <a:t>и </a:t>
            </a:r>
            <a:r>
              <a:rPr lang="ru-RU" dirty="0" smtClean="0">
                <a:latin typeface="VTB Group Book" panose="020B0503040504020204" pitchFamily="34" charset="-52"/>
              </a:rPr>
              <a:t>числовой </a:t>
            </a:r>
            <a:r>
              <a:rPr dirty="0" err="1" smtClean="0">
                <a:latin typeface="VTB Group Book" panose="020B0503040504020204" pitchFamily="34" charset="-52"/>
              </a:rPr>
              <a:t>информаци</a:t>
            </a:r>
            <a:r>
              <a:rPr lang="ru-RU" dirty="0" smtClean="0">
                <a:latin typeface="VTB Group Book" panose="020B0503040504020204" pitchFamily="34" charset="-52"/>
              </a:rPr>
              <a:t>и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465" name="TextBox 3"/>
          <p:cNvSpPr txBox="1"/>
          <p:nvPr/>
        </p:nvSpPr>
        <p:spPr>
          <a:xfrm>
            <a:off x="865961" y="1249628"/>
            <a:ext cx="12890500" cy="10563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l" defTabSz="1650650">
              <a:lnSpc>
                <a:spcPct val="110000"/>
              </a:lnSpc>
              <a:defRPr sz="7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6600" cap="all" dirty="0" err="1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Пройдите</a:t>
            </a:r>
            <a:r>
              <a:rPr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 </a:t>
            </a:r>
            <a:r>
              <a:rPr lang="ru-RU"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этапы отбора</a:t>
            </a:r>
            <a:endParaRPr sz="6600" cap="all" dirty="0">
              <a:solidFill>
                <a:srgbClr val="053674"/>
              </a:solidFill>
              <a:latin typeface="VTB Group Demi Bold" panose="020B0703050504020204" pitchFamily="34" charset="-52"/>
              <a:ea typeface="Arial"/>
              <a:cs typeface="Arial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7" name="ВТБ (сжат).036-min.jpeg" descr="ВТБ (сжат).036-min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24384000" cy="137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468" name="Линия"/>
          <p:cNvSpPr/>
          <p:nvPr/>
        </p:nvSpPr>
        <p:spPr>
          <a:xfrm flipH="1">
            <a:off x="15674166" y="-120770"/>
            <a:ext cx="0" cy="10752626"/>
          </a:xfrm>
          <a:prstGeom prst="line">
            <a:avLst/>
          </a:prstGeom>
          <a:ln w="63500">
            <a:solidFill>
              <a:srgbClr val="1A9FD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ru-RU" dirty="0" smtClean="0">
                <a:latin typeface="VTB Group Book" panose="020B0503040504020204" pitchFamily="34" charset="-52"/>
              </a:rPr>
              <a:t>0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470" name="Кружок"/>
          <p:cNvSpPr/>
          <p:nvPr/>
        </p:nvSpPr>
        <p:spPr>
          <a:xfrm>
            <a:off x="14467668" y="2672910"/>
            <a:ext cx="2413001" cy="2413001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471" name="TextBox 25"/>
          <p:cNvSpPr txBox="1"/>
          <p:nvPr/>
        </p:nvSpPr>
        <p:spPr>
          <a:xfrm>
            <a:off x="15021046" y="3603662"/>
            <a:ext cx="1306245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defTabSz="1651000">
              <a:lnSpc>
                <a:spcPct val="80000"/>
              </a:lnSpc>
              <a:spcBef>
                <a:spcPts val="4000"/>
              </a:spcBef>
              <a:defRPr sz="6000" spc="-59">
                <a:solidFill>
                  <a:srgbClr val="00A1E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04</a:t>
            </a:r>
          </a:p>
        </p:txBody>
      </p:sp>
      <p:sp>
        <p:nvSpPr>
          <p:cNvPr id="472" name="Кружок"/>
          <p:cNvSpPr/>
          <p:nvPr/>
        </p:nvSpPr>
        <p:spPr>
          <a:xfrm>
            <a:off x="14467668" y="6891269"/>
            <a:ext cx="2413001" cy="2413001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473" name="Сквиркл"/>
          <p:cNvSpPr/>
          <p:nvPr/>
        </p:nvSpPr>
        <p:spPr>
          <a:xfrm>
            <a:off x="14467667" y="10286642"/>
            <a:ext cx="8936971" cy="2413001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474" name="TextBox 25"/>
          <p:cNvSpPr txBox="1"/>
          <p:nvPr/>
        </p:nvSpPr>
        <p:spPr>
          <a:xfrm>
            <a:off x="15021046" y="7841704"/>
            <a:ext cx="1306245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defTabSz="1651000">
              <a:lnSpc>
                <a:spcPct val="80000"/>
              </a:lnSpc>
              <a:spcBef>
                <a:spcPts val="4000"/>
              </a:spcBef>
              <a:defRPr sz="6000" spc="-59">
                <a:solidFill>
                  <a:srgbClr val="00A1E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05</a:t>
            </a:r>
          </a:p>
        </p:txBody>
      </p:sp>
      <p:sp>
        <p:nvSpPr>
          <p:cNvPr id="475" name="Кружок"/>
          <p:cNvSpPr/>
          <p:nvPr/>
        </p:nvSpPr>
        <p:spPr>
          <a:xfrm>
            <a:off x="14467668" y="10303895"/>
            <a:ext cx="2413001" cy="2413001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  <a:effectLst>
            <a:outerShdw blurRad="698500" dist="315960" rotWithShape="0">
              <a:srgbClr val="000000">
                <a:alpha val="10926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476" name="TextBox 25"/>
          <p:cNvSpPr txBox="1"/>
          <p:nvPr/>
        </p:nvSpPr>
        <p:spPr>
          <a:xfrm>
            <a:off x="17557337" y="3359299"/>
            <a:ext cx="5080001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/>
          <a:p>
            <a:pPr algn="l" defTabSz="1650650">
              <a:lnSpc>
                <a:spcPct val="80000"/>
              </a:lnSpc>
              <a:spcBef>
                <a:spcPts val="4000"/>
              </a:spcBef>
              <a:defRPr sz="3400" spc="-34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smtClean="0">
                <a:latin typeface="VTB Group Book" panose="020B0503040504020204" pitchFamily="34" charset="-52"/>
              </a:rPr>
              <a:t>Телефонное интервью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477" name="Пройдите групповое тестирование или игру"/>
          <p:cNvSpPr txBox="1"/>
          <p:nvPr/>
        </p:nvSpPr>
        <p:spPr>
          <a:xfrm>
            <a:off x="17557335" y="4002165"/>
            <a:ext cx="4475396" cy="14311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l" defTabSz="1651000">
              <a:spcBef>
                <a:spcPts val="1000"/>
              </a:spcBef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latin typeface="VTB Group Book" panose="020B0503040504020204" pitchFamily="34" charset="-52"/>
              </a:rPr>
              <a:t>Ответьте на вопросы рекрутера в рамках телефонного интервью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480" name="TextBox 25"/>
          <p:cNvSpPr txBox="1"/>
          <p:nvPr/>
        </p:nvSpPr>
        <p:spPr>
          <a:xfrm>
            <a:off x="17557337" y="6951393"/>
            <a:ext cx="6498417" cy="8371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3400" spc="-34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1650650">
              <a:defRPr sz="3400" spc="-34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>
                <a:latin typeface="VTB Group Book" panose="020B0503040504020204" pitchFamily="34" charset="-52"/>
              </a:rPr>
              <a:t>Центр </a:t>
            </a:r>
            <a:r>
              <a:rPr lang="ru-RU" dirty="0" smtClean="0">
                <a:latin typeface="VTB Group Book" panose="020B0503040504020204" pitchFamily="34" charset="-52"/>
              </a:rPr>
              <a:t>оценки </a:t>
            </a:r>
            <a:r>
              <a:rPr lang="ru-RU" dirty="0">
                <a:latin typeface="VTB Group Book" panose="020B0503040504020204" pitchFamily="34" charset="-52"/>
              </a:rPr>
              <a:t>или интервью с нанимающим менеджером</a:t>
            </a:r>
          </a:p>
        </p:txBody>
      </p:sp>
      <p:sp>
        <p:nvSpPr>
          <p:cNvPr id="481" name="Мы рады видеть вас  в наших рядах"/>
          <p:cNvSpPr txBox="1"/>
          <p:nvPr/>
        </p:nvSpPr>
        <p:spPr>
          <a:xfrm>
            <a:off x="17557335" y="8004948"/>
            <a:ext cx="4964308" cy="14311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ru-RU" b="0" spc="-29" dirty="0">
                <a:solidFill>
                  <a:srgbClr val="343434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Примите участие в </a:t>
            </a:r>
            <a:r>
              <a:rPr lang="ru-RU" b="0" spc="-29" dirty="0" smtClean="0">
                <a:solidFill>
                  <a:srgbClr val="343434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центре оценки и</a:t>
            </a:r>
            <a:r>
              <a:rPr lang="en-US" b="0" spc="-29" dirty="0" smtClean="0">
                <a:solidFill>
                  <a:srgbClr val="343434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/</a:t>
            </a:r>
            <a:r>
              <a:rPr lang="ru-RU" b="0" spc="-29" dirty="0" smtClean="0">
                <a:solidFill>
                  <a:srgbClr val="343434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или интервью с будущем руководителем</a:t>
            </a:r>
            <a:endParaRPr lang="ru-RU" b="0" spc="-29" dirty="0">
              <a:solidFill>
                <a:srgbClr val="343434"/>
              </a:solidFill>
              <a:latin typeface="VTB Group Book" panose="020B0503040504020204" pitchFamily="34" charset="-52"/>
              <a:ea typeface="Arial"/>
              <a:cs typeface="Arial"/>
              <a:sym typeface="Arial"/>
            </a:endParaRPr>
          </a:p>
        </p:txBody>
      </p:sp>
      <p:pic>
        <p:nvPicPr>
          <p:cNvPr id="482" name="Изображение" descr="Изображение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5059606" y="11099641"/>
            <a:ext cx="1229222" cy="787020"/>
          </a:xfrm>
          <a:prstGeom prst="rect">
            <a:avLst/>
          </a:prstGeom>
          <a:ln w="12700">
            <a:miter lim="400000"/>
          </a:ln>
        </p:spPr>
      </p:pic>
      <p:sp>
        <p:nvSpPr>
          <p:cNvPr id="483" name="TextBox 3"/>
          <p:cNvSpPr txBox="1"/>
          <p:nvPr/>
        </p:nvSpPr>
        <p:spPr>
          <a:xfrm>
            <a:off x="896025" y="1260372"/>
            <a:ext cx="13372066" cy="10563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l" defTabSz="1650650">
              <a:lnSpc>
                <a:spcPct val="110000"/>
              </a:lnSpc>
              <a:defRPr sz="7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6600" cap="all" dirty="0" err="1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Пройдите</a:t>
            </a:r>
            <a:r>
              <a:rPr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 </a:t>
            </a:r>
            <a:r>
              <a:rPr lang="ru-RU"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этапы отбора</a:t>
            </a:r>
            <a:endParaRPr sz="6600" cap="all" dirty="0">
              <a:solidFill>
                <a:srgbClr val="053674"/>
              </a:solidFill>
              <a:latin typeface="VTB Group Demi Bold" panose="020B0703050504020204" pitchFamily="34" charset="-52"/>
              <a:ea typeface="Arial"/>
              <a:cs typeface="Arial"/>
            </a:endParaRPr>
          </a:p>
        </p:txBody>
      </p:sp>
      <p:sp>
        <p:nvSpPr>
          <p:cNvPr id="16" name="TextBox 25"/>
          <p:cNvSpPr txBox="1"/>
          <p:nvPr/>
        </p:nvSpPr>
        <p:spPr>
          <a:xfrm>
            <a:off x="17533789" y="10600699"/>
            <a:ext cx="5080001" cy="42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3400" spc="-34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dirty="0" err="1" smtClean="0">
                <a:latin typeface="VTB Group Book" panose="020B0503040504020204" pitchFamily="34" charset="-52"/>
              </a:rPr>
              <a:t>Получите</a:t>
            </a:r>
            <a:r>
              <a:rPr dirty="0" smtClean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оффер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17" name="Мы рады видеть вас  в наших рядах"/>
          <p:cNvSpPr txBox="1"/>
          <p:nvPr/>
        </p:nvSpPr>
        <p:spPr>
          <a:xfrm>
            <a:off x="17557335" y="11279733"/>
            <a:ext cx="4964308" cy="9541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algn="l" defTabSz="1650650">
              <a:spcBef>
                <a:spcPts val="1000"/>
              </a:spcBef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Book" panose="020B0503040504020204" pitchFamily="34" charset="-52"/>
              </a:rPr>
              <a:t>Мы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рады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видеть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вас</a:t>
            </a:r>
            <a:r>
              <a:rPr dirty="0">
                <a:latin typeface="VTB Group Book" panose="020B0503040504020204" pitchFamily="34" charset="-52"/>
              </a:rPr>
              <a:t> </a:t>
            </a:r>
            <a:br>
              <a:rPr dirty="0">
                <a:latin typeface="VTB Group Book" panose="020B0503040504020204" pitchFamily="34" charset="-52"/>
              </a:rPr>
            </a:br>
            <a:r>
              <a:rPr dirty="0">
                <a:latin typeface="VTB Group Book" panose="020B0503040504020204" pitchFamily="34" charset="-52"/>
              </a:rPr>
              <a:t>в </a:t>
            </a:r>
            <a:r>
              <a:rPr dirty="0" err="1" smtClean="0">
                <a:latin typeface="VTB Group Book" panose="020B0503040504020204" pitchFamily="34" charset="-52"/>
              </a:rPr>
              <a:t>на</a:t>
            </a:r>
            <a:r>
              <a:rPr lang="ru-RU" dirty="0">
                <a:latin typeface="VTB Group Book" panose="020B0503040504020204" pitchFamily="34" charset="-52"/>
              </a:rPr>
              <a:t>ш</a:t>
            </a:r>
            <a:r>
              <a:rPr dirty="0" err="1" smtClean="0">
                <a:latin typeface="VTB Group Book" panose="020B0503040504020204" pitchFamily="34" charset="-52"/>
              </a:rPr>
              <a:t>их</a:t>
            </a:r>
            <a:r>
              <a:rPr dirty="0" smtClean="0">
                <a:latin typeface="VTB Group Book" panose="020B0503040504020204" pitchFamily="34" charset="-52"/>
              </a:rPr>
              <a:t> </a:t>
            </a:r>
            <a:r>
              <a:rPr dirty="0" err="1" smtClean="0">
                <a:latin typeface="VTB Group Book" panose="020B0503040504020204" pitchFamily="34" charset="-52"/>
              </a:rPr>
              <a:t>рядах</a:t>
            </a:r>
            <a:r>
              <a:rPr lang="ru-RU" dirty="0" smtClean="0">
                <a:latin typeface="VTB Group Book" panose="020B0503040504020204" pitchFamily="34" charset="-52"/>
              </a:rPr>
              <a:t>!</a:t>
            </a:r>
            <a:endParaRPr dirty="0">
              <a:latin typeface="VTB Group Book" panose="020B0503040504020204" pitchFamily="34" charset="-52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" name="ВТБ (сжат).037-min.jpeg" descr="ВТБ (сжат).037-min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"/>
            <a:ext cx="24384000" cy="137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486" name="Подготовьтесь…"/>
          <p:cNvSpPr txBox="1"/>
          <p:nvPr/>
        </p:nvSpPr>
        <p:spPr>
          <a:xfrm>
            <a:off x="1577166" y="4365011"/>
            <a:ext cx="10732103" cy="49859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/>
          <a:p>
            <a:pPr algn="l" defTabSz="1650650">
              <a:lnSpc>
                <a:spcPct val="120000"/>
              </a:lnSpc>
              <a:defRPr sz="9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Demi Bold" panose="020B0703050504020204" pitchFamily="34" charset="-52"/>
              </a:rPr>
              <a:t>Подготовьтесь</a:t>
            </a:r>
            <a:endParaRPr dirty="0">
              <a:latin typeface="VTB Group Demi Bold" panose="020B0703050504020204" pitchFamily="34" charset="-52"/>
            </a:endParaRPr>
          </a:p>
          <a:p>
            <a:pPr algn="l" defTabSz="1650650">
              <a:lnSpc>
                <a:spcPct val="120000"/>
              </a:lnSpc>
              <a:defRPr sz="9000" b="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>
                <a:latin typeface="VTB Group Demi Bold" panose="020B0703050504020204" pitchFamily="34" charset="-52"/>
              </a:rPr>
              <a:t>к </a:t>
            </a:r>
            <a:r>
              <a:rPr dirty="0" err="1">
                <a:latin typeface="VTB Group Demi Bold" panose="020B0703050504020204" pitchFamily="34" charset="-52"/>
              </a:rPr>
              <a:t>каждому</a:t>
            </a:r>
            <a:r>
              <a:rPr dirty="0">
                <a:latin typeface="VTB Group Demi Bold" panose="020B0703050504020204" pitchFamily="34" charset="-52"/>
              </a:rPr>
              <a:t> </a:t>
            </a:r>
            <a:r>
              <a:rPr dirty="0" err="1">
                <a:latin typeface="VTB Group Demi Bold" panose="020B0703050504020204" pitchFamily="34" charset="-52"/>
              </a:rPr>
              <a:t>этапу</a:t>
            </a:r>
            <a:r>
              <a:rPr dirty="0">
                <a:latin typeface="VTB Group Demi Bold" panose="020B0703050504020204" pitchFamily="34" charset="-52"/>
              </a:rPr>
              <a:t> </a:t>
            </a:r>
            <a:r>
              <a:rPr dirty="0" err="1">
                <a:latin typeface="VTB Group Demi Bold" panose="020B0703050504020204" pitchFamily="34" charset="-52"/>
              </a:rPr>
              <a:t>отбора</a:t>
            </a:r>
            <a:endParaRPr dirty="0">
              <a:latin typeface="VTB Group Demi Bold" panose="020B0703050504020204" pitchFamily="34" charset="-52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8" name="Составьте хорошее резюме  в 3 шага"/>
          <p:cNvSpPr txBox="1"/>
          <p:nvPr/>
        </p:nvSpPr>
        <p:spPr>
          <a:xfrm>
            <a:off x="1577166" y="1452827"/>
            <a:ext cx="21229670" cy="24724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1" tIns="50791" rIns="50791" bIns="50791">
            <a:spAutoFit/>
          </a:bodyPr>
          <a:lstStyle/>
          <a:p>
            <a:pPr algn="l" defTabSz="1650650">
              <a:lnSpc>
                <a:spcPct val="110000"/>
              </a:lnSpc>
              <a:defRPr sz="7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b="0" dirty="0" err="1">
                <a:latin typeface="VTB Group Demi Bold" panose="020B0703050504020204" pitchFamily="34" charset="-52"/>
              </a:rPr>
              <a:t>Составьте</a:t>
            </a:r>
            <a:r>
              <a:rPr b="0" dirty="0">
                <a:latin typeface="VTB Group Demi Bold" panose="020B0703050504020204" pitchFamily="34" charset="-52"/>
              </a:rPr>
              <a:t> </a:t>
            </a:r>
            <a:r>
              <a:rPr b="0" dirty="0" err="1">
                <a:latin typeface="VTB Group Demi Bold" panose="020B0703050504020204" pitchFamily="34" charset="-52"/>
              </a:rPr>
              <a:t>хорошее</a:t>
            </a:r>
            <a:r>
              <a:rPr b="0" dirty="0">
                <a:latin typeface="VTB Group Demi Bold" panose="020B0703050504020204" pitchFamily="34" charset="-52"/>
              </a:rPr>
              <a:t> </a:t>
            </a:r>
            <a:r>
              <a:rPr b="0" dirty="0" err="1">
                <a:latin typeface="VTB Group Demi Bold" panose="020B0703050504020204" pitchFamily="34" charset="-52"/>
              </a:rPr>
              <a:t>резюме</a:t>
            </a:r>
            <a:r>
              <a:rPr b="0" dirty="0">
                <a:latin typeface="VTB Group Demi Bold" panose="020B0703050504020204" pitchFamily="34" charset="-52"/>
              </a:rPr>
              <a:t> </a:t>
            </a:r>
            <a:br>
              <a:rPr b="0" dirty="0">
                <a:latin typeface="VTB Group Demi Bold" panose="020B0703050504020204" pitchFamily="34" charset="-52"/>
              </a:rPr>
            </a:br>
            <a:r>
              <a:rPr b="0" dirty="0">
                <a:latin typeface="VTB Group Demi Bold" panose="020B0703050504020204" pitchFamily="34" charset="-52"/>
              </a:rPr>
              <a:t>в 3 </a:t>
            </a:r>
            <a:r>
              <a:rPr b="0" dirty="0" err="1">
                <a:latin typeface="VTB Group Demi Bold" panose="020B0703050504020204" pitchFamily="34" charset="-52"/>
              </a:rPr>
              <a:t>шага</a:t>
            </a:r>
            <a:endParaRPr b="0" dirty="0">
              <a:latin typeface="VTB Group Demi Bold" panose="020B0703050504020204" pitchFamily="34" charset="-52"/>
            </a:endParaRPr>
          </a:p>
        </p:txBody>
      </p:sp>
      <p:sp>
        <p:nvSpPr>
          <p:cNvPr id="489" name="Сквиркл"/>
          <p:cNvSpPr/>
          <p:nvPr/>
        </p:nvSpPr>
        <p:spPr>
          <a:xfrm>
            <a:off x="1577166" y="4337333"/>
            <a:ext cx="6595902" cy="7628445"/>
          </a:xfrm>
          <a:prstGeom prst="roundRect">
            <a:avLst>
              <a:gd name="adj" fmla="val 1665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490" name="TextBox 25"/>
          <p:cNvSpPr txBox="1"/>
          <p:nvPr/>
        </p:nvSpPr>
        <p:spPr>
          <a:xfrm>
            <a:off x="2258921" y="5725485"/>
            <a:ext cx="5080001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4000" spc="-39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Содержание</a:t>
            </a:r>
          </a:p>
        </p:txBody>
      </p:sp>
      <p:sp>
        <p:nvSpPr>
          <p:cNvPr id="491" name="Линия"/>
          <p:cNvSpPr/>
          <p:nvPr/>
        </p:nvSpPr>
        <p:spPr>
          <a:xfrm>
            <a:off x="2255877" y="6713475"/>
            <a:ext cx="5238480" cy="0"/>
          </a:xfrm>
          <a:prstGeom prst="line">
            <a:avLst/>
          </a:prstGeom>
          <a:ln w="25400">
            <a:solidFill>
              <a:srgbClr val="053674">
                <a:alpha val="1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492" name="Расскажите о своих достижениях…"/>
          <p:cNvSpPr txBox="1"/>
          <p:nvPr/>
        </p:nvSpPr>
        <p:spPr>
          <a:xfrm>
            <a:off x="2258921" y="7132825"/>
            <a:ext cx="5232401" cy="4109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marL="380919" indent="-380919" algn="l" defTabSz="1650650">
              <a:lnSpc>
                <a:spcPct val="110000"/>
              </a:lnSpc>
              <a:spcBef>
                <a:spcPts val="17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>
                <a:latin typeface="VTB Group Book" panose="020B0503040504020204" pitchFamily="34" charset="-52"/>
              </a:rPr>
              <a:t>Расскажите о своих достижениях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17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>
                <a:latin typeface="VTB Group Book" panose="020B0503040504020204" pitchFamily="34" charset="-52"/>
              </a:rPr>
              <a:t>Подкрепите достижения цифрами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17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>
                <a:latin typeface="VTB Group Book" panose="020B0503040504020204" pitchFamily="34" charset="-52"/>
              </a:rPr>
              <a:t>По желанию прикрепите фото и очертите зарплатные ожидания</a:t>
            </a:r>
          </a:p>
        </p:txBody>
      </p:sp>
      <p:sp>
        <p:nvSpPr>
          <p:cNvPr id="493" name="TextBox 25"/>
          <p:cNvSpPr txBox="1"/>
          <p:nvPr/>
        </p:nvSpPr>
        <p:spPr>
          <a:xfrm>
            <a:off x="2258921" y="4958151"/>
            <a:ext cx="1143001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3500" spc="-35">
                <a:solidFill>
                  <a:srgbClr val="00A1E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dirty="0">
                <a:latin typeface="VTB Group Book" panose="020B0503040504020204" pitchFamily="34" charset="-52"/>
              </a:rPr>
              <a:t>01</a:t>
            </a:r>
          </a:p>
        </p:txBody>
      </p:sp>
      <p:sp>
        <p:nvSpPr>
          <p:cNvPr id="494" name="Сквиркл"/>
          <p:cNvSpPr/>
          <p:nvPr/>
        </p:nvSpPr>
        <p:spPr>
          <a:xfrm>
            <a:off x="8896352" y="4337333"/>
            <a:ext cx="6591299" cy="7628445"/>
          </a:xfrm>
          <a:prstGeom prst="roundRect">
            <a:avLst>
              <a:gd name="adj" fmla="val 1666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495" name="TextBox 25"/>
          <p:cNvSpPr txBox="1"/>
          <p:nvPr/>
        </p:nvSpPr>
        <p:spPr>
          <a:xfrm>
            <a:off x="9578104" y="5725485"/>
            <a:ext cx="5080001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4000" spc="-39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Оформление</a:t>
            </a:r>
          </a:p>
        </p:txBody>
      </p:sp>
      <p:sp>
        <p:nvSpPr>
          <p:cNvPr id="496" name="Линия"/>
          <p:cNvSpPr/>
          <p:nvPr/>
        </p:nvSpPr>
        <p:spPr>
          <a:xfrm>
            <a:off x="9575062" y="6713475"/>
            <a:ext cx="5233878" cy="0"/>
          </a:xfrm>
          <a:prstGeom prst="line">
            <a:avLst/>
          </a:prstGeom>
          <a:ln w="25400">
            <a:solidFill>
              <a:srgbClr val="053674">
                <a:alpha val="1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497" name="Поместите всю информацию на одну страницу…"/>
          <p:cNvSpPr txBox="1"/>
          <p:nvPr/>
        </p:nvSpPr>
        <p:spPr>
          <a:xfrm>
            <a:off x="9578101" y="7132825"/>
            <a:ext cx="5909550" cy="4109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380919" indent="-380919" algn="l" defTabSz="1650650">
              <a:lnSpc>
                <a:spcPct val="110000"/>
              </a:lnSpc>
              <a:spcBef>
                <a:spcPts val="17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Book" panose="020B0503040504020204" pitchFamily="34" charset="-52"/>
              </a:rPr>
              <a:t>Поместите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всю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информацию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на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одну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страницу</a:t>
            </a:r>
            <a:endParaRPr dirty="0">
              <a:latin typeface="VTB Group Book" panose="020B0503040504020204" pitchFamily="34" charset="-52"/>
            </a:endParaRPr>
          </a:p>
          <a:p>
            <a:pPr marL="380919" indent="-380919" algn="l" defTabSz="1650650">
              <a:lnSpc>
                <a:spcPct val="110000"/>
              </a:lnSpc>
              <a:spcBef>
                <a:spcPts val="17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Book" panose="020B0503040504020204" pitchFamily="34" charset="-52"/>
              </a:rPr>
              <a:t>Хронология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данных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должна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идти</a:t>
            </a:r>
            <a:r>
              <a:rPr dirty="0">
                <a:latin typeface="VTB Group Book" panose="020B0503040504020204" pitchFamily="34" charset="-52"/>
              </a:rPr>
              <a:t> по </a:t>
            </a:r>
            <a:r>
              <a:rPr dirty="0" err="1">
                <a:latin typeface="VTB Group Book" panose="020B0503040504020204" pitchFamily="34" charset="-52"/>
              </a:rPr>
              <a:t>убыванию</a:t>
            </a:r>
            <a:endParaRPr dirty="0">
              <a:latin typeface="VTB Group Book" panose="020B0503040504020204" pitchFamily="34" charset="-52"/>
            </a:endParaRPr>
          </a:p>
          <a:p>
            <a:pPr marL="380919" indent="-380919" algn="l" defTabSz="1650650">
              <a:lnSpc>
                <a:spcPct val="110000"/>
              </a:lnSpc>
              <a:spcBef>
                <a:spcPts val="17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Book" panose="020B0503040504020204" pitchFamily="34" charset="-52"/>
              </a:rPr>
              <a:t>Информация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идет</a:t>
            </a:r>
            <a:r>
              <a:rPr dirty="0">
                <a:latin typeface="VTB Group Book" panose="020B0503040504020204" pitchFamily="34" charset="-52"/>
              </a:rPr>
              <a:t/>
            </a:r>
            <a:br>
              <a:rPr dirty="0">
                <a:latin typeface="VTB Group Book" panose="020B0503040504020204" pitchFamily="34" charset="-52"/>
              </a:rPr>
            </a:br>
            <a:r>
              <a:rPr dirty="0">
                <a:latin typeface="VTB Group Book" panose="020B0503040504020204" pitchFamily="34" charset="-52"/>
              </a:rPr>
              <a:t>в </a:t>
            </a:r>
            <a:r>
              <a:rPr dirty="0" err="1">
                <a:latin typeface="VTB Group Book" panose="020B0503040504020204" pitchFamily="34" charset="-52"/>
              </a:rPr>
              <a:t>порядке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убывания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важности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498" name="TextBox 25"/>
          <p:cNvSpPr txBox="1"/>
          <p:nvPr/>
        </p:nvSpPr>
        <p:spPr>
          <a:xfrm>
            <a:off x="9578104" y="4958151"/>
            <a:ext cx="1143001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3500" spc="-35">
                <a:solidFill>
                  <a:srgbClr val="00A1E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02</a:t>
            </a:r>
          </a:p>
        </p:txBody>
      </p:sp>
      <p:sp>
        <p:nvSpPr>
          <p:cNvPr id="499" name="Сквиркл"/>
          <p:cNvSpPr/>
          <p:nvPr/>
        </p:nvSpPr>
        <p:spPr>
          <a:xfrm>
            <a:off x="16215535" y="4337333"/>
            <a:ext cx="6591299" cy="7628445"/>
          </a:xfrm>
          <a:prstGeom prst="roundRect">
            <a:avLst>
              <a:gd name="adj" fmla="val 1666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500" name="TextBox 25"/>
          <p:cNvSpPr txBox="1"/>
          <p:nvPr/>
        </p:nvSpPr>
        <p:spPr>
          <a:xfrm>
            <a:off x="16897290" y="5725485"/>
            <a:ext cx="5080001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4000" spc="-39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Стиль</a:t>
            </a:r>
          </a:p>
        </p:txBody>
      </p:sp>
      <p:sp>
        <p:nvSpPr>
          <p:cNvPr id="501" name="Линия"/>
          <p:cNvSpPr/>
          <p:nvPr/>
        </p:nvSpPr>
        <p:spPr>
          <a:xfrm>
            <a:off x="16894247" y="6713475"/>
            <a:ext cx="5233876" cy="0"/>
          </a:xfrm>
          <a:prstGeom prst="line">
            <a:avLst/>
          </a:prstGeom>
          <a:ln w="25400">
            <a:solidFill>
              <a:srgbClr val="053674">
                <a:alpha val="1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502" name="Текст резюме пишется  в формальном стиле…"/>
          <p:cNvSpPr txBox="1"/>
          <p:nvPr/>
        </p:nvSpPr>
        <p:spPr>
          <a:xfrm>
            <a:off x="16897290" y="7132828"/>
            <a:ext cx="5232401" cy="23170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marL="380919" indent="-380919" algn="l" defTabSz="1650650">
              <a:lnSpc>
                <a:spcPct val="110000"/>
              </a:lnSpc>
              <a:spcBef>
                <a:spcPts val="17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>
                <a:latin typeface="VTB Group Book" panose="020B0503040504020204" pitchFamily="34" charset="-52"/>
              </a:rPr>
              <a:t>Текст резюме пишется </a:t>
            </a:r>
            <a:br>
              <a:rPr>
                <a:latin typeface="VTB Group Book" panose="020B0503040504020204" pitchFamily="34" charset="-52"/>
              </a:rPr>
            </a:br>
            <a:r>
              <a:rPr>
                <a:latin typeface="VTB Group Book" panose="020B0503040504020204" pitchFamily="34" charset="-52"/>
              </a:rPr>
              <a:t>в формальном стиле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17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>
                <a:latin typeface="VTB Group Book" panose="020B0503040504020204" pitchFamily="34" charset="-52"/>
              </a:rPr>
              <a:t>Не допустите наличия ошибок в резюме </a:t>
            </a:r>
          </a:p>
        </p:txBody>
      </p:sp>
      <p:sp>
        <p:nvSpPr>
          <p:cNvPr id="503" name="TextBox 25"/>
          <p:cNvSpPr txBox="1"/>
          <p:nvPr/>
        </p:nvSpPr>
        <p:spPr>
          <a:xfrm>
            <a:off x="16897290" y="4958151"/>
            <a:ext cx="1143001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3500" spc="-35">
                <a:solidFill>
                  <a:srgbClr val="00A1E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03</a:t>
            </a:r>
          </a:p>
        </p:txBody>
      </p:sp>
      <p:sp>
        <p:nvSpPr>
          <p:cNvPr id="18" name="Решите бизнес-кейс…"/>
          <p:cNvSpPr txBox="1"/>
          <p:nvPr/>
        </p:nvSpPr>
        <p:spPr>
          <a:xfrm>
            <a:off x="1583000" y="12726332"/>
            <a:ext cx="19551721" cy="5247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err="1">
                <a:solidFill>
                  <a:srgbClr val="FF0000"/>
                </a:solidFill>
                <a:latin typeface="VTB Group Book" panose="020B0503040504020204" pitchFamily="34" charset="-52"/>
              </a:rPr>
              <a:t>Лайфхак</a:t>
            </a:r>
            <a:r>
              <a:rPr lang="ru-RU" dirty="0">
                <a:latin typeface="VTB Group Book" panose="020B0503040504020204" pitchFamily="34" charset="-52"/>
              </a:rPr>
              <a:t>: рекрутер может проверить ваш профиль в социальных сетях перед интервью</a:t>
            </a:r>
          </a:p>
        </p:txBody>
      </p:sp>
    </p:spTree>
    <p:extLst>
      <p:ext uri="{BB962C8B-B14F-4D97-AF65-F5344CB8AC3E}">
        <p14:creationId xmlns:p14="http://schemas.microsoft.com/office/powerpoint/2010/main" val="6267512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8" name="Составьте хорошее резюме  в 3 шага"/>
          <p:cNvSpPr txBox="1"/>
          <p:nvPr/>
        </p:nvSpPr>
        <p:spPr>
          <a:xfrm>
            <a:off x="1577166" y="1452827"/>
            <a:ext cx="21229670" cy="12229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1" tIns="50791" rIns="50791" bIns="50791">
            <a:spAutoFit/>
          </a:bodyPr>
          <a:lstStyle/>
          <a:p>
            <a:pPr algn="l" defTabSz="1650650">
              <a:lnSpc>
                <a:spcPct val="110000"/>
              </a:lnSpc>
              <a:defRPr sz="7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7000" cap="all" dirty="0" err="1" smtClean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  <a:sym typeface="Arial"/>
              </a:rPr>
              <a:t>ВИДЕОинтервью</a:t>
            </a:r>
            <a:endParaRPr sz="7000" b="0" cap="all" dirty="0">
              <a:solidFill>
                <a:srgbClr val="053674"/>
              </a:solidFill>
              <a:latin typeface="VTB Group Demi Bold" panose="020B0703050504020204" pitchFamily="34" charset="-52"/>
              <a:ea typeface="Arial"/>
              <a:cs typeface="Arial"/>
              <a:sym typeface="Arial"/>
            </a:endParaRPr>
          </a:p>
        </p:txBody>
      </p:sp>
      <p:sp>
        <p:nvSpPr>
          <p:cNvPr id="18" name="Сквиркл"/>
          <p:cNvSpPr/>
          <p:nvPr/>
        </p:nvSpPr>
        <p:spPr>
          <a:xfrm>
            <a:off x="1577168" y="4552657"/>
            <a:ext cx="18901942" cy="6910198"/>
          </a:xfrm>
          <a:prstGeom prst="roundRect">
            <a:avLst>
              <a:gd name="adj" fmla="val 2205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19" name="Этап 1: ролевая игра"/>
          <p:cNvSpPr txBox="1"/>
          <p:nvPr/>
        </p:nvSpPr>
        <p:spPr>
          <a:xfrm>
            <a:off x="2599890" y="5297170"/>
            <a:ext cx="14597828" cy="5268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4200" spc="-42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latin typeface="VTB Group Book" panose="020B0503040504020204" pitchFamily="34" charset="-52"/>
              </a:rPr>
              <a:t>Подготовьтесь к записи ответов на вопросы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20" name="Решите бизнес-кейс…"/>
          <p:cNvSpPr txBox="1"/>
          <p:nvPr/>
        </p:nvSpPr>
        <p:spPr>
          <a:xfrm>
            <a:off x="2770719" y="6963880"/>
            <a:ext cx="14896168" cy="39949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Tx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b="0" spc="-29" dirty="0">
                <a:solidFill>
                  <a:srgbClr val="343434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Обеспечьте устойчивый доступ в Интернет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smtClean="0">
                <a:latin typeface="VTB Group Book" panose="020B0503040504020204" pitchFamily="34" charset="-52"/>
              </a:rPr>
              <a:t>Проверьте работу камеры и микрофона на вашем устройстве (желательно проходить </a:t>
            </a:r>
            <a:r>
              <a:rPr lang="ru-RU" dirty="0" err="1" smtClean="0">
                <a:latin typeface="VTB Group Book" panose="020B0503040504020204" pitchFamily="34" charset="-52"/>
              </a:rPr>
              <a:t>видеоинтервью</a:t>
            </a:r>
            <a:r>
              <a:rPr lang="ru-RU" dirty="0" smtClean="0">
                <a:latin typeface="VTB Group Book" panose="020B0503040504020204" pitchFamily="34" charset="-52"/>
              </a:rPr>
              <a:t> с компьютера)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smtClean="0">
                <a:latin typeface="VTB Group Book" panose="020B0503040504020204" pitchFamily="34" charset="-52"/>
              </a:rPr>
              <a:t>Изучите информацию о работе банка на сайте </a:t>
            </a:r>
            <a:r>
              <a:rPr lang="en-US" dirty="0" smtClean="0">
                <a:latin typeface="VTB Group Book" panose="020B0503040504020204" pitchFamily="34" charset="-52"/>
              </a:rPr>
              <a:t>VTBCAREER.COM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smtClean="0">
                <a:latin typeface="VTB Group Book" panose="020B0503040504020204" pitchFamily="34" charset="-52"/>
              </a:rPr>
              <a:t>Внимательно прочитайте описание вакансии и подумайте, почему она вам интересна</a:t>
            </a:r>
          </a:p>
        </p:txBody>
      </p:sp>
    </p:spTree>
    <p:extLst>
      <p:ext uri="{BB962C8B-B14F-4D97-AF65-F5344CB8AC3E}">
        <p14:creationId xmlns:p14="http://schemas.microsoft.com/office/powerpoint/2010/main" val="3793209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8" name="Составьте хорошее резюме  в 3 шага"/>
          <p:cNvSpPr txBox="1"/>
          <p:nvPr/>
        </p:nvSpPr>
        <p:spPr>
          <a:xfrm>
            <a:off x="1577166" y="1452827"/>
            <a:ext cx="21229670" cy="12229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1" tIns="50791" rIns="50791" bIns="50791">
            <a:spAutoFit/>
          </a:bodyPr>
          <a:lstStyle/>
          <a:p>
            <a:pPr algn="l" defTabSz="1650650">
              <a:lnSpc>
                <a:spcPct val="110000"/>
              </a:lnSpc>
              <a:defRPr sz="7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7000" cap="all" dirty="0" smtClean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  <a:sym typeface="Arial"/>
              </a:rPr>
              <a:t>Онлайн-тестирование</a:t>
            </a:r>
            <a:endParaRPr sz="7000" b="0" cap="all" dirty="0">
              <a:solidFill>
                <a:srgbClr val="053674"/>
              </a:solidFill>
              <a:latin typeface="VTB Group Demi Bold" panose="020B0703050504020204" pitchFamily="34" charset="-52"/>
              <a:ea typeface="Arial"/>
              <a:cs typeface="Arial"/>
              <a:sym typeface="Arial"/>
            </a:endParaRPr>
          </a:p>
        </p:txBody>
      </p:sp>
      <p:sp>
        <p:nvSpPr>
          <p:cNvPr id="18" name="Сквиркл"/>
          <p:cNvSpPr/>
          <p:nvPr/>
        </p:nvSpPr>
        <p:spPr>
          <a:xfrm>
            <a:off x="1577168" y="4552657"/>
            <a:ext cx="18901942" cy="6910198"/>
          </a:xfrm>
          <a:prstGeom prst="roundRect">
            <a:avLst>
              <a:gd name="adj" fmla="val 2205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3200" b="0">
              <a:solidFill>
                <a:srgbClr val="FFFFFF"/>
              </a:solidFill>
              <a:latin typeface="VTB Group Book" panose="020B0503040504020204" pitchFamily="34" charset="-52"/>
              <a:ea typeface="+mn-ea"/>
              <a:cs typeface="+mn-cs"/>
              <a:sym typeface="Helvetica Neue Medium"/>
            </a:endParaRPr>
          </a:p>
        </p:txBody>
      </p:sp>
      <p:sp>
        <p:nvSpPr>
          <p:cNvPr id="19" name="Этап 1: ролевая игра"/>
          <p:cNvSpPr txBox="1"/>
          <p:nvPr/>
        </p:nvSpPr>
        <p:spPr>
          <a:xfrm>
            <a:off x="3169239" y="5306916"/>
            <a:ext cx="14597828" cy="5170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4200" spc="-42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latin typeface="VTB Group Book" panose="020B0503040504020204" pitchFamily="34" charset="-52"/>
              </a:rPr>
              <a:t>Как подготовиться к решению тестов способностей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20" name="Решите бизнес-кейс…"/>
          <p:cNvSpPr txBox="1"/>
          <p:nvPr/>
        </p:nvSpPr>
        <p:spPr>
          <a:xfrm>
            <a:off x="2770719" y="6567061"/>
            <a:ext cx="14896168" cy="42363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Tx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b="0" spc="-29" dirty="0">
                <a:solidFill>
                  <a:srgbClr val="343434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Используйте примеры заданий на сайтах компаний, предоставляющих услуги по тестированию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Tx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b="0" spc="-29" dirty="0">
                <a:solidFill>
                  <a:srgbClr val="343434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Тренируйтесь на бесплатных тестах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Tx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b="0" spc="-29" dirty="0">
                <a:solidFill>
                  <a:srgbClr val="343434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Всегда решайте пробные задания перед началом тестирования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Tx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b="0" spc="-29" dirty="0">
                <a:solidFill>
                  <a:srgbClr val="343434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Обеспечьте устойчивый доступ в Интернет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Tx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b="0" spc="-29" dirty="0">
                <a:solidFill>
                  <a:srgbClr val="343434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Обеспечьте спокойную обстановку, подготовьте бумагу, ручку и калькулятор</a:t>
            </a:r>
          </a:p>
        </p:txBody>
      </p:sp>
      <p:sp>
        <p:nvSpPr>
          <p:cNvPr id="21" name="Решите бизнес-кейс…"/>
          <p:cNvSpPr txBox="1"/>
          <p:nvPr/>
        </p:nvSpPr>
        <p:spPr>
          <a:xfrm>
            <a:off x="1583000" y="12640067"/>
            <a:ext cx="19551721" cy="4770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l" defTabSz="1650650">
              <a:buClr>
                <a:srgbClr val="1A9FDE"/>
              </a:buClr>
              <a:buSzPct val="90000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pc="-29" dirty="0" err="1">
                <a:solidFill>
                  <a:srgbClr val="FF0000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Лайфхак</a:t>
            </a:r>
            <a:r>
              <a:rPr lang="ru-RU" b="0" spc="-29" dirty="0">
                <a:solidFill>
                  <a:srgbClr val="343434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: при подготовке попробуйте порешать тесты способностей, например, SHL</a:t>
            </a:r>
          </a:p>
        </p:txBody>
      </p:sp>
      <p:pic>
        <p:nvPicPr>
          <p:cNvPr id="7" name="Изображение" descr="Изображе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1646" y="5107288"/>
            <a:ext cx="812800" cy="8128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56369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8" name="Составьте хорошее резюме  в 3 шага"/>
          <p:cNvSpPr txBox="1"/>
          <p:nvPr/>
        </p:nvSpPr>
        <p:spPr>
          <a:xfrm>
            <a:off x="1577166" y="1452827"/>
            <a:ext cx="21229670" cy="12229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791" tIns="50791" rIns="50791" bIns="50791">
            <a:spAutoFit/>
          </a:bodyPr>
          <a:lstStyle/>
          <a:p>
            <a:pPr algn="l" defTabSz="1650650">
              <a:lnSpc>
                <a:spcPct val="110000"/>
              </a:lnSpc>
              <a:defRPr sz="7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7000" cap="all" dirty="0" smtClean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  <a:sym typeface="Arial"/>
              </a:rPr>
              <a:t>Телефонное интервью</a:t>
            </a:r>
            <a:endParaRPr sz="7000" b="0" cap="all" dirty="0">
              <a:solidFill>
                <a:srgbClr val="053674"/>
              </a:solidFill>
              <a:latin typeface="VTB Group Demi Bold" panose="020B0703050504020204" pitchFamily="34" charset="-52"/>
              <a:ea typeface="Arial"/>
              <a:cs typeface="Arial"/>
              <a:sym typeface="Arial"/>
            </a:endParaRPr>
          </a:p>
        </p:txBody>
      </p:sp>
      <p:sp>
        <p:nvSpPr>
          <p:cNvPr id="18" name="Сквиркл"/>
          <p:cNvSpPr/>
          <p:nvPr/>
        </p:nvSpPr>
        <p:spPr>
          <a:xfrm>
            <a:off x="1577168" y="4552657"/>
            <a:ext cx="18901942" cy="6910198"/>
          </a:xfrm>
          <a:prstGeom prst="roundRect">
            <a:avLst>
              <a:gd name="adj" fmla="val 2205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19" name="Этап 1: ролевая игра"/>
          <p:cNvSpPr txBox="1"/>
          <p:nvPr/>
        </p:nvSpPr>
        <p:spPr>
          <a:xfrm>
            <a:off x="2599890" y="5306916"/>
            <a:ext cx="14597828" cy="5170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4200" spc="-42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latin typeface="VTB Group Book" panose="020B0503040504020204" pitchFamily="34" charset="-52"/>
              </a:rPr>
              <a:t>Возможные вопросы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20" name="Решите бизнес-кейс…"/>
          <p:cNvSpPr txBox="1"/>
          <p:nvPr/>
        </p:nvSpPr>
        <p:spPr>
          <a:xfrm>
            <a:off x="2770719" y="6963880"/>
            <a:ext cx="14896168" cy="34701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>
                <a:latin typeface="VTB Group Book" panose="020B0503040504020204" pitchFamily="34" charset="-52"/>
              </a:rPr>
              <a:t>Почему вы выбрали именно эту вакансию/ стажировку?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>
                <a:latin typeface="VTB Group Book" panose="020B0503040504020204" pitchFamily="34" charset="-52"/>
              </a:rPr>
              <a:t>Что вы знаете о том подразделении, в которое вы подали заявку?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>
                <a:latin typeface="VTB Group Book" panose="020B0503040504020204" pitchFamily="34" charset="-52"/>
              </a:rPr>
              <a:t>Согласны ли вы с условиями работы (расположение офиса, продолжительность рабочего дня и др.)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>
                <a:latin typeface="VTB Group Book" panose="020B0503040504020204" pitchFamily="34" charset="-52"/>
              </a:rPr>
              <a:t>Базовые теоретические знания в выбранной профессиональной области</a:t>
            </a:r>
          </a:p>
        </p:txBody>
      </p:sp>
      <p:sp>
        <p:nvSpPr>
          <p:cNvPr id="21" name="Решите бизнес-кейс…"/>
          <p:cNvSpPr txBox="1"/>
          <p:nvPr/>
        </p:nvSpPr>
        <p:spPr>
          <a:xfrm>
            <a:off x="1583000" y="12484790"/>
            <a:ext cx="20934100" cy="9541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l" defTabSz="1650650">
              <a:buClr>
                <a:srgbClr val="1A9FDE"/>
              </a:buClr>
              <a:buSzPct val="90000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err="1">
                <a:solidFill>
                  <a:srgbClr val="FF0000"/>
                </a:solidFill>
                <a:latin typeface="VTB Group Book" panose="020B0503040504020204" pitchFamily="34" charset="-52"/>
              </a:rPr>
              <a:t>Лайфхак</a:t>
            </a:r>
            <a:r>
              <a:rPr lang="ru-RU" dirty="0">
                <a:latin typeface="VTB Group Book" panose="020B0503040504020204" pitchFamily="34" charset="-52"/>
              </a:rPr>
              <a:t>: через несколько дней после </a:t>
            </a:r>
            <a:r>
              <a:rPr lang="ru-RU" dirty="0" smtClean="0">
                <a:latin typeface="VTB Group Book" panose="020B0503040504020204" pitchFamily="34" charset="-52"/>
              </a:rPr>
              <a:t>прохождения </a:t>
            </a:r>
            <a:r>
              <a:rPr lang="ru-RU" dirty="0" err="1" smtClean="0">
                <a:latin typeface="VTB Group Book" panose="020B0503040504020204" pitchFamily="34" charset="-52"/>
              </a:rPr>
              <a:t>видеоинтервью</a:t>
            </a:r>
            <a:r>
              <a:rPr lang="ru-RU" dirty="0" smtClean="0">
                <a:latin typeface="VTB Group Book" panose="020B0503040504020204" pitchFamily="34" charset="-52"/>
              </a:rPr>
              <a:t> и теста с </a:t>
            </a:r>
            <a:r>
              <a:rPr lang="ru-RU" dirty="0">
                <a:latin typeface="VTB Group Book" panose="020B0503040504020204" pitchFamily="34" charset="-52"/>
              </a:rPr>
              <a:t>вами свяжется менеджер по подбору. </a:t>
            </a:r>
            <a:r>
              <a:rPr lang="ru-RU" dirty="0" smtClean="0">
                <a:latin typeface="VTB Group Book" panose="020B0503040504020204" pitchFamily="34" charset="-52"/>
              </a:rPr>
              <a:t>Будьте </a:t>
            </a:r>
            <a:r>
              <a:rPr lang="ru-RU" dirty="0">
                <a:latin typeface="VTB Group Book" panose="020B0503040504020204" pitchFamily="34" charset="-52"/>
              </a:rPr>
              <a:t>на связи, чтобы не пропустить его звонок</a:t>
            </a:r>
          </a:p>
        </p:txBody>
      </p:sp>
    </p:spTree>
    <p:extLst>
      <p:ext uri="{BB962C8B-B14F-4D97-AF65-F5344CB8AC3E}">
        <p14:creationId xmlns:p14="http://schemas.microsoft.com/office/powerpoint/2010/main" val="114746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" name="Приходите на групповой центр оценки"/>
          <p:cNvSpPr txBox="1"/>
          <p:nvPr/>
        </p:nvSpPr>
        <p:spPr>
          <a:xfrm>
            <a:off x="1577167" y="1452829"/>
            <a:ext cx="17554895" cy="24724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791" tIns="50791" rIns="50791" bIns="50791">
            <a:spAutoFit/>
          </a:bodyPr>
          <a:lstStyle>
            <a:lvl1pPr algn="l" defTabSz="1651000">
              <a:lnSpc>
                <a:spcPct val="110000"/>
              </a:lnSpc>
              <a:defRPr sz="7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latin typeface="VTB Group Demi Bold" panose="020B0703050504020204" pitchFamily="34" charset="-52"/>
              </a:rPr>
              <a:t>ПРИМИТЕ УЧАСТИЕ В ЗАКЛЮЧИТЕЛЬНОМ ЭТАПЕ ОТБОРА</a:t>
            </a:r>
            <a:endParaRPr dirty="0">
              <a:latin typeface="VTB Group Demi Bold" panose="020B0703050504020204" pitchFamily="34" charset="-52"/>
            </a:endParaRPr>
          </a:p>
        </p:txBody>
      </p:sp>
      <p:sp>
        <p:nvSpPr>
          <p:cNvPr id="530" name="Сквиркл"/>
          <p:cNvSpPr/>
          <p:nvPr/>
        </p:nvSpPr>
        <p:spPr>
          <a:xfrm>
            <a:off x="1577167" y="5329042"/>
            <a:ext cx="10318065" cy="6910198"/>
          </a:xfrm>
          <a:prstGeom prst="roundRect">
            <a:avLst>
              <a:gd name="adj" fmla="val 2205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531" name="Сквиркл"/>
          <p:cNvSpPr/>
          <p:nvPr/>
        </p:nvSpPr>
        <p:spPr>
          <a:xfrm>
            <a:off x="12488774" y="5329042"/>
            <a:ext cx="10318065" cy="6910198"/>
          </a:xfrm>
          <a:prstGeom prst="roundRect">
            <a:avLst>
              <a:gd name="adj" fmla="val 2205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532" name="Этап 1: ролевая игра"/>
          <p:cNvSpPr txBox="1"/>
          <p:nvPr/>
        </p:nvSpPr>
        <p:spPr>
          <a:xfrm>
            <a:off x="3265819" y="5725025"/>
            <a:ext cx="8803646" cy="10341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4200" spc="-42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latin typeface="VTB Group Book" panose="020B0503040504020204" pitchFamily="34" charset="-52"/>
              </a:rPr>
              <a:t>Шаг</a:t>
            </a:r>
            <a:r>
              <a:rPr dirty="0" smtClean="0">
                <a:latin typeface="VTB Group Book" panose="020B0503040504020204" pitchFamily="34" charset="-52"/>
              </a:rPr>
              <a:t> </a:t>
            </a:r>
            <a:r>
              <a:rPr dirty="0">
                <a:latin typeface="VTB Group Book" panose="020B0503040504020204" pitchFamily="34" charset="-52"/>
              </a:rPr>
              <a:t>1: </a:t>
            </a:r>
            <a:r>
              <a:rPr lang="ru-RU" dirty="0" smtClean="0">
                <a:latin typeface="VTB Group Book" panose="020B0503040504020204" pitchFamily="34" charset="-52"/>
              </a:rPr>
              <a:t>ролевая игра с распределенными ценностями*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533" name="Решите бизнес-кейс…"/>
          <p:cNvSpPr txBox="1"/>
          <p:nvPr/>
        </p:nvSpPr>
        <p:spPr>
          <a:xfrm>
            <a:off x="2080618" y="7446964"/>
            <a:ext cx="6549716" cy="42363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smtClean="0">
                <a:latin typeface="VTB Group Book" panose="020B0503040504020204" pitchFamily="34" charset="-52"/>
              </a:rPr>
              <a:t>Оцениваются: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smtClean="0">
                <a:latin typeface="VTB Group Book" panose="020B0503040504020204" pitchFamily="34" charset="-52"/>
              </a:rPr>
              <a:t>Презентационные </a:t>
            </a:r>
            <a:r>
              <a:rPr lang="ru-RU" dirty="0">
                <a:latin typeface="VTB Group Book" panose="020B0503040504020204" pitchFamily="34" charset="-52"/>
              </a:rPr>
              <a:t>навыки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>
                <a:latin typeface="VTB Group Book" panose="020B0503040504020204" pitchFamily="34" charset="-52"/>
              </a:rPr>
              <a:t>Коммуникативные навыки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>
                <a:latin typeface="VTB Group Book" panose="020B0503040504020204" pitchFamily="34" charset="-52"/>
              </a:rPr>
              <a:t>Работа в команде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>
                <a:latin typeface="VTB Group Book" panose="020B0503040504020204" pitchFamily="34" charset="-52"/>
              </a:rPr>
              <a:t>Навыки убеждения и ведения переговоров и др.</a:t>
            </a:r>
          </a:p>
        </p:txBody>
      </p:sp>
      <p:sp>
        <p:nvSpPr>
          <p:cNvPr id="534" name="Этап 2: панельной интервью"/>
          <p:cNvSpPr txBox="1"/>
          <p:nvPr/>
        </p:nvSpPr>
        <p:spPr>
          <a:xfrm>
            <a:off x="14244729" y="5725024"/>
            <a:ext cx="8245493" cy="10341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algn="l" defTabSz="1651000">
              <a:lnSpc>
                <a:spcPct val="80000"/>
              </a:lnSpc>
              <a:spcBef>
                <a:spcPts val="4000"/>
              </a:spcBef>
              <a:defRPr sz="4200" spc="-42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latin typeface="VTB Group Book" panose="020B0503040504020204" pitchFamily="34" charset="-52"/>
              </a:rPr>
              <a:t>Шаг</a:t>
            </a:r>
            <a:r>
              <a:rPr dirty="0" smtClean="0">
                <a:latin typeface="VTB Group Book" panose="020B0503040504020204" pitchFamily="34" charset="-52"/>
              </a:rPr>
              <a:t> 2: </a:t>
            </a:r>
            <a:r>
              <a:rPr lang="ru-RU" dirty="0" smtClean="0">
                <a:latin typeface="VTB Group Book" panose="020B0503040504020204" pitchFamily="34" charset="-52"/>
              </a:rPr>
              <a:t>интервью с будущим руководителем</a:t>
            </a:r>
            <a:endParaRPr lang="ru-RU" dirty="0">
              <a:latin typeface="VTB Group Book" panose="020B0503040504020204" pitchFamily="34" charset="-52"/>
            </a:endParaRPr>
          </a:p>
        </p:txBody>
      </p:sp>
      <p:sp>
        <p:nvSpPr>
          <p:cNvPr id="535" name="Будьте готовы к вопросам на общий кругозор: кто сейчас председатель ЦБ, назовите компании большой четвёрки и т.д.…"/>
          <p:cNvSpPr txBox="1"/>
          <p:nvPr/>
        </p:nvSpPr>
        <p:spPr>
          <a:xfrm>
            <a:off x="13046366" y="7446964"/>
            <a:ext cx="7700871" cy="34701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smtClean="0">
                <a:latin typeface="VTB Group Book" panose="020B0503040504020204" pitchFamily="34" charset="-52"/>
              </a:rPr>
              <a:t>Оцениваются: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>
                <a:latin typeface="VTB Group Book" panose="020B0503040504020204" pitchFamily="34" charset="-52"/>
              </a:rPr>
              <a:t>Теоретические знания в выбранной области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>
                <a:latin typeface="VTB Group Book" panose="020B0503040504020204" pitchFamily="34" charset="-52"/>
              </a:rPr>
              <a:t>Общая эрудиция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Char char="•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smtClean="0">
                <a:latin typeface="VTB Group Book" panose="020B0503040504020204" pitchFamily="34" charset="-52"/>
              </a:rPr>
              <a:t>Мотивация</a:t>
            </a:r>
            <a:endParaRPr lang="ru-RU" dirty="0">
              <a:latin typeface="VTB Group Book" panose="020B0503040504020204" pitchFamily="34" charset="-52"/>
            </a:endParaRPr>
          </a:p>
        </p:txBody>
      </p:sp>
      <p:pic>
        <p:nvPicPr>
          <p:cNvPr id="536" name="Изображение" descr="Изображе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46366" y="5787564"/>
            <a:ext cx="812800" cy="812801"/>
          </a:xfrm>
          <a:prstGeom prst="rect">
            <a:avLst/>
          </a:prstGeom>
          <a:ln w="12700">
            <a:miter lim="400000"/>
          </a:ln>
        </p:spPr>
      </p:pic>
      <p:pic>
        <p:nvPicPr>
          <p:cNvPr id="537" name="Изображение" descr="Изображе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7959" y="5787565"/>
            <a:ext cx="812800" cy="812801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Решите бизнес-кейс…"/>
          <p:cNvSpPr txBox="1"/>
          <p:nvPr/>
        </p:nvSpPr>
        <p:spPr>
          <a:xfrm>
            <a:off x="1583000" y="4345394"/>
            <a:ext cx="19551721" cy="4770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l" defTabSz="1650650">
              <a:buClr>
                <a:srgbClr val="1A9FDE"/>
              </a:buClr>
              <a:buSzPct val="90000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b="0" spc="-29" dirty="0" smtClean="0">
                <a:solidFill>
                  <a:srgbClr val="343434"/>
                </a:solidFill>
                <a:latin typeface="VTB Group Book" panose="020B0503040504020204" pitchFamily="34" charset="-52"/>
                <a:ea typeface="Arial"/>
                <a:cs typeface="Arial"/>
                <a:sym typeface="Arial"/>
              </a:rPr>
              <a:t>Проходит в два шага:</a:t>
            </a:r>
            <a:endParaRPr lang="ru-RU" b="0" spc="-29" dirty="0">
              <a:solidFill>
                <a:srgbClr val="343434"/>
              </a:solidFill>
              <a:latin typeface="VTB Group Book" panose="020B0503040504020204" pitchFamily="34" charset="-52"/>
              <a:ea typeface="Arial"/>
              <a:cs typeface="Arial"/>
              <a:sym typeface="Arial"/>
            </a:endParaRPr>
          </a:p>
        </p:txBody>
      </p:sp>
      <p:sp>
        <p:nvSpPr>
          <p:cNvPr id="12" name="Решите бизнес-кейс…"/>
          <p:cNvSpPr txBox="1"/>
          <p:nvPr/>
        </p:nvSpPr>
        <p:spPr>
          <a:xfrm>
            <a:off x="1583000" y="12484790"/>
            <a:ext cx="20934100" cy="4770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l" defTabSz="1650650">
              <a:buClr>
                <a:srgbClr val="1A9FDE"/>
              </a:buClr>
              <a:buSzPct val="90000"/>
              <a:defRPr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smtClean="0">
                <a:solidFill>
                  <a:schemeClr val="tx1"/>
                </a:solidFill>
                <a:latin typeface="VTB Group Book" panose="020B0503040504020204" pitchFamily="34" charset="-52"/>
              </a:rPr>
              <a:t>*Этот этап проводится не для всех городов программы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9" name="Изображение" descr="Изображение"/>
          <p:cNvPicPr>
            <a:picLocks noChangeAspect="1"/>
          </p:cNvPicPr>
          <p:nvPr/>
        </p:nvPicPr>
        <p:blipFill>
          <a:blip r:embed="rId2">
            <a:alphaModFix amt="44630"/>
          </a:blip>
          <a:stretch>
            <a:fillRect/>
          </a:stretch>
        </p:blipFill>
        <p:spPr>
          <a:xfrm>
            <a:off x="-177991" y="-272585"/>
            <a:ext cx="30671903" cy="17643073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567" name="Группа"/>
          <p:cNvGrpSpPr/>
          <p:nvPr/>
        </p:nvGrpSpPr>
        <p:grpSpPr>
          <a:xfrm>
            <a:off x="-10945775" y="-11615973"/>
            <a:ext cx="35879695" cy="40340260"/>
            <a:chOff x="0" y="0"/>
            <a:chExt cx="35879695" cy="40340258"/>
          </a:xfrm>
        </p:grpSpPr>
        <p:sp>
          <p:nvSpPr>
            <p:cNvPr id="550" name="Кружок"/>
            <p:cNvSpPr/>
            <p:nvPr/>
          </p:nvSpPr>
          <p:spPr>
            <a:xfrm>
              <a:off x="5939450" y="16241517"/>
              <a:ext cx="17824943" cy="17824942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51" name="Кружок"/>
            <p:cNvSpPr/>
            <p:nvPr/>
          </p:nvSpPr>
          <p:spPr>
            <a:xfrm>
              <a:off x="0" y="16710623"/>
              <a:ext cx="22842236" cy="22842236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52" name="Кружок"/>
            <p:cNvSpPr/>
            <p:nvPr/>
          </p:nvSpPr>
          <p:spPr>
            <a:xfrm>
              <a:off x="9931400" y="17498023"/>
              <a:ext cx="22842236" cy="22842236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53" name="Кружок"/>
            <p:cNvSpPr/>
            <p:nvPr/>
          </p:nvSpPr>
          <p:spPr>
            <a:xfrm>
              <a:off x="1981200" y="911823"/>
              <a:ext cx="22842236" cy="22842236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54" name="Кружок"/>
            <p:cNvSpPr/>
            <p:nvPr/>
          </p:nvSpPr>
          <p:spPr>
            <a:xfrm>
              <a:off x="9118600" y="1343623"/>
              <a:ext cx="22842236" cy="22842236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55" name="Кружок"/>
            <p:cNvSpPr/>
            <p:nvPr/>
          </p:nvSpPr>
          <p:spPr>
            <a:xfrm>
              <a:off x="5740400" y="8280400"/>
              <a:ext cx="22842236" cy="22842236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56" name="Кружок"/>
            <p:cNvSpPr/>
            <p:nvPr/>
          </p:nvSpPr>
          <p:spPr>
            <a:xfrm>
              <a:off x="1041400" y="13081000"/>
              <a:ext cx="22842236" cy="22842236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57" name="Кружок"/>
            <p:cNvSpPr/>
            <p:nvPr/>
          </p:nvSpPr>
          <p:spPr>
            <a:xfrm>
              <a:off x="9550400" y="7874000"/>
              <a:ext cx="22842236" cy="22842236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58" name="Кружок"/>
            <p:cNvSpPr/>
            <p:nvPr/>
          </p:nvSpPr>
          <p:spPr>
            <a:xfrm>
              <a:off x="9550400" y="13995400"/>
              <a:ext cx="22842236" cy="22842236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59" name="Кружок"/>
            <p:cNvSpPr/>
            <p:nvPr/>
          </p:nvSpPr>
          <p:spPr>
            <a:xfrm>
              <a:off x="1803400" y="13995400"/>
              <a:ext cx="22842236" cy="22842236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60" name="Кружок"/>
            <p:cNvSpPr/>
            <p:nvPr/>
          </p:nvSpPr>
          <p:spPr>
            <a:xfrm>
              <a:off x="2184400" y="5994400"/>
              <a:ext cx="22842236" cy="22842236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61" name="Кружок"/>
            <p:cNvSpPr/>
            <p:nvPr/>
          </p:nvSpPr>
          <p:spPr>
            <a:xfrm>
              <a:off x="7289800" y="4648200"/>
              <a:ext cx="22842236" cy="22842236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62" name="Кружок"/>
            <p:cNvSpPr/>
            <p:nvPr/>
          </p:nvSpPr>
          <p:spPr>
            <a:xfrm>
              <a:off x="13037460" y="0"/>
              <a:ext cx="22842236" cy="22842236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63" name="Кружок"/>
            <p:cNvSpPr/>
            <p:nvPr/>
          </p:nvSpPr>
          <p:spPr>
            <a:xfrm>
              <a:off x="4985660" y="17043400"/>
              <a:ext cx="17824942" cy="17824942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64" name="Кружок"/>
            <p:cNvSpPr/>
            <p:nvPr/>
          </p:nvSpPr>
          <p:spPr>
            <a:xfrm>
              <a:off x="13901060" y="18846800"/>
              <a:ext cx="17824942" cy="17824942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65" name="Кружок"/>
            <p:cNvSpPr/>
            <p:nvPr/>
          </p:nvSpPr>
          <p:spPr>
            <a:xfrm>
              <a:off x="11097682" y="13081000"/>
              <a:ext cx="17824942" cy="17824942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566" name="Кружок"/>
            <p:cNvSpPr/>
            <p:nvPr/>
          </p:nvSpPr>
          <p:spPr>
            <a:xfrm>
              <a:off x="15546106" y="6248400"/>
              <a:ext cx="17824943" cy="17824942"/>
            </a:xfrm>
            <a:prstGeom prst="ellipse">
              <a:avLst/>
            </a:prstGeom>
            <a:gradFill flip="none" rotWithShape="1">
              <a:gsLst>
                <a:gs pos="369">
                  <a:srgbClr val="ECF0F6"/>
                </a:gs>
                <a:gs pos="369">
                  <a:srgbClr val="ECF0F6">
                    <a:alpha val="50000"/>
                  </a:srgbClr>
                </a:gs>
                <a:gs pos="100000">
                  <a:srgbClr val="ECF0F6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</p:grpSp>
      <p:sp>
        <p:nvSpPr>
          <p:cNvPr id="568" name="Теперь дело за малым…"/>
          <p:cNvSpPr txBox="1"/>
          <p:nvPr/>
        </p:nvSpPr>
        <p:spPr>
          <a:xfrm>
            <a:off x="1577167" y="2838450"/>
            <a:ext cx="16006856" cy="41549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algn="l" defTabSz="1650650">
              <a:defRPr sz="9000" b="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 smtClean="0">
                <a:latin typeface="VTB Group Demi Bold" panose="020B0703050504020204" pitchFamily="34" charset="-52"/>
              </a:rPr>
              <a:t>получите</a:t>
            </a:r>
            <a:r>
              <a:rPr dirty="0" smtClean="0">
                <a:latin typeface="VTB Group Demi Bold" panose="020B0703050504020204" pitchFamily="34" charset="-52"/>
              </a:rPr>
              <a:t> </a:t>
            </a:r>
            <a:r>
              <a:rPr dirty="0" err="1">
                <a:latin typeface="VTB Group Demi Bold" panose="020B0703050504020204" pitchFamily="34" charset="-52"/>
              </a:rPr>
              <a:t>оффер</a:t>
            </a:r>
            <a:r>
              <a:rPr dirty="0">
                <a:latin typeface="VTB Group Demi Bold" panose="020B0703050504020204" pitchFamily="34" charset="-52"/>
              </a:rPr>
              <a:t> и </a:t>
            </a:r>
            <a:r>
              <a:rPr dirty="0" err="1">
                <a:latin typeface="VTB Group Demi Bold" panose="020B0703050504020204" pitchFamily="34" charset="-52"/>
              </a:rPr>
              <a:t>станьте</a:t>
            </a:r>
            <a:r>
              <a:rPr dirty="0">
                <a:latin typeface="VTB Group Demi Bold" panose="020B0703050504020204" pitchFamily="34" charset="-52"/>
              </a:rPr>
              <a:t> </a:t>
            </a:r>
            <a:r>
              <a:rPr dirty="0" err="1">
                <a:latin typeface="VTB Group Demi Bold" panose="020B0703050504020204" pitchFamily="34" charset="-52"/>
              </a:rPr>
              <a:t>частью</a:t>
            </a:r>
            <a:r>
              <a:rPr dirty="0">
                <a:latin typeface="VTB Group Demi Bold" panose="020B0703050504020204" pitchFamily="34" charset="-52"/>
              </a:rPr>
              <a:t> </a:t>
            </a:r>
            <a:r>
              <a:rPr lang="ru-RU" dirty="0" smtClean="0">
                <a:latin typeface="VTB Group Demi Bold" panose="020B0703050504020204" pitchFamily="34" charset="-52"/>
              </a:rPr>
              <a:t>команды </a:t>
            </a:r>
            <a:r>
              <a:rPr dirty="0" smtClean="0">
                <a:latin typeface="VTB Group Demi Bold" panose="020B0703050504020204" pitchFamily="34" charset="-52"/>
              </a:rPr>
              <a:t>ВТБ</a:t>
            </a:r>
            <a:r>
              <a:rPr dirty="0">
                <a:latin typeface="VTB Group Demi Bold" panose="020B0703050504020204" pitchFamily="34" charset="-52"/>
              </a:rPr>
              <a:t>!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0415" y="7694605"/>
            <a:ext cx="5095897" cy="4993979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240" y="3240"/>
          <a:ext cx="3240" cy="32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4" name="Слайд think-cell" r:id="rId344" imgW="338" imgH="338" progId="TCLayout.ActiveDocument.1">
                  <p:embed/>
                </p:oleObj>
              </mc:Choice>
              <mc:Fallback>
                <p:oleObj name="Слайд think-cell" r:id="rId344" imgW="338" imgH="33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345"/>
                      <a:stretch>
                        <a:fillRect/>
                      </a:stretch>
                    </p:blipFill>
                    <p:spPr>
                      <a:xfrm>
                        <a:off x="3240" y="3240"/>
                        <a:ext cx="3240" cy="32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7" y="0"/>
            <a:ext cx="323954" cy="32394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8613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VTB Group Demi Bold" pitchFamily="34" charset="-52"/>
              </a:rPr>
              <a:t>Группа ВТБ сегодня</a:t>
            </a:r>
          </a:p>
        </p:txBody>
      </p:sp>
      <p:sp>
        <p:nvSpPr>
          <p:cNvPr id="6" name="Прямоугольник 5"/>
          <p:cNvSpPr/>
          <p:nvPr>
            <p:custDataLst>
              <p:tags r:id="rId4"/>
            </p:custDataLst>
          </p:nvPr>
        </p:nvSpPr>
        <p:spPr>
          <a:xfrm>
            <a:off x="751578" y="1862752"/>
            <a:ext cx="6812748" cy="813112"/>
          </a:xfrm>
          <a:prstGeom prst="rect">
            <a:avLst/>
          </a:prstGeom>
          <a:solidFill>
            <a:schemeClr val="accent4"/>
          </a:solidFill>
          <a:ln>
            <a:solidFill>
              <a:schemeClr val="bg2"/>
            </a:solidFill>
          </a:ln>
        </p:spPr>
        <p:txBody>
          <a:bodyPr wrap="square" lIns="146554" tIns="146554" rIns="146554" bIns="146554" anchor="ctr" anchorCtr="0">
            <a:no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TB Group Demi Bold" pitchFamily="34" charset="-52"/>
                <a:ea typeface="+mn-ea"/>
                <a:cs typeface="Arial" pitchFamily="34" charset="0"/>
                <a:sym typeface="Helvetica Neue"/>
              </a:rPr>
              <a:t>Группа ВТБ в России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TB Group Demi Bold" pitchFamily="34" charset="-52"/>
              <a:ea typeface="+mn-ea"/>
              <a:cs typeface="Arial" pitchFamily="34" charset="0"/>
              <a:sym typeface="Helvetica Neue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1480523" y="3514848"/>
            <a:ext cx="197935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1861380" rtl="0" eaLnBrk="1" fontAlgn="base" latinLnBrk="0" hangingPunct="1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ea typeface="Arial" charset="0"/>
                <a:cs typeface="Arial"/>
                <a:sym typeface="Helvetica Neue"/>
              </a:rPr>
              <a:t>Кредиты ЮЛ</a:t>
            </a:r>
          </a:p>
        </p:txBody>
      </p:sp>
      <p:sp>
        <p:nvSpPr>
          <p:cNvPr id="8" name="Прямоугольник 7"/>
          <p:cNvSpPr/>
          <p:nvPr>
            <p:custDataLst>
              <p:tags r:id="rId6"/>
            </p:custDataLst>
          </p:nvPr>
        </p:nvSpPr>
        <p:spPr>
          <a:xfrm>
            <a:off x="4869976" y="3514848"/>
            <a:ext cx="1949252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1861380" rtl="0" eaLnBrk="1" fontAlgn="base" latinLnBrk="0" hangingPunct="1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ea typeface="Arial" charset="0"/>
                <a:cs typeface="Arial"/>
                <a:sym typeface="Helvetica Neue"/>
              </a:rPr>
              <a:t>Средства ЮЛ</a:t>
            </a:r>
          </a:p>
        </p:txBody>
      </p:sp>
      <p:sp>
        <p:nvSpPr>
          <p:cNvPr id="9" name="Прямоугольник 8"/>
          <p:cNvSpPr/>
          <p:nvPr>
            <p:custDataLst>
              <p:tags r:id="rId7"/>
            </p:custDataLst>
          </p:nvPr>
        </p:nvSpPr>
        <p:spPr>
          <a:xfrm>
            <a:off x="1506432" y="4723674"/>
            <a:ext cx="1966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1861380" rtl="0" eaLnBrk="1" fontAlgn="base" latinLnBrk="0" hangingPunct="1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ea typeface="Arial" charset="0"/>
                <a:cs typeface="Arial"/>
                <a:sym typeface="Helvetica Neue"/>
              </a:rPr>
              <a:t>Кредиты ФЛ</a:t>
            </a:r>
            <a:r>
              <a:rPr kumimoji="0" lang="ru-RU" sz="2400" b="0" i="0" u="none" strike="noStrike" kern="1200" cap="none" spc="0" normalizeH="0" baseline="3000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ea typeface="Arial" charset="0"/>
                <a:cs typeface="Arial"/>
                <a:sym typeface="Helvetica Neue"/>
              </a:rPr>
              <a:t>1</a:t>
            </a:r>
          </a:p>
        </p:txBody>
      </p:sp>
      <p:sp>
        <p:nvSpPr>
          <p:cNvPr id="10" name="Прямоугольник 9"/>
          <p:cNvSpPr/>
          <p:nvPr>
            <p:custDataLst>
              <p:tags r:id="rId8"/>
            </p:custDataLst>
          </p:nvPr>
        </p:nvSpPr>
        <p:spPr>
          <a:xfrm>
            <a:off x="4910870" y="4723176"/>
            <a:ext cx="1875963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1861380" rtl="0" eaLnBrk="1" fontAlgn="base" latinLnBrk="0" hangingPunct="1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ea typeface="Arial" charset="0"/>
                <a:cs typeface="Arial"/>
                <a:sym typeface="Helvetica Neue"/>
              </a:rPr>
              <a:t>Средства ФЛ</a:t>
            </a:r>
          </a:p>
        </p:txBody>
      </p:sp>
      <p:sp>
        <p:nvSpPr>
          <p:cNvPr id="16" name="TextBox 1"/>
          <p:cNvSpPr txBox="1"/>
          <p:nvPr/>
        </p:nvSpPr>
        <p:spPr>
          <a:xfrm>
            <a:off x="4101255" y="2666157"/>
            <a:ext cx="3463066" cy="848746"/>
          </a:xfrm>
          <a:prstGeom prst="rect">
            <a:avLst/>
          </a:prstGeom>
        </p:spPr>
        <p:txBody>
          <a:bodyPr wrap="none" lIns="0" tIns="0" rIns="0" bIns="0" rtlCol="0" anchor="ctr"/>
          <a:lstStyle>
            <a:defPPr>
              <a:defRPr lang="en-US"/>
            </a:defPPr>
            <a:lvl1pPr marL="0" indent="0" algn="ctr">
              <a:spcBef>
                <a:spcPts val="600"/>
              </a:spcBef>
              <a:defRPr sz="2400" b="1">
                <a:solidFill>
                  <a:schemeClr val="accent4"/>
                </a:solidFill>
                <a:latin typeface="+mn-lt"/>
                <a:ea typeface="Arial" charset="0"/>
                <a:cs typeface="Arial"/>
              </a:defRPr>
            </a:lvl1pPr>
            <a:lvl2pPr marL="457200" indent="0">
              <a:defRPr sz="1100">
                <a:latin typeface="+mn-lt"/>
              </a:defRPr>
            </a:lvl2pPr>
            <a:lvl3pPr marL="914400" indent="0">
              <a:defRPr sz="1100">
                <a:latin typeface="+mn-lt"/>
              </a:defRPr>
            </a:lvl3pPr>
            <a:lvl4pPr marL="1371600" indent="0">
              <a:defRPr sz="1100">
                <a:latin typeface="+mn-lt"/>
              </a:defRPr>
            </a:lvl4pPr>
            <a:lvl5pPr marL="1828800" indent="0">
              <a:defRPr sz="1100">
                <a:latin typeface="+mn-lt"/>
              </a:defRPr>
            </a:lvl5pPr>
            <a:lvl6pPr marL="2286000" indent="0">
              <a:defRPr sz="1100">
                <a:latin typeface="+mn-lt"/>
              </a:defRPr>
            </a:lvl6pPr>
            <a:lvl7pPr marL="2743200" indent="0">
              <a:defRPr sz="1100">
                <a:latin typeface="+mn-lt"/>
              </a:defRPr>
            </a:lvl7pPr>
            <a:lvl8pPr marL="3200400" indent="0">
              <a:defRPr sz="1100">
                <a:latin typeface="+mn-lt"/>
              </a:defRPr>
            </a:lvl8pPr>
            <a:lvl9pPr marL="3657600" indent="0">
              <a:defRPr sz="1100">
                <a:latin typeface="+mn-lt"/>
              </a:defRPr>
            </a:lvl9pPr>
          </a:lstStyle>
          <a:p>
            <a:pPr marL="0" marR="0" lvl="0" indent="0" algn="ctr" defTabSz="186138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cs typeface="Arial"/>
                <a:sym typeface="Helvetica Neue"/>
              </a:rPr>
              <a:t>19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cs typeface="Arial"/>
                <a:sym typeface="Helvetica Neue"/>
              </a:rPr>
              <a:t>%</a:t>
            </a: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/>
              <a:cs typeface="Arial"/>
              <a:sym typeface="Helvetica Neue"/>
            </a:endParaRPr>
          </a:p>
        </p:txBody>
      </p:sp>
      <p:grpSp>
        <p:nvGrpSpPr>
          <p:cNvPr id="966" name="Группа 965">
            <a:extLst>
              <a:ext uri="{FF2B5EF4-FFF2-40B4-BE49-F238E27FC236}">
                <a16:creationId xmlns:a16="http://schemas.microsoft.com/office/drawing/2014/main" id="{63DF406C-4029-4B16-9D64-883833E71BCC}"/>
              </a:ext>
            </a:extLst>
          </p:cNvPr>
          <p:cNvGrpSpPr/>
          <p:nvPr/>
        </p:nvGrpSpPr>
        <p:grpSpPr>
          <a:xfrm>
            <a:off x="8617223" y="1980124"/>
            <a:ext cx="13861982" cy="5592388"/>
            <a:chOff x="3227832" y="1472567"/>
            <a:chExt cx="8448232" cy="5284492"/>
          </a:xfrm>
          <a:solidFill>
            <a:schemeClr val="accent1"/>
          </a:solidFill>
        </p:grpSpPr>
        <p:sp>
          <p:nvSpPr>
            <p:cNvPr id="967" name="Freeform 512">
              <a:extLst>
                <a:ext uri="{FF2B5EF4-FFF2-40B4-BE49-F238E27FC236}">
                  <a16:creationId xmlns:a16="http://schemas.microsoft.com/office/drawing/2014/main" id="{11F8A7A2-29DA-BA4B-BCCE-5C299C159D02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7828916" y="1588365"/>
              <a:ext cx="3847148" cy="2170643"/>
            </a:xfrm>
            <a:custGeom>
              <a:avLst/>
              <a:gdLst>
                <a:gd name="connsiteX0" fmla="*/ 169736 w 4110985"/>
                <a:gd name="connsiteY0" fmla="*/ 2153248 h 2319505"/>
                <a:gd name="connsiteX1" fmla="*/ 197853 w 4110985"/>
                <a:gd name="connsiteY1" fmla="*/ 2155241 h 2319505"/>
                <a:gd name="connsiteX2" fmla="*/ 234527 w 4110985"/>
                <a:gd name="connsiteY2" fmla="*/ 2174679 h 2319505"/>
                <a:gd name="connsiteX3" fmla="*/ 178293 w 4110985"/>
                <a:gd name="connsiteY3" fmla="*/ 2215051 h 2319505"/>
                <a:gd name="connsiteX4" fmla="*/ 159956 w 4110985"/>
                <a:gd name="connsiteY4" fmla="*/ 2218041 h 2319505"/>
                <a:gd name="connsiteX5" fmla="*/ 161178 w 4110985"/>
                <a:gd name="connsiteY5" fmla="*/ 2195612 h 2319505"/>
                <a:gd name="connsiteX6" fmla="*/ 137951 w 4110985"/>
                <a:gd name="connsiteY6" fmla="*/ 2176174 h 2319505"/>
                <a:gd name="connsiteX7" fmla="*/ 1944646 w 4110985"/>
                <a:gd name="connsiteY7" fmla="*/ 0 h 2319505"/>
                <a:gd name="connsiteX8" fmla="*/ 1992480 w 4110985"/>
                <a:gd name="connsiteY8" fmla="*/ 37103 h 2319505"/>
                <a:gd name="connsiteX9" fmla="*/ 1944646 w 4110985"/>
                <a:gd name="connsiteY9" fmla="*/ 73082 h 2319505"/>
                <a:gd name="connsiteX10" fmla="*/ 2023756 w 4110985"/>
                <a:gd name="connsiteY10" fmla="*/ 91071 h 2319505"/>
                <a:gd name="connsiteX11" fmla="*/ 1992480 w 4110985"/>
                <a:gd name="connsiteY11" fmla="*/ 161904 h 2319505"/>
                <a:gd name="connsiteX12" fmla="*/ 2040314 w 4110985"/>
                <a:gd name="connsiteY12" fmla="*/ 161904 h 2319505"/>
                <a:gd name="connsiteX13" fmla="*/ 2040314 w 4110985"/>
                <a:gd name="connsiteY13" fmla="*/ 127050 h 2319505"/>
                <a:gd name="connsiteX14" fmla="*/ 2119425 w 4110985"/>
                <a:gd name="connsiteY14" fmla="*/ 127050 h 2319505"/>
                <a:gd name="connsiteX15" fmla="*/ 2184737 w 4110985"/>
                <a:gd name="connsiteY15" fmla="*/ 199008 h 2319505"/>
                <a:gd name="connsiteX16" fmla="*/ 2184737 w 4110985"/>
                <a:gd name="connsiteY16" fmla="*/ 306944 h 2319505"/>
                <a:gd name="connsiteX17" fmla="*/ 2023756 w 4110985"/>
                <a:gd name="connsiteY17" fmla="*/ 468848 h 2319505"/>
                <a:gd name="connsiteX18" fmla="*/ 2008118 w 4110985"/>
                <a:gd name="connsiteY18" fmla="*/ 522816 h 2319505"/>
                <a:gd name="connsiteX19" fmla="*/ 2023756 w 4110985"/>
                <a:gd name="connsiteY19" fmla="*/ 522816 h 2319505"/>
                <a:gd name="connsiteX20" fmla="*/ 2087229 w 4110985"/>
                <a:gd name="connsiteY20" fmla="*/ 485713 h 2319505"/>
                <a:gd name="connsiteX21" fmla="*/ 2071591 w 4110985"/>
                <a:gd name="connsiteY21" fmla="*/ 450859 h 2319505"/>
                <a:gd name="connsiteX22" fmla="*/ 2087229 w 4110985"/>
                <a:gd name="connsiteY22" fmla="*/ 431745 h 2319505"/>
                <a:gd name="connsiteX23" fmla="*/ 2184737 w 4110985"/>
                <a:gd name="connsiteY23" fmla="*/ 485713 h 2319505"/>
                <a:gd name="connsiteX24" fmla="*/ 2232571 w 4110985"/>
                <a:gd name="connsiteY24" fmla="*/ 450859 h 2319505"/>
                <a:gd name="connsiteX25" fmla="*/ 2311682 w 4110985"/>
                <a:gd name="connsiteY25" fmla="*/ 468848 h 2319505"/>
                <a:gd name="connsiteX26" fmla="*/ 2296043 w 4110985"/>
                <a:gd name="connsiteY26" fmla="*/ 522816 h 2319505"/>
                <a:gd name="connsiteX27" fmla="*/ 2422988 w 4110985"/>
                <a:gd name="connsiteY27" fmla="*/ 539681 h 2319505"/>
                <a:gd name="connsiteX28" fmla="*/ 2407350 w 4110985"/>
                <a:gd name="connsiteY28" fmla="*/ 504827 h 2319505"/>
                <a:gd name="connsiteX29" fmla="*/ 2422988 w 4110985"/>
                <a:gd name="connsiteY29" fmla="*/ 468848 h 2319505"/>
                <a:gd name="connsiteX30" fmla="*/ 2455184 w 4110985"/>
                <a:gd name="connsiteY30" fmla="*/ 468848 h 2319505"/>
                <a:gd name="connsiteX31" fmla="*/ 2549933 w 4110985"/>
                <a:gd name="connsiteY31" fmla="*/ 504827 h 2319505"/>
                <a:gd name="connsiteX32" fmla="*/ 2582129 w 4110985"/>
                <a:gd name="connsiteY32" fmla="*/ 558795 h 2319505"/>
                <a:gd name="connsiteX33" fmla="*/ 2566491 w 4110985"/>
                <a:gd name="connsiteY33" fmla="*/ 647618 h 2319505"/>
                <a:gd name="connsiteX34" fmla="*/ 2597767 w 4110985"/>
                <a:gd name="connsiteY34" fmla="*/ 720699 h 2319505"/>
                <a:gd name="connsiteX35" fmla="*/ 2629963 w 4110985"/>
                <a:gd name="connsiteY35" fmla="*/ 737564 h 2319505"/>
                <a:gd name="connsiteX36" fmla="*/ 2661239 w 4110985"/>
                <a:gd name="connsiteY36" fmla="*/ 629628 h 2319505"/>
                <a:gd name="connsiteX37" fmla="*/ 2709074 w 4110985"/>
                <a:gd name="connsiteY37" fmla="*/ 683596 h 2319505"/>
                <a:gd name="connsiteX38" fmla="*/ 2741270 w 4110985"/>
                <a:gd name="connsiteY38" fmla="*/ 666731 h 2319505"/>
                <a:gd name="connsiteX39" fmla="*/ 2756908 w 4110985"/>
                <a:gd name="connsiteY39" fmla="*/ 666731 h 2319505"/>
                <a:gd name="connsiteX40" fmla="*/ 2854416 w 4110985"/>
                <a:gd name="connsiteY40" fmla="*/ 666731 h 2319505"/>
                <a:gd name="connsiteX41" fmla="*/ 2822220 w 4110985"/>
                <a:gd name="connsiteY41" fmla="*/ 612763 h 2319505"/>
                <a:gd name="connsiteX42" fmla="*/ 2854416 w 4110985"/>
                <a:gd name="connsiteY42" fmla="*/ 539681 h 2319505"/>
                <a:gd name="connsiteX43" fmla="*/ 2981361 w 4110985"/>
                <a:gd name="connsiteY43" fmla="*/ 575660 h 2319505"/>
                <a:gd name="connsiteX44" fmla="*/ 3092667 w 4110985"/>
                <a:gd name="connsiteY44" fmla="*/ 612763 h 2319505"/>
                <a:gd name="connsiteX45" fmla="*/ 3092667 w 4110985"/>
                <a:gd name="connsiteY45" fmla="*/ 666731 h 2319505"/>
                <a:gd name="connsiteX46" fmla="*/ 3108306 w 4110985"/>
                <a:gd name="connsiteY46" fmla="*/ 683596 h 2319505"/>
                <a:gd name="connsiteX47" fmla="*/ 3140502 w 4110985"/>
                <a:gd name="connsiteY47" fmla="*/ 683596 h 2319505"/>
                <a:gd name="connsiteX48" fmla="*/ 3156140 w 4110985"/>
                <a:gd name="connsiteY48" fmla="*/ 737564 h 2319505"/>
                <a:gd name="connsiteX49" fmla="*/ 3251809 w 4110985"/>
                <a:gd name="connsiteY49" fmla="*/ 701586 h 2319505"/>
                <a:gd name="connsiteX50" fmla="*/ 3315281 w 4110985"/>
                <a:gd name="connsiteY50" fmla="*/ 720699 h 2319505"/>
                <a:gd name="connsiteX51" fmla="*/ 3346557 w 4110985"/>
                <a:gd name="connsiteY51" fmla="*/ 774668 h 2319505"/>
                <a:gd name="connsiteX52" fmla="*/ 3330919 w 4110985"/>
                <a:gd name="connsiteY52" fmla="*/ 809522 h 2319505"/>
                <a:gd name="connsiteX53" fmla="*/ 3362195 w 4110985"/>
                <a:gd name="connsiteY53" fmla="*/ 828636 h 2319505"/>
                <a:gd name="connsiteX54" fmla="*/ 3442225 w 4110985"/>
                <a:gd name="connsiteY54" fmla="*/ 828636 h 2319505"/>
                <a:gd name="connsiteX55" fmla="*/ 3523176 w 4110985"/>
                <a:gd name="connsiteY55" fmla="*/ 845501 h 2319505"/>
                <a:gd name="connsiteX56" fmla="*/ 3555372 w 4110985"/>
                <a:gd name="connsiteY56" fmla="*/ 809522 h 2319505"/>
                <a:gd name="connsiteX57" fmla="*/ 3586648 w 4110985"/>
                <a:gd name="connsiteY57" fmla="*/ 809522 h 2319505"/>
                <a:gd name="connsiteX58" fmla="*/ 3571010 w 4110985"/>
                <a:gd name="connsiteY58" fmla="*/ 828636 h 2319505"/>
                <a:gd name="connsiteX59" fmla="*/ 3555372 w 4110985"/>
                <a:gd name="connsiteY59" fmla="*/ 828636 h 2319505"/>
                <a:gd name="connsiteX60" fmla="*/ 3555372 w 4110985"/>
                <a:gd name="connsiteY60" fmla="*/ 863490 h 2319505"/>
                <a:gd name="connsiteX61" fmla="*/ 3586648 w 4110985"/>
                <a:gd name="connsiteY61" fmla="*/ 899469 h 2319505"/>
                <a:gd name="connsiteX62" fmla="*/ 3618844 w 4110985"/>
                <a:gd name="connsiteY62" fmla="*/ 882604 h 2319505"/>
                <a:gd name="connsiteX63" fmla="*/ 3618844 w 4110985"/>
                <a:gd name="connsiteY63" fmla="*/ 791533 h 2319505"/>
                <a:gd name="connsiteX64" fmla="*/ 3745789 w 4110985"/>
                <a:gd name="connsiteY64" fmla="*/ 809522 h 2319505"/>
                <a:gd name="connsiteX65" fmla="*/ 3841457 w 4110985"/>
                <a:gd name="connsiteY65" fmla="*/ 882604 h 2319505"/>
                <a:gd name="connsiteX66" fmla="*/ 3984040 w 4110985"/>
                <a:gd name="connsiteY66" fmla="*/ 1025395 h 2319505"/>
                <a:gd name="connsiteX67" fmla="*/ 4064071 w 4110985"/>
                <a:gd name="connsiteY67" fmla="*/ 1044508 h 2319505"/>
                <a:gd name="connsiteX68" fmla="*/ 4110985 w 4110985"/>
                <a:gd name="connsiteY68" fmla="*/ 1098476 h 2319505"/>
                <a:gd name="connsiteX69" fmla="*/ 4079709 w 4110985"/>
                <a:gd name="connsiteY69" fmla="*/ 1133331 h 2319505"/>
                <a:gd name="connsiteX70" fmla="*/ 4047513 w 4110985"/>
                <a:gd name="connsiteY70" fmla="*/ 1133331 h 2319505"/>
                <a:gd name="connsiteX71" fmla="*/ 4047513 w 4110985"/>
                <a:gd name="connsiteY71" fmla="*/ 1169310 h 2319505"/>
                <a:gd name="connsiteX72" fmla="*/ 4031875 w 4110985"/>
                <a:gd name="connsiteY72" fmla="*/ 1223278 h 2319505"/>
                <a:gd name="connsiteX73" fmla="*/ 3952764 w 4110985"/>
                <a:gd name="connsiteY73" fmla="*/ 1169310 h 2319505"/>
                <a:gd name="connsiteX74" fmla="*/ 3920568 w 4110985"/>
                <a:gd name="connsiteY74" fmla="*/ 1133331 h 2319505"/>
                <a:gd name="connsiteX75" fmla="*/ 3889292 w 4110985"/>
                <a:gd name="connsiteY75" fmla="*/ 1133331 h 2319505"/>
                <a:gd name="connsiteX76" fmla="*/ 3872734 w 4110985"/>
                <a:gd name="connsiteY76" fmla="*/ 1079363 h 2319505"/>
                <a:gd name="connsiteX77" fmla="*/ 3857095 w 4110985"/>
                <a:gd name="connsiteY77" fmla="*/ 1098476 h 2319505"/>
                <a:gd name="connsiteX78" fmla="*/ 3872734 w 4110985"/>
                <a:gd name="connsiteY78" fmla="*/ 1133331 h 2319505"/>
                <a:gd name="connsiteX79" fmla="*/ 3841457 w 4110985"/>
                <a:gd name="connsiteY79" fmla="*/ 1169310 h 2319505"/>
                <a:gd name="connsiteX80" fmla="*/ 3809261 w 4110985"/>
                <a:gd name="connsiteY80" fmla="*/ 1187299 h 2319505"/>
                <a:gd name="connsiteX81" fmla="*/ 3793623 w 4110985"/>
                <a:gd name="connsiteY81" fmla="*/ 1187299 h 2319505"/>
                <a:gd name="connsiteX82" fmla="*/ 3793623 w 4110985"/>
                <a:gd name="connsiteY82" fmla="*/ 1223278 h 2319505"/>
                <a:gd name="connsiteX83" fmla="*/ 3809261 w 4110985"/>
                <a:gd name="connsiteY83" fmla="*/ 1223278 h 2319505"/>
                <a:gd name="connsiteX84" fmla="*/ 3841457 w 4110985"/>
                <a:gd name="connsiteY84" fmla="*/ 1331214 h 2319505"/>
                <a:gd name="connsiteX85" fmla="*/ 3824899 w 4110985"/>
                <a:gd name="connsiteY85" fmla="*/ 1348079 h 2319505"/>
                <a:gd name="connsiteX86" fmla="*/ 3777985 w 4110985"/>
                <a:gd name="connsiteY86" fmla="*/ 1331214 h 2319505"/>
                <a:gd name="connsiteX87" fmla="*/ 3618844 w 4110985"/>
                <a:gd name="connsiteY87" fmla="*/ 1456015 h 2319505"/>
                <a:gd name="connsiteX88" fmla="*/ 3603206 w 4110985"/>
                <a:gd name="connsiteY88" fmla="*/ 1493118 h 2319505"/>
                <a:gd name="connsiteX89" fmla="*/ 3571010 w 4110985"/>
                <a:gd name="connsiteY89" fmla="*/ 1456015 h 2319505"/>
                <a:gd name="connsiteX90" fmla="*/ 3523176 w 4110985"/>
                <a:gd name="connsiteY90" fmla="*/ 1476253 h 2319505"/>
                <a:gd name="connsiteX91" fmla="*/ 3507538 w 4110985"/>
                <a:gd name="connsiteY91" fmla="*/ 1493118 h 2319505"/>
                <a:gd name="connsiteX92" fmla="*/ 3507538 w 4110985"/>
                <a:gd name="connsiteY92" fmla="*/ 1456015 h 2319505"/>
                <a:gd name="connsiteX93" fmla="*/ 3457864 w 4110985"/>
                <a:gd name="connsiteY93" fmla="*/ 1493118 h 2319505"/>
                <a:gd name="connsiteX94" fmla="*/ 3426587 w 4110985"/>
                <a:gd name="connsiteY94" fmla="*/ 1493118 h 2319505"/>
                <a:gd name="connsiteX95" fmla="*/ 3426587 w 4110985"/>
                <a:gd name="connsiteY95" fmla="*/ 1530221 h 2319505"/>
                <a:gd name="connsiteX96" fmla="*/ 3394391 w 4110985"/>
                <a:gd name="connsiteY96" fmla="*/ 1584189 h 2319505"/>
                <a:gd name="connsiteX97" fmla="*/ 3394391 w 4110985"/>
                <a:gd name="connsiteY97" fmla="*/ 1601055 h 2319505"/>
                <a:gd name="connsiteX98" fmla="*/ 3410029 w 4110985"/>
                <a:gd name="connsiteY98" fmla="*/ 1601055 h 2319505"/>
                <a:gd name="connsiteX99" fmla="*/ 3426587 w 4110985"/>
                <a:gd name="connsiteY99" fmla="*/ 1601055 h 2319505"/>
                <a:gd name="connsiteX100" fmla="*/ 3410029 w 4110985"/>
                <a:gd name="connsiteY100" fmla="*/ 1655023 h 2319505"/>
                <a:gd name="connsiteX101" fmla="*/ 3426587 w 4110985"/>
                <a:gd name="connsiteY101" fmla="*/ 1655023 h 2319505"/>
                <a:gd name="connsiteX102" fmla="*/ 3426587 w 4110985"/>
                <a:gd name="connsiteY102" fmla="*/ 1692126 h 2319505"/>
                <a:gd name="connsiteX103" fmla="*/ 3410029 w 4110985"/>
                <a:gd name="connsiteY103" fmla="*/ 1692126 h 2319505"/>
                <a:gd name="connsiteX104" fmla="*/ 3378753 w 4110985"/>
                <a:gd name="connsiteY104" fmla="*/ 1708991 h 2319505"/>
                <a:gd name="connsiteX105" fmla="*/ 3394391 w 4110985"/>
                <a:gd name="connsiteY105" fmla="*/ 1762959 h 2319505"/>
                <a:gd name="connsiteX106" fmla="*/ 3362195 w 4110985"/>
                <a:gd name="connsiteY106" fmla="*/ 1779824 h 2319505"/>
                <a:gd name="connsiteX107" fmla="*/ 3346557 w 4110985"/>
                <a:gd name="connsiteY107" fmla="*/ 1779824 h 2319505"/>
                <a:gd name="connsiteX108" fmla="*/ 3346557 w 4110985"/>
                <a:gd name="connsiteY108" fmla="*/ 1833792 h 2319505"/>
                <a:gd name="connsiteX109" fmla="*/ 3330919 w 4110985"/>
                <a:gd name="connsiteY109" fmla="*/ 1833792 h 2319505"/>
                <a:gd name="connsiteX110" fmla="*/ 3298723 w 4110985"/>
                <a:gd name="connsiteY110" fmla="*/ 1906874 h 2319505"/>
                <a:gd name="connsiteX111" fmla="*/ 3267447 w 4110985"/>
                <a:gd name="connsiteY111" fmla="*/ 1941728 h 2319505"/>
                <a:gd name="connsiteX112" fmla="*/ 3235251 w 4110985"/>
                <a:gd name="connsiteY112" fmla="*/ 1725856 h 2319505"/>
                <a:gd name="connsiteX113" fmla="*/ 3267447 w 4110985"/>
                <a:gd name="connsiteY113" fmla="*/ 1601055 h 2319505"/>
                <a:gd name="connsiteX114" fmla="*/ 3298723 w 4110985"/>
                <a:gd name="connsiteY114" fmla="*/ 1584189 h 2319505"/>
                <a:gd name="connsiteX115" fmla="*/ 3394391 w 4110985"/>
                <a:gd name="connsiteY115" fmla="*/ 1456015 h 2319505"/>
                <a:gd name="connsiteX116" fmla="*/ 3426587 w 4110985"/>
                <a:gd name="connsiteY116" fmla="*/ 1439150 h 2319505"/>
                <a:gd name="connsiteX117" fmla="*/ 3442225 w 4110985"/>
                <a:gd name="connsiteY117" fmla="*/ 1348079 h 2319505"/>
                <a:gd name="connsiteX118" fmla="*/ 3457864 w 4110985"/>
                <a:gd name="connsiteY118" fmla="*/ 1331214 h 2319505"/>
                <a:gd name="connsiteX119" fmla="*/ 3426587 w 4110985"/>
                <a:gd name="connsiteY119" fmla="*/ 1331214 h 2319505"/>
                <a:gd name="connsiteX120" fmla="*/ 3426587 w 4110985"/>
                <a:gd name="connsiteY120" fmla="*/ 1385182 h 2319505"/>
                <a:gd name="connsiteX121" fmla="*/ 3346557 w 4110985"/>
                <a:gd name="connsiteY121" fmla="*/ 1439150 h 2319505"/>
                <a:gd name="connsiteX122" fmla="*/ 3346557 w 4110985"/>
                <a:gd name="connsiteY122" fmla="*/ 1402047 h 2319505"/>
                <a:gd name="connsiteX123" fmla="*/ 3346557 w 4110985"/>
                <a:gd name="connsiteY123" fmla="*/ 1368317 h 2319505"/>
                <a:gd name="connsiteX124" fmla="*/ 3267447 w 4110985"/>
                <a:gd name="connsiteY124" fmla="*/ 1385182 h 2319505"/>
                <a:gd name="connsiteX125" fmla="*/ 3203974 w 4110985"/>
                <a:gd name="connsiteY125" fmla="*/ 1509983 h 2319505"/>
                <a:gd name="connsiteX126" fmla="*/ 3219612 w 4110985"/>
                <a:gd name="connsiteY126" fmla="*/ 1530221 h 2319505"/>
                <a:gd name="connsiteX127" fmla="*/ 3123944 w 4110985"/>
                <a:gd name="connsiteY127" fmla="*/ 1547086 h 2319505"/>
                <a:gd name="connsiteX128" fmla="*/ 3123944 w 4110985"/>
                <a:gd name="connsiteY128" fmla="*/ 1530221 h 2319505"/>
                <a:gd name="connsiteX129" fmla="*/ 3140502 w 4110985"/>
                <a:gd name="connsiteY129" fmla="*/ 1509983 h 2319505"/>
                <a:gd name="connsiteX130" fmla="*/ 3123944 w 4110985"/>
                <a:gd name="connsiteY130" fmla="*/ 1509983 h 2319505"/>
                <a:gd name="connsiteX131" fmla="*/ 3076109 w 4110985"/>
                <a:gd name="connsiteY131" fmla="*/ 1493118 h 2319505"/>
                <a:gd name="connsiteX132" fmla="*/ 3060471 w 4110985"/>
                <a:gd name="connsiteY132" fmla="*/ 1530221 h 2319505"/>
                <a:gd name="connsiteX133" fmla="*/ 3012637 w 4110985"/>
                <a:gd name="connsiteY133" fmla="*/ 1509983 h 2319505"/>
                <a:gd name="connsiteX134" fmla="*/ 2996999 w 4110985"/>
                <a:gd name="connsiteY134" fmla="*/ 1530221 h 2319505"/>
                <a:gd name="connsiteX135" fmla="*/ 2981361 w 4110985"/>
                <a:gd name="connsiteY135" fmla="*/ 1509983 h 2319505"/>
                <a:gd name="connsiteX136" fmla="*/ 2917889 w 4110985"/>
                <a:gd name="connsiteY136" fmla="*/ 1530221 h 2319505"/>
                <a:gd name="connsiteX137" fmla="*/ 2772546 w 4110985"/>
                <a:gd name="connsiteY137" fmla="*/ 1692126 h 2319505"/>
                <a:gd name="connsiteX138" fmla="*/ 2724712 w 4110985"/>
                <a:gd name="connsiteY138" fmla="*/ 1746094 h 2319505"/>
                <a:gd name="connsiteX139" fmla="*/ 2724712 w 4110985"/>
                <a:gd name="connsiteY139" fmla="*/ 1762959 h 2319505"/>
                <a:gd name="connsiteX140" fmla="*/ 2756908 w 4110985"/>
                <a:gd name="connsiteY140" fmla="*/ 1762959 h 2319505"/>
                <a:gd name="connsiteX141" fmla="*/ 2772546 w 4110985"/>
                <a:gd name="connsiteY141" fmla="*/ 1779824 h 2319505"/>
                <a:gd name="connsiteX142" fmla="*/ 2789104 w 4110985"/>
                <a:gd name="connsiteY142" fmla="*/ 1779824 h 2319505"/>
                <a:gd name="connsiteX143" fmla="*/ 2772546 w 4110985"/>
                <a:gd name="connsiteY143" fmla="*/ 1816927 h 2319505"/>
                <a:gd name="connsiteX144" fmla="*/ 2804742 w 4110985"/>
                <a:gd name="connsiteY144" fmla="*/ 1816927 h 2319505"/>
                <a:gd name="connsiteX145" fmla="*/ 2822220 w 4110985"/>
                <a:gd name="connsiteY145" fmla="*/ 1779824 h 2319505"/>
                <a:gd name="connsiteX146" fmla="*/ 2837858 w 4110985"/>
                <a:gd name="connsiteY146" fmla="*/ 1779824 h 2319505"/>
                <a:gd name="connsiteX147" fmla="*/ 2870055 w 4110985"/>
                <a:gd name="connsiteY147" fmla="*/ 1833792 h 2319505"/>
                <a:gd name="connsiteX148" fmla="*/ 2870055 w 4110985"/>
                <a:gd name="connsiteY148" fmla="*/ 1887760 h 2319505"/>
                <a:gd name="connsiteX149" fmla="*/ 2854416 w 4110985"/>
                <a:gd name="connsiteY149" fmla="*/ 1924863 h 2319505"/>
                <a:gd name="connsiteX150" fmla="*/ 2854416 w 4110985"/>
                <a:gd name="connsiteY150" fmla="*/ 2049665 h 2319505"/>
                <a:gd name="connsiteX151" fmla="*/ 2709074 w 4110985"/>
                <a:gd name="connsiteY151" fmla="*/ 2248672 h 2319505"/>
                <a:gd name="connsiteX152" fmla="*/ 2661239 w 4110985"/>
                <a:gd name="connsiteY152" fmla="*/ 2284651 h 2319505"/>
                <a:gd name="connsiteX153" fmla="*/ 2645601 w 4110985"/>
                <a:gd name="connsiteY153" fmla="*/ 2265537 h 2319505"/>
                <a:gd name="connsiteX154" fmla="*/ 2645601 w 4110985"/>
                <a:gd name="connsiteY154" fmla="*/ 2248672 h 2319505"/>
                <a:gd name="connsiteX155" fmla="*/ 2629963 w 4110985"/>
                <a:gd name="connsiteY155" fmla="*/ 2248672 h 2319505"/>
                <a:gd name="connsiteX156" fmla="*/ 2613405 w 4110985"/>
                <a:gd name="connsiteY156" fmla="*/ 2194704 h 2319505"/>
                <a:gd name="connsiteX157" fmla="*/ 2645601 w 4110985"/>
                <a:gd name="connsiteY157" fmla="*/ 2176714 h 2319505"/>
                <a:gd name="connsiteX158" fmla="*/ 2661239 w 4110985"/>
                <a:gd name="connsiteY158" fmla="*/ 2194704 h 2319505"/>
                <a:gd name="connsiteX159" fmla="*/ 2709074 w 4110985"/>
                <a:gd name="connsiteY159" fmla="*/ 2086768 h 2319505"/>
                <a:gd name="connsiteX160" fmla="*/ 2709074 w 4110985"/>
                <a:gd name="connsiteY160" fmla="*/ 2049665 h 2319505"/>
                <a:gd name="connsiteX161" fmla="*/ 2645601 w 4110985"/>
                <a:gd name="connsiteY161" fmla="*/ 2068778 h 2319505"/>
                <a:gd name="connsiteX162" fmla="*/ 2613405 w 4110985"/>
                <a:gd name="connsiteY162" fmla="*/ 2068778 h 2319505"/>
                <a:gd name="connsiteX163" fmla="*/ 2613405 w 4110985"/>
                <a:gd name="connsiteY163" fmla="*/ 2032800 h 2319505"/>
                <a:gd name="connsiteX164" fmla="*/ 2566491 w 4110985"/>
                <a:gd name="connsiteY164" fmla="*/ 1995696 h 2319505"/>
                <a:gd name="connsiteX165" fmla="*/ 2534295 w 4110985"/>
                <a:gd name="connsiteY165" fmla="*/ 1995696 h 2319505"/>
                <a:gd name="connsiteX166" fmla="*/ 2503019 w 4110985"/>
                <a:gd name="connsiteY166" fmla="*/ 1870895 h 2319505"/>
                <a:gd name="connsiteX167" fmla="*/ 2470823 w 4110985"/>
                <a:gd name="connsiteY167" fmla="*/ 1833792 h 2319505"/>
                <a:gd name="connsiteX168" fmla="*/ 2422988 w 4110985"/>
                <a:gd name="connsiteY168" fmla="*/ 1816927 h 2319505"/>
                <a:gd name="connsiteX169" fmla="*/ 2359516 w 4110985"/>
                <a:gd name="connsiteY169" fmla="*/ 1833792 h 2319505"/>
                <a:gd name="connsiteX170" fmla="*/ 2343878 w 4110985"/>
                <a:gd name="connsiteY170" fmla="*/ 1870895 h 2319505"/>
                <a:gd name="connsiteX171" fmla="*/ 2359516 w 4110985"/>
                <a:gd name="connsiteY171" fmla="*/ 1870895 h 2319505"/>
                <a:gd name="connsiteX172" fmla="*/ 2359516 w 4110985"/>
                <a:gd name="connsiteY172" fmla="*/ 1887760 h 2319505"/>
                <a:gd name="connsiteX173" fmla="*/ 2343878 w 4110985"/>
                <a:gd name="connsiteY173" fmla="*/ 1906874 h 2319505"/>
                <a:gd name="connsiteX174" fmla="*/ 2327320 w 4110985"/>
                <a:gd name="connsiteY174" fmla="*/ 1978831 h 2319505"/>
                <a:gd name="connsiteX175" fmla="*/ 2280405 w 4110985"/>
                <a:gd name="connsiteY175" fmla="*/ 1995696 h 2319505"/>
                <a:gd name="connsiteX176" fmla="*/ 2248209 w 4110985"/>
                <a:gd name="connsiteY176" fmla="*/ 1978831 h 2319505"/>
                <a:gd name="connsiteX177" fmla="*/ 2200375 w 4110985"/>
                <a:gd name="connsiteY177" fmla="*/ 1960842 h 2319505"/>
                <a:gd name="connsiteX178" fmla="*/ 2169099 w 4110985"/>
                <a:gd name="connsiteY178" fmla="*/ 1995696 h 2319505"/>
                <a:gd name="connsiteX179" fmla="*/ 2103787 w 4110985"/>
                <a:gd name="connsiteY179" fmla="*/ 2014810 h 2319505"/>
                <a:gd name="connsiteX180" fmla="*/ 2055953 w 4110985"/>
                <a:gd name="connsiteY180" fmla="*/ 1995696 h 2319505"/>
                <a:gd name="connsiteX181" fmla="*/ 1960284 w 4110985"/>
                <a:gd name="connsiteY181" fmla="*/ 1941728 h 2319505"/>
                <a:gd name="connsiteX182" fmla="*/ 1929008 w 4110985"/>
                <a:gd name="connsiteY182" fmla="*/ 1960842 h 2319505"/>
                <a:gd name="connsiteX183" fmla="*/ 1912450 w 4110985"/>
                <a:gd name="connsiteY183" fmla="*/ 1960842 h 2319505"/>
                <a:gd name="connsiteX184" fmla="*/ 1881173 w 4110985"/>
                <a:gd name="connsiteY184" fmla="*/ 1906874 h 2319505"/>
                <a:gd name="connsiteX185" fmla="*/ 1817701 w 4110985"/>
                <a:gd name="connsiteY185" fmla="*/ 1887760 h 2319505"/>
                <a:gd name="connsiteX186" fmla="*/ 1785505 w 4110985"/>
                <a:gd name="connsiteY186" fmla="*/ 1906874 h 2319505"/>
                <a:gd name="connsiteX187" fmla="*/ 1785505 w 4110985"/>
                <a:gd name="connsiteY187" fmla="*/ 1941728 h 2319505"/>
                <a:gd name="connsiteX188" fmla="*/ 1785505 w 4110985"/>
                <a:gd name="connsiteY188" fmla="*/ 1978831 h 2319505"/>
                <a:gd name="connsiteX189" fmla="*/ 1722033 w 4110985"/>
                <a:gd name="connsiteY189" fmla="*/ 1978831 h 2319505"/>
                <a:gd name="connsiteX190" fmla="*/ 1689837 w 4110985"/>
                <a:gd name="connsiteY190" fmla="*/ 1960842 h 2319505"/>
                <a:gd name="connsiteX191" fmla="*/ 1626364 w 4110985"/>
                <a:gd name="connsiteY191" fmla="*/ 1941728 h 2319505"/>
                <a:gd name="connsiteX192" fmla="*/ 1547254 w 4110985"/>
                <a:gd name="connsiteY192" fmla="*/ 1995696 h 2319505"/>
                <a:gd name="connsiteX193" fmla="*/ 1531616 w 4110985"/>
                <a:gd name="connsiteY193" fmla="*/ 2014810 h 2319505"/>
                <a:gd name="connsiteX194" fmla="*/ 1499419 w 4110985"/>
                <a:gd name="connsiteY194" fmla="*/ 2032800 h 2319505"/>
                <a:gd name="connsiteX195" fmla="*/ 1515058 w 4110985"/>
                <a:gd name="connsiteY195" fmla="*/ 2014810 h 2319505"/>
                <a:gd name="connsiteX196" fmla="*/ 1499419 w 4110985"/>
                <a:gd name="connsiteY196" fmla="*/ 1978831 h 2319505"/>
                <a:gd name="connsiteX197" fmla="*/ 1499419 w 4110985"/>
                <a:gd name="connsiteY197" fmla="*/ 1995696 h 2319505"/>
                <a:gd name="connsiteX198" fmla="*/ 1468143 w 4110985"/>
                <a:gd name="connsiteY198" fmla="*/ 1978831 h 2319505"/>
                <a:gd name="connsiteX199" fmla="*/ 1418469 w 4110985"/>
                <a:gd name="connsiteY199" fmla="*/ 1924863 h 2319505"/>
                <a:gd name="connsiteX200" fmla="*/ 1370635 w 4110985"/>
                <a:gd name="connsiteY200" fmla="*/ 1941728 h 2319505"/>
                <a:gd name="connsiteX201" fmla="*/ 1354997 w 4110985"/>
                <a:gd name="connsiteY201" fmla="*/ 1906874 h 2319505"/>
                <a:gd name="connsiteX202" fmla="*/ 1338439 w 4110985"/>
                <a:gd name="connsiteY202" fmla="*/ 1941728 h 2319505"/>
                <a:gd name="connsiteX203" fmla="*/ 1274967 w 4110985"/>
                <a:gd name="connsiteY203" fmla="*/ 1816927 h 2319505"/>
                <a:gd name="connsiteX204" fmla="*/ 1259328 w 4110985"/>
                <a:gd name="connsiteY204" fmla="*/ 1762959 h 2319505"/>
                <a:gd name="connsiteX205" fmla="*/ 1227132 w 4110985"/>
                <a:gd name="connsiteY205" fmla="*/ 1779824 h 2319505"/>
                <a:gd name="connsiteX206" fmla="*/ 1195856 w 4110985"/>
                <a:gd name="connsiteY206" fmla="*/ 1816927 h 2319505"/>
                <a:gd name="connsiteX207" fmla="*/ 1163660 w 4110985"/>
                <a:gd name="connsiteY207" fmla="*/ 1816927 h 2319505"/>
                <a:gd name="connsiteX208" fmla="*/ 1163660 w 4110985"/>
                <a:gd name="connsiteY208" fmla="*/ 1798938 h 2319505"/>
                <a:gd name="connsiteX209" fmla="*/ 1132384 w 4110985"/>
                <a:gd name="connsiteY209" fmla="*/ 1779824 h 2319505"/>
                <a:gd name="connsiteX210" fmla="*/ 1116745 w 4110985"/>
                <a:gd name="connsiteY210" fmla="*/ 1779824 h 2319505"/>
                <a:gd name="connsiteX211" fmla="*/ 1116745 w 4110985"/>
                <a:gd name="connsiteY211" fmla="*/ 1762959 h 2319505"/>
                <a:gd name="connsiteX212" fmla="*/ 1100187 w 4110985"/>
                <a:gd name="connsiteY212" fmla="*/ 1725856 h 2319505"/>
                <a:gd name="connsiteX213" fmla="*/ 1052353 w 4110985"/>
                <a:gd name="connsiteY213" fmla="*/ 1725856 h 2319505"/>
                <a:gd name="connsiteX214" fmla="*/ 1036715 w 4110985"/>
                <a:gd name="connsiteY214" fmla="*/ 1725856 h 2319505"/>
                <a:gd name="connsiteX215" fmla="*/ 1036715 w 4110985"/>
                <a:gd name="connsiteY215" fmla="*/ 1746094 h 2319505"/>
                <a:gd name="connsiteX216" fmla="*/ 894132 w 4110985"/>
                <a:gd name="connsiteY216" fmla="*/ 1798938 h 2319505"/>
                <a:gd name="connsiteX217" fmla="*/ 861936 w 4110985"/>
                <a:gd name="connsiteY217" fmla="*/ 1779824 h 2319505"/>
                <a:gd name="connsiteX218" fmla="*/ 861936 w 4110985"/>
                <a:gd name="connsiteY218" fmla="*/ 1833792 h 2319505"/>
                <a:gd name="connsiteX219" fmla="*/ 846298 w 4110985"/>
                <a:gd name="connsiteY219" fmla="*/ 1852906 h 2319505"/>
                <a:gd name="connsiteX220" fmla="*/ 861936 w 4110985"/>
                <a:gd name="connsiteY220" fmla="*/ 1870895 h 2319505"/>
                <a:gd name="connsiteX221" fmla="*/ 830660 w 4110985"/>
                <a:gd name="connsiteY221" fmla="*/ 1887760 h 2319505"/>
                <a:gd name="connsiteX222" fmla="*/ 877574 w 4110985"/>
                <a:gd name="connsiteY222" fmla="*/ 1906874 h 2319505"/>
                <a:gd name="connsiteX223" fmla="*/ 861936 w 4110985"/>
                <a:gd name="connsiteY223" fmla="*/ 1941728 h 2319505"/>
                <a:gd name="connsiteX224" fmla="*/ 798464 w 4110985"/>
                <a:gd name="connsiteY224" fmla="*/ 1941728 h 2319505"/>
                <a:gd name="connsiteX225" fmla="*/ 782826 w 4110985"/>
                <a:gd name="connsiteY225" fmla="*/ 1924863 h 2319505"/>
                <a:gd name="connsiteX226" fmla="*/ 748790 w 4110985"/>
                <a:gd name="connsiteY226" fmla="*/ 1924863 h 2319505"/>
                <a:gd name="connsiteX227" fmla="*/ 717514 w 4110985"/>
                <a:gd name="connsiteY227" fmla="*/ 1941728 h 2319505"/>
                <a:gd name="connsiteX228" fmla="*/ 669680 w 4110985"/>
                <a:gd name="connsiteY228" fmla="*/ 1906874 h 2319505"/>
                <a:gd name="connsiteX229" fmla="*/ 637483 w 4110985"/>
                <a:gd name="connsiteY229" fmla="*/ 1887760 h 2319505"/>
                <a:gd name="connsiteX230" fmla="*/ 621845 w 4110985"/>
                <a:gd name="connsiteY230" fmla="*/ 1906874 h 2319505"/>
                <a:gd name="connsiteX231" fmla="*/ 589649 w 4110985"/>
                <a:gd name="connsiteY231" fmla="*/ 1887760 h 2319505"/>
                <a:gd name="connsiteX232" fmla="*/ 542735 w 4110985"/>
                <a:gd name="connsiteY232" fmla="*/ 1941728 h 2319505"/>
                <a:gd name="connsiteX233" fmla="*/ 558373 w 4110985"/>
                <a:gd name="connsiteY233" fmla="*/ 1978831 h 2319505"/>
                <a:gd name="connsiteX234" fmla="*/ 542735 w 4110985"/>
                <a:gd name="connsiteY234" fmla="*/ 1978831 h 2319505"/>
                <a:gd name="connsiteX235" fmla="*/ 510539 w 4110985"/>
                <a:gd name="connsiteY235" fmla="*/ 1941728 h 2319505"/>
                <a:gd name="connsiteX236" fmla="*/ 494901 w 4110985"/>
                <a:gd name="connsiteY236" fmla="*/ 2032800 h 2319505"/>
                <a:gd name="connsiteX237" fmla="*/ 510539 w 4110985"/>
                <a:gd name="connsiteY237" fmla="*/ 2068778 h 2319505"/>
                <a:gd name="connsiteX238" fmla="*/ 542735 w 4110985"/>
                <a:gd name="connsiteY238" fmla="*/ 2068778 h 2319505"/>
                <a:gd name="connsiteX239" fmla="*/ 558373 w 4110985"/>
                <a:gd name="connsiteY239" fmla="*/ 2103633 h 2319505"/>
                <a:gd name="connsiteX240" fmla="*/ 542735 w 4110985"/>
                <a:gd name="connsiteY240" fmla="*/ 2122746 h 2319505"/>
                <a:gd name="connsiteX241" fmla="*/ 558373 w 4110985"/>
                <a:gd name="connsiteY241" fmla="*/ 2122746 h 2319505"/>
                <a:gd name="connsiteX242" fmla="*/ 558373 w 4110985"/>
                <a:gd name="connsiteY242" fmla="*/ 2140736 h 2319505"/>
                <a:gd name="connsiteX243" fmla="*/ 542735 w 4110985"/>
                <a:gd name="connsiteY243" fmla="*/ 2157601 h 2319505"/>
                <a:gd name="connsiteX244" fmla="*/ 526177 w 4110985"/>
                <a:gd name="connsiteY244" fmla="*/ 2140736 h 2319505"/>
                <a:gd name="connsiteX245" fmla="*/ 494901 w 4110985"/>
                <a:gd name="connsiteY245" fmla="*/ 2194704 h 2319505"/>
                <a:gd name="connsiteX246" fmla="*/ 510539 w 4110985"/>
                <a:gd name="connsiteY246" fmla="*/ 2230683 h 2319505"/>
                <a:gd name="connsiteX247" fmla="*/ 510539 w 4110985"/>
                <a:gd name="connsiteY247" fmla="*/ 2265537 h 2319505"/>
                <a:gd name="connsiteX248" fmla="*/ 542735 w 4110985"/>
                <a:gd name="connsiteY248" fmla="*/ 2302640 h 2319505"/>
                <a:gd name="connsiteX249" fmla="*/ 526177 w 4110985"/>
                <a:gd name="connsiteY249" fmla="*/ 2319505 h 2319505"/>
                <a:gd name="connsiteX250" fmla="*/ 510539 w 4110985"/>
                <a:gd name="connsiteY250" fmla="*/ 2319505 h 2319505"/>
                <a:gd name="connsiteX251" fmla="*/ 494901 w 4110985"/>
                <a:gd name="connsiteY251" fmla="*/ 2302640 h 2319505"/>
                <a:gd name="connsiteX252" fmla="*/ 462705 w 4110985"/>
                <a:gd name="connsiteY252" fmla="*/ 2265537 h 2319505"/>
                <a:gd name="connsiteX253" fmla="*/ 431428 w 4110985"/>
                <a:gd name="connsiteY253" fmla="*/ 2265537 h 2319505"/>
                <a:gd name="connsiteX254" fmla="*/ 399232 w 4110985"/>
                <a:gd name="connsiteY254" fmla="*/ 2248672 h 2319505"/>
                <a:gd name="connsiteX255" fmla="*/ 320122 w 4110985"/>
                <a:gd name="connsiteY255" fmla="*/ 2248672 h 2319505"/>
                <a:gd name="connsiteX256" fmla="*/ 256649 w 4110985"/>
                <a:gd name="connsiteY256" fmla="*/ 2176714 h 2319505"/>
                <a:gd name="connsiteX257" fmla="*/ 287926 w 4110985"/>
                <a:gd name="connsiteY257" fmla="*/ 2140736 h 2319505"/>
                <a:gd name="connsiteX258" fmla="*/ 272287 w 4110985"/>
                <a:gd name="connsiteY258" fmla="*/ 2122746 h 2319505"/>
                <a:gd name="connsiteX259" fmla="*/ 320122 w 4110985"/>
                <a:gd name="connsiteY259" fmla="*/ 2103633 h 2319505"/>
                <a:gd name="connsiteX260" fmla="*/ 303564 w 4110985"/>
                <a:gd name="connsiteY260" fmla="*/ 2086768 h 2319505"/>
                <a:gd name="connsiteX261" fmla="*/ 287926 w 4110985"/>
                <a:gd name="connsiteY261" fmla="*/ 2103633 h 2319505"/>
                <a:gd name="connsiteX262" fmla="*/ 287926 w 4110985"/>
                <a:gd name="connsiteY262" fmla="*/ 2068778 h 2319505"/>
                <a:gd name="connsiteX263" fmla="*/ 303564 w 4110985"/>
                <a:gd name="connsiteY263" fmla="*/ 2049665 h 2319505"/>
                <a:gd name="connsiteX264" fmla="*/ 320122 w 4110985"/>
                <a:gd name="connsiteY264" fmla="*/ 2068778 h 2319505"/>
                <a:gd name="connsiteX265" fmla="*/ 335760 w 4110985"/>
                <a:gd name="connsiteY265" fmla="*/ 1995696 h 2319505"/>
                <a:gd name="connsiteX266" fmla="*/ 256649 w 4110985"/>
                <a:gd name="connsiteY266" fmla="*/ 1941728 h 2319505"/>
                <a:gd name="connsiteX267" fmla="*/ 240091 w 4110985"/>
                <a:gd name="connsiteY267" fmla="*/ 1960842 h 2319505"/>
                <a:gd name="connsiteX268" fmla="*/ 224453 w 4110985"/>
                <a:gd name="connsiteY268" fmla="*/ 1941728 h 2319505"/>
                <a:gd name="connsiteX269" fmla="*/ 208815 w 4110985"/>
                <a:gd name="connsiteY269" fmla="*/ 1906874 h 2319505"/>
                <a:gd name="connsiteX270" fmla="*/ 193177 w 4110985"/>
                <a:gd name="connsiteY270" fmla="*/ 1906874 h 2319505"/>
                <a:gd name="connsiteX271" fmla="*/ 176619 w 4110985"/>
                <a:gd name="connsiteY271" fmla="*/ 1887760 h 2319505"/>
                <a:gd name="connsiteX272" fmla="*/ 193177 w 4110985"/>
                <a:gd name="connsiteY272" fmla="*/ 1887760 h 2319505"/>
                <a:gd name="connsiteX273" fmla="*/ 176619 w 4110985"/>
                <a:gd name="connsiteY273" fmla="*/ 1870895 h 2319505"/>
                <a:gd name="connsiteX274" fmla="*/ 128785 w 4110985"/>
                <a:gd name="connsiteY274" fmla="*/ 1870895 h 2319505"/>
                <a:gd name="connsiteX275" fmla="*/ 113147 w 4110985"/>
                <a:gd name="connsiteY275" fmla="*/ 1833792 h 2319505"/>
                <a:gd name="connsiteX276" fmla="*/ 113147 w 4110985"/>
                <a:gd name="connsiteY276" fmla="*/ 1816927 h 2319505"/>
                <a:gd name="connsiteX277" fmla="*/ 128785 w 4110985"/>
                <a:gd name="connsiteY277" fmla="*/ 1833792 h 2319505"/>
                <a:gd name="connsiteX278" fmla="*/ 145343 w 4110985"/>
                <a:gd name="connsiteY278" fmla="*/ 1798938 h 2319505"/>
                <a:gd name="connsiteX279" fmla="*/ 128785 w 4110985"/>
                <a:gd name="connsiteY279" fmla="*/ 1798938 h 2319505"/>
                <a:gd name="connsiteX280" fmla="*/ 97509 w 4110985"/>
                <a:gd name="connsiteY280" fmla="*/ 1746094 h 2319505"/>
                <a:gd name="connsiteX281" fmla="*/ 97509 w 4110985"/>
                <a:gd name="connsiteY281" fmla="*/ 1708991 h 2319505"/>
                <a:gd name="connsiteX282" fmla="*/ 80031 w 4110985"/>
                <a:gd name="connsiteY282" fmla="*/ 1692126 h 2319505"/>
                <a:gd name="connsiteX283" fmla="*/ 32196 w 4110985"/>
                <a:gd name="connsiteY283" fmla="*/ 1671888 h 2319505"/>
                <a:gd name="connsiteX284" fmla="*/ 16558 w 4110985"/>
                <a:gd name="connsiteY284" fmla="*/ 1638158 h 2319505"/>
                <a:gd name="connsiteX285" fmla="*/ 16558 w 4110985"/>
                <a:gd name="connsiteY285" fmla="*/ 1617920 h 2319505"/>
                <a:gd name="connsiteX286" fmla="*/ 16558 w 4110985"/>
                <a:gd name="connsiteY286" fmla="*/ 1601055 h 2319505"/>
                <a:gd name="connsiteX287" fmla="*/ 16558 w 4110985"/>
                <a:gd name="connsiteY287" fmla="*/ 1584189 h 2319505"/>
                <a:gd name="connsiteX288" fmla="*/ 0 w 4110985"/>
                <a:gd name="connsiteY288" fmla="*/ 1530221 h 2319505"/>
                <a:gd name="connsiteX289" fmla="*/ 16558 w 4110985"/>
                <a:gd name="connsiteY289" fmla="*/ 1530221 h 2319505"/>
                <a:gd name="connsiteX290" fmla="*/ 32196 w 4110985"/>
                <a:gd name="connsiteY290" fmla="*/ 1509983 h 2319505"/>
                <a:gd name="connsiteX291" fmla="*/ 63473 w 4110985"/>
                <a:gd name="connsiteY291" fmla="*/ 1476253 h 2319505"/>
                <a:gd name="connsiteX292" fmla="*/ 32196 w 4110985"/>
                <a:gd name="connsiteY292" fmla="*/ 1439150 h 2319505"/>
                <a:gd name="connsiteX293" fmla="*/ 16558 w 4110985"/>
                <a:gd name="connsiteY293" fmla="*/ 1439150 h 2319505"/>
                <a:gd name="connsiteX294" fmla="*/ 63473 w 4110985"/>
                <a:gd name="connsiteY294" fmla="*/ 1402047 h 2319505"/>
                <a:gd name="connsiteX295" fmla="*/ 113147 w 4110985"/>
                <a:gd name="connsiteY295" fmla="*/ 1314349 h 2319505"/>
                <a:gd name="connsiteX296" fmla="*/ 113147 w 4110985"/>
                <a:gd name="connsiteY296" fmla="*/ 1294111 h 2319505"/>
                <a:gd name="connsiteX297" fmla="*/ 80031 w 4110985"/>
                <a:gd name="connsiteY297" fmla="*/ 1260381 h 2319505"/>
                <a:gd name="connsiteX298" fmla="*/ 97509 w 4110985"/>
                <a:gd name="connsiteY298" fmla="*/ 1223278 h 2319505"/>
                <a:gd name="connsiteX299" fmla="*/ 63473 w 4110985"/>
                <a:gd name="connsiteY299" fmla="*/ 1169310 h 2319505"/>
                <a:gd name="connsiteX300" fmla="*/ 80031 w 4110985"/>
                <a:gd name="connsiteY300" fmla="*/ 1115341 h 2319505"/>
                <a:gd name="connsiteX301" fmla="*/ 63473 w 4110985"/>
                <a:gd name="connsiteY301" fmla="*/ 1025395 h 2319505"/>
                <a:gd name="connsiteX302" fmla="*/ 80031 w 4110985"/>
                <a:gd name="connsiteY302" fmla="*/ 971426 h 2319505"/>
                <a:gd name="connsiteX303" fmla="*/ 47834 w 4110985"/>
                <a:gd name="connsiteY303" fmla="*/ 936572 h 2319505"/>
                <a:gd name="connsiteX304" fmla="*/ 47834 w 4110985"/>
                <a:gd name="connsiteY304" fmla="*/ 882604 h 2319505"/>
                <a:gd name="connsiteX305" fmla="*/ 80031 w 4110985"/>
                <a:gd name="connsiteY305" fmla="*/ 845501 h 2319505"/>
                <a:gd name="connsiteX306" fmla="*/ 97509 w 4110985"/>
                <a:gd name="connsiteY306" fmla="*/ 845501 h 2319505"/>
                <a:gd name="connsiteX307" fmla="*/ 97509 w 4110985"/>
                <a:gd name="connsiteY307" fmla="*/ 828636 h 2319505"/>
                <a:gd name="connsiteX308" fmla="*/ 128785 w 4110985"/>
                <a:gd name="connsiteY308" fmla="*/ 809522 h 2319505"/>
                <a:gd name="connsiteX309" fmla="*/ 160981 w 4110985"/>
                <a:gd name="connsiteY309" fmla="*/ 828636 h 2319505"/>
                <a:gd name="connsiteX310" fmla="*/ 160981 w 4110985"/>
                <a:gd name="connsiteY310" fmla="*/ 845501 h 2319505"/>
                <a:gd name="connsiteX311" fmla="*/ 256649 w 4110985"/>
                <a:gd name="connsiteY311" fmla="*/ 882604 h 2319505"/>
                <a:gd name="connsiteX312" fmla="*/ 351398 w 4110985"/>
                <a:gd name="connsiteY312" fmla="*/ 990540 h 2319505"/>
                <a:gd name="connsiteX313" fmla="*/ 367956 w 4110985"/>
                <a:gd name="connsiteY313" fmla="*/ 1044508 h 2319505"/>
                <a:gd name="connsiteX314" fmla="*/ 287926 w 4110985"/>
                <a:gd name="connsiteY314" fmla="*/ 1098476 h 2319505"/>
                <a:gd name="connsiteX315" fmla="*/ 160981 w 4110985"/>
                <a:gd name="connsiteY315" fmla="*/ 1044508 h 2319505"/>
                <a:gd name="connsiteX316" fmla="*/ 128785 w 4110985"/>
                <a:gd name="connsiteY316" fmla="*/ 1025395 h 2319505"/>
                <a:gd name="connsiteX317" fmla="*/ 145343 w 4110985"/>
                <a:gd name="connsiteY317" fmla="*/ 1061373 h 2319505"/>
                <a:gd name="connsiteX318" fmla="*/ 193177 w 4110985"/>
                <a:gd name="connsiteY318" fmla="*/ 1098476 h 2319505"/>
                <a:gd name="connsiteX319" fmla="*/ 193177 w 4110985"/>
                <a:gd name="connsiteY319" fmla="*/ 1206413 h 2319505"/>
                <a:gd name="connsiteX320" fmla="*/ 240091 w 4110985"/>
                <a:gd name="connsiteY320" fmla="*/ 1240143 h 2319505"/>
                <a:gd name="connsiteX321" fmla="*/ 272287 w 4110985"/>
                <a:gd name="connsiteY321" fmla="*/ 1240143 h 2319505"/>
                <a:gd name="connsiteX322" fmla="*/ 240091 w 4110985"/>
                <a:gd name="connsiteY322" fmla="*/ 1187299 h 2319505"/>
                <a:gd name="connsiteX323" fmla="*/ 256649 w 4110985"/>
                <a:gd name="connsiteY323" fmla="*/ 1169310 h 2319505"/>
                <a:gd name="connsiteX324" fmla="*/ 351398 w 4110985"/>
                <a:gd name="connsiteY324" fmla="*/ 1206413 h 2319505"/>
                <a:gd name="connsiteX325" fmla="*/ 320122 w 4110985"/>
                <a:gd name="connsiteY325" fmla="*/ 1133331 h 2319505"/>
                <a:gd name="connsiteX326" fmla="*/ 383594 w 4110985"/>
                <a:gd name="connsiteY326" fmla="*/ 1079363 h 2319505"/>
                <a:gd name="connsiteX327" fmla="*/ 431428 w 4110985"/>
                <a:gd name="connsiteY327" fmla="*/ 1098476 h 2319505"/>
                <a:gd name="connsiteX328" fmla="*/ 447066 w 4110985"/>
                <a:gd name="connsiteY328" fmla="*/ 1061373 h 2319505"/>
                <a:gd name="connsiteX329" fmla="*/ 431428 w 4110985"/>
                <a:gd name="connsiteY329" fmla="*/ 1025395 h 2319505"/>
                <a:gd name="connsiteX330" fmla="*/ 431428 w 4110985"/>
                <a:gd name="connsiteY330" fmla="*/ 936572 h 2319505"/>
                <a:gd name="connsiteX331" fmla="*/ 414870 w 4110985"/>
                <a:gd name="connsiteY331" fmla="*/ 899469 h 2319505"/>
                <a:gd name="connsiteX332" fmla="*/ 479263 w 4110985"/>
                <a:gd name="connsiteY332" fmla="*/ 917458 h 2319505"/>
                <a:gd name="connsiteX333" fmla="*/ 494901 w 4110985"/>
                <a:gd name="connsiteY333" fmla="*/ 971426 h 2319505"/>
                <a:gd name="connsiteX334" fmla="*/ 447066 w 4110985"/>
                <a:gd name="connsiteY334" fmla="*/ 1007405 h 2319505"/>
                <a:gd name="connsiteX335" fmla="*/ 494901 w 4110985"/>
                <a:gd name="connsiteY335" fmla="*/ 1044508 h 2319505"/>
                <a:gd name="connsiteX336" fmla="*/ 526177 w 4110985"/>
                <a:gd name="connsiteY336" fmla="*/ 1025395 h 2319505"/>
                <a:gd name="connsiteX337" fmla="*/ 526177 w 4110985"/>
                <a:gd name="connsiteY337" fmla="*/ 990540 h 2319505"/>
                <a:gd name="connsiteX338" fmla="*/ 685318 w 4110985"/>
                <a:gd name="connsiteY338" fmla="*/ 882604 h 2319505"/>
                <a:gd name="connsiteX339" fmla="*/ 685318 w 4110985"/>
                <a:gd name="connsiteY339" fmla="*/ 917458 h 2319505"/>
                <a:gd name="connsiteX340" fmla="*/ 700956 w 4110985"/>
                <a:gd name="connsiteY340" fmla="*/ 953437 h 2319505"/>
                <a:gd name="connsiteX341" fmla="*/ 717514 w 4110985"/>
                <a:gd name="connsiteY341" fmla="*/ 917458 h 2319505"/>
                <a:gd name="connsiteX342" fmla="*/ 814102 w 4110985"/>
                <a:gd name="connsiteY342" fmla="*/ 882604 h 2319505"/>
                <a:gd name="connsiteX343" fmla="*/ 830660 w 4110985"/>
                <a:gd name="connsiteY343" fmla="*/ 899469 h 2319505"/>
                <a:gd name="connsiteX344" fmla="*/ 861936 w 4110985"/>
                <a:gd name="connsiteY344" fmla="*/ 882604 h 2319505"/>
                <a:gd name="connsiteX345" fmla="*/ 798464 w 4110985"/>
                <a:gd name="connsiteY345" fmla="*/ 791533 h 2319505"/>
                <a:gd name="connsiteX346" fmla="*/ 814102 w 4110985"/>
                <a:gd name="connsiteY346" fmla="*/ 755554 h 2319505"/>
                <a:gd name="connsiteX347" fmla="*/ 1005439 w 4110985"/>
                <a:gd name="connsiteY347" fmla="*/ 899469 h 2319505"/>
                <a:gd name="connsiteX348" fmla="*/ 1052353 w 4110985"/>
                <a:gd name="connsiteY348" fmla="*/ 936572 h 2319505"/>
                <a:gd name="connsiteX349" fmla="*/ 1052353 w 4110985"/>
                <a:gd name="connsiteY349" fmla="*/ 899469 h 2319505"/>
                <a:gd name="connsiteX350" fmla="*/ 1005439 w 4110985"/>
                <a:gd name="connsiteY350" fmla="*/ 828636 h 2319505"/>
                <a:gd name="connsiteX351" fmla="*/ 1005439 w 4110985"/>
                <a:gd name="connsiteY351" fmla="*/ 737564 h 2319505"/>
                <a:gd name="connsiteX352" fmla="*/ 1084549 w 4110985"/>
                <a:gd name="connsiteY352" fmla="*/ 504827 h 2319505"/>
                <a:gd name="connsiteX353" fmla="*/ 1116745 w 4110985"/>
                <a:gd name="connsiteY353" fmla="*/ 485713 h 2319505"/>
                <a:gd name="connsiteX354" fmla="*/ 1132384 w 4110985"/>
                <a:gd name="connsiteY354" fmla="*/ 522816 h 2319505"/>
                <a:gd name="connsiteX355" fmla="*/ 1116745 w 4110985"/>
                <a:gd name="connsiteY355" fmla="*/ 539681 h 2319505"/>
                <a:gd name="connsiteX356" fmla="*/ 1148022 w 4110985"/>
                <a:gd name="connsiteY356" fmla="*/ 558795 h 2319505"/>
                <a:gd name="connsiteX357" fmla="*/ 1132384 w 4110985"/>
                <a:gd name="connsiteY357" fmla="*/ 666731 h 2319505"/>
                <a:gd name="connsiteX358" fmla="*/ 1148022 w 4110985"/>
                <a:gd name="connsiteY358" fmla="*/ 701586 h 2319505"/>
                <a:gd name="connsiteX359" fmla="*/ 1148022 w 4110985"/>
                <a:gd name="connsiteY359" fmla="*/ 882604 h 2319505"/>
                <a:gd name="connsiteX360" fmla="*/ 1180218 w 4110985"/>
                <a:gd name="connsiteY360" fmla="*/ 917458 h 2319505"/>
                <a:gd name="connsiteX361" fmla="*/ 1163660 w 4110985"/>
                <a:gd name="connsiteY361" fmla="*/ 971426 h 2319505"/>
                <a:gd name="connsiteX362" fmla="*/ 1100187 w 4110985"/>
                <a:gd name="connsiteY362" fmla="*/ 1061373 h 2319505"/>
                <a:gd name="connsiteX363" fmla="*/ 1116745 w 4110985"/>
                <a:gd name="connsiteY363" fmla="*/ 1079363 h 2319505"/>
                <a:gd name="connsiteX364" fmla="*/ 1211494 w 4110985"/>
                <a:gd name="connsiteY364" fmla="*/ 990540 h 2319505"/>
                <a:gd name="connsiteX365" fmla="*/ 1195856 w 4110985"/>
                <a:gd name="connsiteY365" fmla="*/ 899469 h 2319505"/>
                <a:gd name="connsiteX366" fmla="*/ 1227132 w 4110985"/>
                <a:gd name="connsiteY366" fmla="*/ 882604 h 2319505"/>
                <a:gd name="connsiteX367" fmla="*/ 1180218 w 4110985"/>
                <a:gd name="connsiteY367" fmla="*/ 882604 h 2319505"/>
                <a:gd name="connsiteX368" fmla="*/ 1180218 w 4110985"/>
                <a:gd name="connsiteY368" fmla="*/ 828636 h 2319505"/>
                <a:gd name="connsiteX369" fmla="*/ 1195856 w 4110985"/>
                <a:gd name="connsiteY369" fmla="*/ 755554 h 2319505"/>
                <a:gd name="connsiteX370" fmla="*/ 1163660 w 4110985"/>
                <a:gd name="connsiteY370" fmla="*/ 683596 h 2319505"/>
                <a:gd name="connsiteX371" fmla="*/ 1211494 w 4110985"/>
                <a:gd name="connsiteY371" fmla="*/ 593649 h 2319505"/>
                <a:gd name="connsiteX372" fmla="*/ 1195856 w 4110985"/>
                <a:gd name="connsiteY372" fmla="*/ 539681 h 2319505"/>
                <a:gd name="connsiteX373" fmla="*/ 1195856 w 4110985"/>
                <a:gd name="connsiteY373" fmla="*/ 522816 h 2319505"/>
                <a:gd name="connsiteX374" fmla="*/ 1227132 w 4110985"/>
                <a:gd name="connsiteY374" fmla="*/ 558795 h 2319505"/>
                <a:gd name="connsiteX375" fmla="*/ 1259328 w 4110985"/>
                <a:gd name="connsiteY375" fmla="*/ 593649 h 2319505"/>
                <a:gd name="connsiteX376" fmla="*/ 1274967 w 4110985"/>
                <a:gd name="connsiteY376" fmla="*/ 575660 h 2319505"/>
                <a:gd name="connsiteX377" fmla="*/ 1322801 w 4110985"/>
                <a:gd name="connsiteY377" fmla="*/ 593649 h 2319505"/>
                <a:gd name="connsiteX378" fmla="*/ 1370635 w 4110985"/>
                <a:gd name="connsiteY378" fmla="*/ 666731 h 2319505"/>
                <a:gd name="connsiteX379" fmla="*/ 1402831 w 4110985"/>
                <a:gd name="connsiteY379" fmla="*/ 647618 h 2319505"/>
                <a:gd name="connsiteX380" fmla="*/ 1354997 w 4110985"/>
                <a:gd name="connsiteY380" fmla="*/ 593649 h 2319505"/>
                <a:gd name="connsiteX381" fmla="*/ 1338439 w 4110985"/>
                <a:gd name="connsiteY381" fmla="*/ 485713 h 2319505"/>
                <a:gd name="connsiteX382" fmla="*/ 1515058 w 4110985"/>
                <a:gd name="connsiteY382" fmla="*/ 450859 h 2319505"/>
                <a:gd name="connsiteX383" fmla="*/ 1499419 w 4110985"/>
                <a:gd name="connsiteY383" fmla="*/ 360912 h 2319505"/>
                <a:gd name="connsiteX384" fmla="*/ 1547254 w 4110985"/>
                <a:gd name="connsiteY384" fmla="*/ 288954 h 2319505"/>
                <a:gd name="connsiteX385" fmla="*/ 1674198 w 4110985"/>
                <a:gd name="connsiteY385" fmla="*/ 199008 h 2319505"/>
                <a:gd name="connsiteX386" fmla="*/ 1817701 w 4110985"/>
                <a:gd name="connsiteY386" fmla="*/ 161904 h 2319505"/>
                <a:gd name="connsiteX387" fmla="*/ 1865535 w 4110985"/>
                <a:gd name="connsiteY387" fmla="*/ 161904 h 2319505"/>
                <a:gd name="connsiteX388" fmla="*/ 1865535 w 4110985"/>
                <a:gd name="connsiteY388" fmla="*/ 91071 h 2319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</a:cxnLst>
              <a:rect l="l" t="t" r="r" b="b"/>
              <a:pathLst>
                <a:path w="4110985" h="2319505">
                  <a:moveTo>
                    <a:pt x="169736" y="2153248"/>
                  </a:moveTo>
                  <a:lnTo>
                    <a:pt x="197853" y="2155241"/>
                  </a:lnTo>
                  <a:lnTo>
                    <a:pt x="234527" y="2174679"/>
                  </a:lnTo>
                  <a:lnTo>
                    <a:pt x="178293" y="2215051"/>
                  </a:lnTo>
                  <a:lnTo>
                    <a:pt x="159956" y="2218041"/>
                  </a:lnTo>
                  <a:lnTo>
                    <a:pt x="161178" y="2195612"/>
                  </a:lnTo>
                  <a:lnTo>
                    <a:pt x="137951" y="2176174"/>
                  </a:lnTo>
                  <a:close/>
                  <a:moveTo>
                    <a:pt x="1944646" y="0"/>
                  </a:moveTo>
                  <a:lnTo>
                    <a:pt x="1992480" y="37103"/>
                  </a:lnTo>
                  <a:lnTo>
                    <a:pt x="1944646" y="73082"/>
                  </a:lnTo>
                  <a:lnTo>
                    <a:pt x="2023756" y="91071"/>
                  </a:lnTo>
                  <a:lnTo>
                    <a:pt x="1992480" y="161904"/>
                  </a:lnTo>
                  <a:lnTo>
                    <a:pt x="2040314" y="161904"/>
                  </a:lnTo>
                  <a:lnTo>
                    <a:pt x="2040314" y="127050"/>
                  </a:lnTo>
                  <a:lnTo>
                    <a:pt x="2119425" y="127050"/>
                  </a:lnTo>
                  <a:lnTo>
                    <a:pt x="2184737" y="199008"/>
                  </a:lnTo>
                  <a:lnTo>
                    <a:pt x="2184737" y="306944"/>
                  </a:lnTo>
                  <a:lnTo>
                    <a:pt x="2023756" y="468848"/>
                  </a:lnTo>
                  <a:lnTo>
                    <a:pt x="2008118" y="522816"/>
                  </a:lnTo>
                  <a:lnTo>
                    <a:pt x="2023756" y="522816"/>
                  </a:lnTo>
                  <a:lnTo>
                    <a:pt x="2087229" y="485713"/>
                  </a:lnTo>
                  <a:lnTo>
                    <a:pt x="2071591" y="450859"/>
                  </a:lnTo>
                  <a:lnTo>
                    <a:pt x="2087229" y="431745"/>
                  </a:lnTo>
                  <a:lnTo>
                    <a:pt x="2184737" y="485713"/>
                  </a:lnTo>
                  <a:lnTo>
                    <a:pt x="2232571" y="450859"/>
                  </a:lnTo>
                  <a:lnTo>
                    <a:pt x="2311682" y="468848"/>
                  </a:lnTo>
                  <a:lnTo>
                    <a:pt x="2296043" y="522816"/>
                  </a:lnTo>
                  <a:lnTo>
                    <a:pt x="2422988" y="539681"/>
                  </a:lnTo>
                  <a:lnTo>
                    <a:pt x="2407350" y="504827"/>
                  </a:lnTo>
                  <a:lnTo>
                    <a:pt x="2422988" y="468848"/>
                  </a:lnTo>
                  <a:lnTo>
                    <a:pt x="2455184" y="468848"/>
                  </a:lnTo>
                  <a:lnTo>
                    <a:pt x="2549933" y="504827"/>
                  </a:lnTo>
                  <a:lnTo>
                    <a:pt x="2582129" y="558795"/>
                  </a:lnTo>
                  <a:lnTo>
                    <a:pt x="2566491" y="647618"/>
                  </a:lnTo>
                  <a:lnTo>
                    <a:pt x="2597767" y="720699"/>
                  </a:lnTo>
                  <a:lnTo>
                    <a:pt x="2629963" y="737564"/>
                  </a:lnTo>
                  <a:lnTo>
                    <a:pt x="2661239" y="629628"/>
                  </a:lnTo>
                  <a:lnTo>
                    <a:pt x="2709074" y="683596"/>
                  </a:lnTo>
                  <a:lnTo>
                    <a:pt x="2741270" y="666731"/>
                  </a:lnTo>
                  <a:lnTo>
                    <a:pt x="2756908" y="666731"/>
                  </a:lnTo>
                  <a:lnTo>
                    <a:pt x="2854416" y="666731"/>
                  </a:lnTo>
                  <a:lnTo>
                    <a:pt x="2822220" y="612763"/>
                  </a:lnTo>
                  <a:lnTo>
                    <a:pt x="2854416" y="539681"/>
                  </a:lnTo>
                  <a:lnTo>
                    <a:pt x="2981361" y="575660"/>
                  </a:lnTo>
                  <a:lnTo>
                    <a:pt x="3092667" y="612763"/>
                  </a:lnTo>
                  <a:lnTo>
                    <a:pt x="3092667" y="666731"/>
                  </a:lnTo>
                  <a:lnTo>
                    <a:pt x="3108306" y="683596"/>
                  </a:lnTo>
                  <a:lnTo>
                    <a:pt x="3140502" y="683596"/>
                  </a:lnTo>
                  <a:lnTo>
                    <a:pt x="3156140" y="737564"/>
                  </a:lnTo>
                  <a:lnTo>
                    <a:pt x="3251809" y="701586"/>
                  </a:lnTo>
                  <a:lnTo>
                    <a:pt x="3315281" y="720699"/>
                  </a:lnTo>
                  <a:lnTo>
                    <a:pt x="3346557" y="774668"/>
                  </a:lnTo>
                  <a:lnTo>
                    <a:pt x="3330919" y="809522"/>
                  </a:lnTo>
                  <a:lnTo>
                    <a:pt x="3362195" y="828636"/>
                  </a:lnTo>
                  <a:lnTo>
                    <a:pt x="3442225" y="828636"/>
                  </a:lnTo>
                  <a:lnTo>
                    <a:pt x="3523176" y="845501"/>
                  </a:lnTo>
                  <a:lnTo>
                    <a:pt x="3555372" y="809522"/>
                  </a:lnTo>
                  <a:lnTo>
                    <a:pt x="3586648" y="809522"/>
                  </a:lnTo>
                  <a:lnTo>
                    <a:pt x="3571010" y="828636"/>
                  </a:lnTo>
                  <a:lnTo>
                    <a:pt x="3555372" y="828636"/>
                  </a:lnTo>
                  <a:lnTo>
                    <a:pt x="3555372" y="863490"/>
                  </a:lnTo>
                  <a:lnTo>
                    <a:pt x="3586648" y="899469"/>
                  </a:lnTo>
                  <a:lnTo>
                    <a:pt x="3618844" y="882604"/>
                  </a:lnTo>
                  <a:lnTo>
                    <a:pt x="3618844" y="791533"/>
                  </a:lnTo>
                  <a:lnTo>
                    <a:pt x="3745789" y="809522"/>
                  </a:lnTo>
                  <a:lnTo>
                    <a:pt x="3841457" y="882604"/>
                  </a:lnTo>
                  <a:lnTo>
                    <a:pt x="3984040" y="1025395"/>
                  </a:lnTo>
                  <a:lnTo>
                    <a:pt x="4064071" y="1044508"/>
                  </a:lnTo>
                  <a:lnTo>
                    <a:pt x="4110985" y="1098476"/>
                  </a:lnTo>
                  <a:lnTo>
                    <a:pt x="4079709" y="1133331"/>
                  </a:lnTo>
                  <a:lnTo>
                    <a:pt x="4047513" y="1133331"/>
                  </a:lnTo>
                  <a:lnTo>
                    <a:pt x="4047513" y="1169310"/>
                  </a:lnTo>
                  <a:lnTo>
                    <a:pt x="4031875" y="1223278"/>
                  </a:lnTo>
                  <a:lnTo>
                    <a:pt x="3952764" y="1169310"/>
                  </a:lnTo>
                  <a:lnTo>
                    <a:pt x="3920568" y="1133331"/>
                  </a:lnTo>
                  <a:lnTo>
                    <a:pt x="3889292" y="1133331"/>
                  </a:lnTo>
                  <a:lnTo>
                    <a:pt x="3872734" y="1079363"/>
                  </a:lnTo>
                  <a:lnTo>
                    <a:pt x="3857095" y="1098476"/>
                  </a:lnTo>
                  <a:lnTo>
                    <a:pt x="3872734" y="1133331"/>
                  </a:lnTo>
                  <a:lnTo>
                    <a:pt x="3841457" y="1169310"/>
                  </a:lnTo>
                  <a:lnTo>
                    <a:pt x="3809261" y="1187299"/>
                  </a:lnTo>
                  <a:lnTo>
                    <a:pt x="3793623" y="1187299"/>
                  </a:lnTo>
                  <a:lnTo>
                    <a:pt x="3793623" y="1223278"/>
                  </a:lnTo>
                  <a:lnTo>
                    <a:pt x="3809261" y="1223278"/>
                  </a:lnTo>
                  <a:lnTo>
                    <a:pt x="3841457" y="1331214"/>
                  </a:lnTo>
                  <a:lnTo>
                    <a:pt x="3824899" y="1348079"/>
                  </a:lnTo>
                  <a:lnTo>
                    <a:pt x="3777985" y="1331214"/>
                  </a:lnTo>
                  <a:lnTo>
                    <a:pt x="3618844" y="1456015"/>
                  </a:lnTo>
                  <a:lnTo>
                    <a:pt x="3603206" y="1493118"/>
                  </a:lnTo>
                  <a:lnTo>
                    <a:pt x="3571010" y="1456015"/>
                  </a:lnTo>
                  <a:lnTo>
                    <a:pt x="3523176" y="1476253"/>
                  </a:lnTo>
                  <a:lnTo>
                    <a:pt x="3507538" y="1493118"/>
                  </a:lnTo>
                  <a:lnTo>
                    <a:pt x="3507538" y="1456015"/>
                  </a:lnTo>
                  <a:lnTo>
                    <a:pt x="3457864" y="1493118"/>
                  </a:lnTo>
                  <a:lnTo>
                    <a:pt x="3426587" y="1493118"/>
                  </a:lnTo>
                  <a:lnTo>
                    <a:pt x="3426587" y="1530221"/>
                  </a:lnTo>
                  <a:lnTo>
                    <a:pt x="3394391" y="1584189"/>
                  </a:lnTo>
                  <a:lnTo>
                    <a:pt x="3394391" y="1601055"/>
                  </a:lnTo>
                  <a:lnTo>
                    <a:pt x="3410029" y="1601055"/>
                  </a:lnTo>
                  <a:lnTo>
                    <a:pt x="3426587" y="1601055"/>
                  </a:lnTo>
                  <a:lnTo>
                    <a:pt x="3410029" y="1655023"/>
                  </a:lnTo>
                  <a:lnTo>
                    <a:pt x="3426587" y="1655023"/>
                  </a:lnTo>
                  <a:lnTo>
                    <a:pt x="3426587" y="1692126"/>
                  </a:lnTo>
                  <a:lnTo>
                    <a:pt x="3410029" y="1692126"/>
                  </a:lnTo>
                  <a:lnTo>
                    <a:pt x="3378753" y="1708991"/>
                  </a:lnTo>
                  <a:lnTo>
                    <a:pt x="3394391" y="1762959"/>
                  </a:lnTo>
                  <a:lnTo>
                    <a:pt x="3362195" y="1779824"/>
                  </a:lnTo>
                  <a:lnTo>
                    <a:pt x="3346557" y="1779824"/>
                  </a:lnTo>
                  <a:lnTo>
                    <a:pt x="3346557" y="1833792"/>
                  </a:lnTo>
                  <a:lnTo>
                    <a:pt x="3330919" y="1833792"/>
                  </a:lnTo>
                  <a:lnTo>
                    <a:pt x="3298723" y="1906874"/>
                  </a:lnTo>
                  <a:lnTo>
                    <a:pt x="3267447" y="1941728"/>
                  </a:lnTo>
                  <a:lnTo>
                    <a:pt x="3235251" y="1725856"/>
                  </a:lnTo>
                  <a:lnTo>
                    <a:pt x="3267447" y="1601055"/>
                  </a:lnTo>
                  <a:lnTo>
                    <a:pt x="3298723" y="1584189"/>
                  </a:lnTo>
                  <a:lnTo>
                    <a:pt x="3394391" y="1456015"/>
                  </a:lnTo>
                  <a:lnTo>
                    <a:pt x="3426587" y="1439150"/>
                  </a:lnTo>
                  <a:lnTo>
                    <a:pt x="3442225" y="1348079"/>
                  </a:lnTo>
                  <a:lnTo>
                    <a:pt x="3457864" y="1331214"/>
                  </a:lnTo>
                  <a:lnTo>
                    <a:pt x="3426587" y="1331214"/>
                  </a:lnTo>
                  <a:lnTo>
                    <a:pt x="3426587" y="1385182"/>
                  </a:lnTo>
                  <a:lnTo>
                    <a:pt x="3346557" y="1439150"/>
                  </a:lnTo>
                  <a:lnTo>
                    <a:pt x="3346557" y="1402047"/>
                  </a:lnTo>
                  <a:lnTo>
                    <a:pt x="3346557" y="1368317"/>
                  </a:lnTo>
                  <a:lnTo>
                    <a:pt x="3267447" y="1385182"/>
                  </a:lnTo>
                  <a:lnTo>
                    <a:pt x="3203974" y="1509983"/>
                  </a:lnTo>
                  <a:lnTo>
                    <a:pt x="3219612" y="1530221"/>
                  </a:lnTo>
                  <a:lnTo>
                    <a:pt x="3123944" y="1547086"/>
                  </a:lnTo>
                  <a:lnTo>
                    <a:pt x="3123944" y="1530221"/>
                  </a:lnTo>
                  <a:lnTo>
                    <a:pt x="3140502" y="1509983"/>
                  </a:lnTo>
                  <a:lnTo>
                    <a:pt x="3123944" y="1509983"/>
                  </a:lnTo>
                  <a:lnTo>
                    <a:pt x="3076109" y="1493118"/>
                  </a:lnTo>
                  <a:lnTo>
                    <a:pt x="3060471" y="1530221"/>
                  </a:lnTo>
                  <a:lnTo>
                    <a:pt x="3012637" y="1509983"/>
                  </a:lnTo>
                  <a:lnTo>
                    <a:pt x="2996999" y="1530221"/>
                  </a:lnTo>
                  <a:lnTo>
                    <a:pt x="2981361" y="1509983"/>
                  </a:lnTo>
                  <a:lnTo>
                    <a:pt x="2917889" y="1530221"/>
                  </a:lnTo>
                  <a:lnTo>
                    <a:pt x="2772546" y="1692126"/>
                  </a:lnTo>
                  <a:lnTo>
                    <a:pt x="2724712" y="1746094"/>
                  </a:lnTo>
                  <a:lnTo>
                    <a:pt x="2724712" y="1762959"/>
                  </a:lnTo>
                  <a:lnTo>
                    <a:pt x="2756908" y="1762959"/>
                  </a:lnTo>
                  <a:lnTo>
                    <a:pt x="2772546" y="1779824"/>
                  </a:lnTo>
                  <a:lnTo>
                    <a:pt x="2789104" y="1779824"/>
                  </a:lnTo>
                  <a:lnTo>
                    <a:pt x="2772546" y="1816927"/>
                  </a:lnTo>
                  <a:lnTo>
                    <a:pt x="2804742" y="1816927"/>
                  </a:lnTo>
                  <a:lnTo>
                    <a:pt x="2822220" y="1779824"/>
                  </a:lnTo>
                  <a:lnTo>
                    <a:pt x="2837858" y="1779824"/>
                  </a:lnTo>
                  <a:lnTo>
                    <a:pt x="2870055" y="1833792"/>
                  </a:lnTo>
                  <a:lnTo>
                    <a:pt x="2870055" y="1887760"/>
                  </a:lnTo>
                  <a:lnTo>
                    <a:pt x="2854416" y="1924863"/>
                  </a:lnTo>
                  <a:lnTo>
                    <a:pt x="2854416" y="2049665"/>
                  </a:lnTo>
                  <a:lnTo>
                    <a:pt x="2709074" y="2248672"/>
                  </a:lnTo>
                  <a:lnTo>
                    <a:pt x="2661239" y="2284651"/>
                  </a:lnTo>
                  <a:lnTo>
                    <a:pt x="2645601" y="2265537"/>
                  </a:lnTo>
                  <a:lnTo>
                    <a:pt x="2645601" y="2248672"/>
                  </a:lnTo>
                  <a:lnTo>
                    <a:pt x="2629963" y="2248672"/>
                  </a:lnTo>
                  <a:lnTo>
                    <a:pt x="2613405" y="2194704"/>
                  </a:lnTo>
                  <a:lnTo>
                    <a:pt x="2645601" y="2176714"/>
                  </a:lnTo>
                  <a:lnTo>
                    <a:pt x="2661239" y="2194704"/>
                  </a:lnTo>
                  <a:lnTo>
                    <a:pt x="2709074" y="2086768"/>
                  </a:lnTo>
                  <a:lnTo>
                    <a:pt x="2709074" y="2049665"/>
                  </a:lnTo>
                  <a:lnTo>
                    <a:pt x="2645601" y="2068778"/>
                  </a:lnTo>
                  <a:lnTo>
                    <a:pt x="2613405" y="2068778"/>
                  </a:lnTo>
                  <a:lnTo>
                    <a:pt x="2613405" y="2032800"/>
                  </a:lnTo>
                  <a:lnTo>
                    <a:pt x="2566491" y="1995696"/>
                  </a:lnTo>
                  <a:lnTo>
                    <a:pt x="2534295" y="1995696"/>
                  </a:lnTo>
                  <a:lnTo>
                    <a:pt x="2503019" y="1870895"/>
                  </a:lnTo>
                  <a:lnTo>
                    <a:pt x="2470823" y="1833792"/>
                  </a:lnTo>
                  <a:lnTo>
                    <a:pt x="2422988" y="1816927"/>
                  </a:lnTo>
                  <a:lnTo>
                    <a:pt x="2359516" y="1833792"/>
                  </a:lnTo>
                  <a:lnTo>
                    <a:pt x="2343878" y="1870895"/>
                  </a:lnTo>
                  <a:lnTo>
                    <a:pt x="2359516" y="1870895"/>
                  </a:lnTo>
                  <a:lnTo>
                    <a:pt x="2359516" y="1887760"/>
                  </a:lnTo>
                  <a:lnTo>
                    <a:pt x="2343878" y="1906874"/>
                  </a:lnTo>
                  <a:lnTo>
                    <a:pt x="2327320" y="1978831"/>
                  </a:lnTo>
                  <a:lnTo>
                    <a:pt x="2280405" y="1995696"/>
                  </a:lnTo>
                  <a:lnTo>
                    <a:pt x="2248209" y="1978831"/>
                  </a:lnTo>
                  <a:lnTo>
                    <a:pt x="2200375" y="1960842"/>
                  </a:lnTo>
                  <a:lnTo>
                    <a:pt x="2169099" y="1995696"/>
                  </a:lnTo>
                  <a:lnTo>
                    <a:pt x="2103787" y="2014810"/>
                  </a:lnTo>
                  <a:lnTo>
                    <a:pt x="2055953" y="1995696"/>
                  </a:lnTo>
                  <a:lnTo>
                    <a:pt x="1960284" y="1941728"/>
                  </a:lnTo>
                  <a:lnTo>
                    <a:pt x="1929008" y="1960842"/>
                  </a:lnTo>
                  <a:lnTo>
                    <a:pt x="1912450" y="1960842"/>
                  </a:lnTo>
                  <a:lnTo>
                    <a:pt x="1881173" y="1906874"/>
                  </a:lnTo>
                  <a:lnTo>
                    <a:pt x="1817701" y="1887760"/>
                  </a:lnTo>
                  <a:lnTo>
                    <a:pt x="1785505" y="1906874"/>
                  </a:lnTo>
                  <a:lnTo>
                    <a:pt x="1785505" y="1941728"/>
                  </a:lnTo>
                  <a:lnTo>
                    <a:pt x="1785505" y="1978831"/>
                  </a:lnTo>
                  <a:lnTo>
                    <a:pt x="1722033" y="1978831"/>
                  </a:lnTo>
                  <a:lnTo>
                    <a:pt x="1689837" y="1960842"/>
                  </a:lnTo>
                  <a:lnTo>
                    <a:pt x="1626364" y="1941728"/>
                  </a:lnTo>
                  <a:lnTo>
                    <a:pt x="1547254" y="1995696"/>
                  </a:lnTo>
                  <a:lnTo>
                    <a:pt x="1531616" y="2014810"/>
                  </a:lnTo>
                  <a:lnTo>
                    <a:pt x="1499419" y="2032800"/>
                  </a:lnTo>
                  <a:lnTo>
                    <a:pt x="1515058" y="2014810"/>
                  </a:lnTo>
                  <a:lnTo>
                    <a:pt x="1499419" y="1978831"/>
                  </a:lnTo>
                  <a:lnTo>
                    <a:pt x="1499419" y="1995696"/>
                  </a:lnTo>
                  <a:lnTo>
                    <a:pt x="1468143" y="1978831"/>
                  </a:lnTo>
                  <a:lnTo>
                    <a:pt x="1418469" y="1924863"/>
                  </a:lnTo>
                  <a:lnTo>
                    <a:pt x="1370635" y="1941728"/>
                  </a:lnTo>
                  <a:lnTo>
                    <a:pt x="1354997" y="1906874"/>
                  </a:lnTo>
                  <a:lnTo>
                    <a:pt x="1338439" y="1941728"/>
                  </a:lnTo>
                  <a:lnTo>
                    <a:pt x="1274967" y="1816927"/>
                  </a:lnTo>
                  <a:lnTo>
                    <a:pt x="1259328" y="1762959"/>
                  </a:lnTo>
                  <a:lnTo>
                    <a:pt x="1227132" y="1779824"/>
                  </a:lnTo>
                  <a:lnTo>
                    <a:pt x="1195856" y="1816927"/>
                  </a:lnTo>
                  <a:lnTo>
                    <a:pt x="1163660" y="1816927"/>
                  </a:lnTo>
                  <a:lnTo>
                    <a:pt x="1163660" y="1798938"/>
                  </a:lnTo>
                  <a:lnTo>
                    <a:pt x="1132384" y="1779824"/>
                  </a:lnTo>
                  <a:lnTo>
                    <a:pt x="1116745" y="1779824"/>
                  </a:lnTo>
                  <a:lnTo>
                    <a:pt x="1116745" y="1762959"/>
                  </a:lnTo>
                  <a:lnTo>
                    <a:pt x="1100187" y="1725856"/>
                  </a:lnTo>
                  <a:lnTo>
                    <a:pt x="1052353" y="1725856"/>
                  </a:lnTo>
                  <a:lnTo>
                    <a:pt x="1036715" y="1725856"/>
                  </a:lnTo>
                  <a:lnTo>
                    <a:pt x="1036715" y="1746094"/>
                  </a:lnTo>
                  <a:lnTo>
                    <a:pt x="894132" y="1798938"/>
                  </a:lnTo>
                  <a:lnTo>
                    <a:pt x="861936" y="1779824"/>
                  </a:lnTo>
                  <a:lnTo>
                    <a:pt x="861936" y="1833792"/>
                  </a:lnTo>
                  <a:lnTo>
                    <a:pt x="846298" y="1852906"/>
                  </a:lnTo>
                  <a:lnTo>
                    <a:pt x="861936" y="1870895"/>
                  </a:lnTo>
                  <a:lnTo>
                    <a:pt x="830660" y="1887760"/>
                  </a:lnTo>
                  <a:lnTo>
                    <a:pt x="877574" y="1906874"/>
                  </a:lnTo>
                  <a:lnTo>
                    <a:pt x="861936" y="1941728"/>
                  </a:lnTo>
                  <a:lnTo>
                    <a:pt x="798464" y="1941728"/>
                  </a:lnTo>
                  <a:lnTo>
                    <a:pt x="782826" y="1924863"/>
                  </a:lnTo>
                  <a:lnTo>
                    <a:pt x="748790" y="1924863"/>
                  </a:lnTo>
                  <a:lnTo>
                    <a:pt x="717514" y="1941728"/>
                  </a:lnTo>
                  <a:lnTo>
                    <a:pt x="669680" y="1906874"/>
                  </a:lnTo>
                  <a:lnTo>
                    <a:pt x="637483" y="1887760"/>
                  </a:lnTo>
                  <a:lnTo>
                    <a:pt x="621845" y="1906874"/>
                  </a:lnTo>
                  <a:lnTo>
                    <a:pt x="589649" y="1887760"/>
                  </a:lnTo>
                  <a:lnTo>
                    <a:pt x="542735" y="1941728"/>
                  </a:lnTo>
                  <a:lnTo>
                    <a:pt x="558373" y="1978831"/>
                  </a:lnTo>
                  <a:lnTo>
                    <a:pt x="542735" y="1978831"/>
                  </a:lnTo>
                  <a:lnTo>
                    <a:pt x="510539" y="1941728"/>
                  </a:lnTo>
                  <a:lnTo>
                    <a:pt x="494901" y="2032800"/>
                  </a:lnTo>
                  <a:lnTo>
                    <a:pt x="510539" y="2068778"/>
                  </a:lnTo>
                  <a:lnTo>
                    <a:pt x="542735" y="2068778"/>
                  </a:lnTo>
                  <a:lnTo>
                    <a:pt x="558373" y="2103633"/>
                  </a:lnTo>
                  <a:lnTo>
                    <a:pt x="542735" y="2122746"/>
                  </a:lnTo>
                  <a:lnTo>
                    <a:pt x="558373" y="2122746"/>
                  </a:lnTo>
                  <a:lnTo>
                    <a:pt x="558373" y="2140736"/>
                  </a:lnTo>
                  <a:lnTo>
                    <a:pt x="542735" y="2157601"/>
                  </a:lnTo>
                  <a:lnTo>
                    <a:pt x="526177" y="2140736"/>
                  </a:lnTo>
                  <a:lnTo>
                    <a:pt x="494901" y="2194704"/>
                  </a:lnTo>
                  <a:lnTo>
                    <a:pt x="510539" y="2230683"/>
                  </a:lnTo>
                  <a:lnTo>
                    <a:pt x="510539" y="2265537"/>
                  </a:lnTo>
                  <a:lnTo>
                    <a:pt x="542735" y="2302640"/>
                  </a:lnTo>
                  <a:lnTo>
                    <a:pt x="526177" y="2319505"/>
                  </a:lnTo>
                  <a:lnTo>
                    <a:pt x="510539" y="2319505"/>
                  </a:lnTo>
                  <a:lnTo>
                    <a:pt x="494901" y="2302640"/>
                  </a:lnTo>
                  <a:lnTo>
                    <a:pt x="462705" y="2265537"/>
                  </a:lnTo>
                  <a:lnTo>
                    <a:pt x="431428" y="2265537"/>
                  </a:lnTo>
                  <a:lnTo>
                    <a:pt x="399232" y="2248672"/>
                  </a:lnTo>
                  <a:lnTo>
                    <a:pt x="320122" y="2248672"/>
                  </a:lnTo>
                  <a:lnTo>
                    <a:pt x="256649" y="2176714"/>
                  </a:lnTo>
                  <a:lnTo>
                    <a:pt x="287926" y="2140736"/>
                  </a:lnTo>
                  <a:lnTo>
                    <a:pt x="272287" y="2122746"/>
                  </a:lnTo>
                  <a:lnTo>
                    <a:pt x="320122" y="2103633"/>
                  </a:lnTo>
                  <a:lnTo>
                    <a:pt x="303564" y="2086768"/>
                  </a:lnTo>
                  <a:lnTo>
                    <a:pt x="287926" y="2103633"/>
                  </a:lnTo>
                  <a:lnTo>
                    <a:pt x="287926" y="2068778"/>
                  </a:lnTo>
                  <a:lnTo>
                    <a:pt x="303564" y="2049665"/>
                  </a:lnTo>
                  <a:lnTo>
                    <a:pt x="320122" y="2068778"/>
                  </a:lnTo>
                  <a:lnTo>
                    <a:pt x="335760" y="1995696"/>
                  </a:lnTo>
                  <a:lnTo>
                    <a:pt x="256649" y="1941728"/>
                  </a:lnTo>
                  <a:lnTo>
                    <a:pt x="240091" y="1960842"/>
                  </a:lnTo>
                  <a:lnTo>
                    <a:pt x="224453" y="1941728"/>
                  </a:lnTo>
                  <a:lnTo>
                    <a:pt x="208815" y="1906874"/>
                  </a:lnTo>
                  <a:lnTo>
                    <a:pt x="193177" y="1906874"/>
                  </a:lnTo>
                  <a:lnTo>
                    <a:pt x="176619" y="1887760"/>
                  </a:lnTo>
                  <a:lnTo>
                    <a:pt x="193177" y="1887760"/>
                  </a:lnTo>
                  <a:lnTo>
                    <a:pt x="176619" y="1870895"/>
                  </a:lnTo>
                  <a:lnTo>
                    <a:pt x="128785" y="1870895"/>
                  </a:lnTo>
                  <a:lnTo>
                    <a:pt x="113147" y="1833792"/>
                  </a:lnTo>
                  <a:lnTo>
                    <a:pt x="113147" y="1816927"/>
                  </a:lnTo>
                  <a:lnTo>
                    <a:pt x="128785" y="1833792"/>
                  </a:lnTo>
                  <a:lnTo>
                    <a:pt x="145343" y="1798938"/>
                  </a:lnTo>
                  <a:lnTo>
                    <a:pt x="128785" y="1798938"/>
                  </a:lnTo>
                  <a:lnTo>
                    <a:pt x="97509" y="1746094"/>
                  </a:lnTo>
                  <a:lnTo>
                    <a:pt x="97509" y="1708991"/>
                  </a:lnTo>
                  <a:lnTo>
                    <a:pt x="80031" y="1692126"/>
                  </a:lnTo>
                  <a:lnTo>
                    <a:pt x="32196" y="1671888"/>
                  </a:lnTo>
                  <a:lnTo>
                    <a:pt x="16558" y="1638158"/>
                  </a:lnTo>
                  <a:lnTo>
                    <a:pt x="16558" y="1617920"/>
                  </a:lnTo>
                  <a:lnTo>
                    <a:pt x="16558" y="1601055"/>
                  </a:lnTo>
                  <a:lnTo>
                    <a:pt x="16558" y="1584189"/>
                  </a:lnTo>
                  <a:lnTo>
                    <a:pt x="0" y="1530221"/>
                  </a:lnTo>
                  <a:lnTo>
                    <a:pt x="16558" y="1530221"/>
                  </a:lnTo>
                  <a:lnTo>
                    <a:pt x="32196" y="1509983"/>
                  </a:lnTo>
                  <a:lnTo>
                    <a:pt x="63473" y="1476253"/>
                  </a:lnTo>
                  <a:lnTo>
                    <a:pt x="32196" y="1439150"/>
                  </a:lnTo>
                  <a:lnTo>
                    <a:pt x="16558" y="1439150"/>
                  </a:lnTo>
                  <a:lnTo>
                    <a:pt x="63473" y="1402047"/>
                  </a:lnTo>
                  <a:lnTo>
                    <a:pt x="113147" y="1314349"/>
                  </a:lnTo>
                  <a:lnTo>
                    <a:pt x="113147" y="1294111"/>
                  </a:lnTo>
                  <a:lnTo>
                    <a:pt x="80031" y="1260381"/>
                  </a:lnTo>
                  <a:lnTo>
                    <a:pt x="97509" y="1223278"/>
                  </a:lnTo>
                  <a:lnTo>
                    <a:pt x="63473" y="1169310"/>
                  </a:lnTo>
                  <a:lnTo>
                    <a:pt x="80031" y="1115341"/>
                  </a:lnTo>
                  <a:lnTo>
                    <a:pt x="63473" y="1025395"/>
                  </a:lnTo>
                  <a:lnTo>
                    <a:pt x="80031" y="971426"/>
                  </a:lnTo>
                  <a:lnTo>
                    <a:pt x="47834" y="936572"/>
                  </a:lnTo>
                  <a:lnTo>
                    <a:pt x="47834" y="882604"/>
                  </a:lnTo>
                  <a:lnTo>
                    <a:pt x="80031" y="845501"/>
                  </a:lnTo>
                  <a:lnTo>
                    <a:pt x="97509" y="845501"/>
                  </a:lnTo>
                  <a:lnTo>
                    <a:pt x="97509" y="828636"/>
                  </a:lnTo>
                  <a:lnTo>
                    <a:pt x="128785" y="809522"/>
                  </a:lnTo>
                  <a:lnTo>
                    <a:pt x="160981" y="828636"/>
                  </a:lnTo>
                  <a:lnTo>
                    <a:pt x="160981" y="845501"/>
                  </a:lnTo>
                  <a:lnTo>
                    <a:pt x="256649" y="882604"/>
                  </a:lnTo>
                  <a:lnTo>
                    <a:pt x="351398" y="990540"/>
                  </a:lnTo>
                  <a:lnTo>
                    <a:pt x="367956" y="1044508"/>
                  </a:lnTo>
                  <a:lnTo>
                    <a:pt x="287926" y="1098476"/>
                  </a:lnTo>
                  <a:lnTo>
                    <a:pt x="160981" y="1044508"/>
                  </a:lnTo>
                  <a:lnTo>
                    <a:pt x="128785" y="1025395"/>
                  </a:lnTo>
                  <a:lnTo>
                    <a:pt x="145343" y="1061373"/>
                  </a:lnTo>
                  <a:lnTo>
                    <a:pt x="193177" y="1098476"/>
                  </a:lnTo>
                  <a:lnTo>
                    <a:pt x="193177" y="1206413"/>
                  </a:lnTo>
                  <a:lnTo>
                    <a:pt x="240091" y="1240143"/>
                  </a:lnTo>
                  <a:lnTo>
                    <a:pt x="272287" y="1240143"/>
                  </a:lnTo>
                  <a:lnTo>
                    <a:pt x="240091" y="1187299"/>
                  </a:lnTo>
                  <a:lnTo>
                    <a:pt x="256649" y="1169310"/>
                  </a:lnTo>
                  <a:lnTo>
                    <a:pt x="351398" y="1206413"/>
                  </a:lnTo>
                  <a:lnTo>
                    <a:pt x="320122" y="1133331"/>
                  </a:lnTo>
                  <a:lnTo>
                    <a:pt x="383594" y="1079363"/>
                  </a:lnTo>
                  <a:lnTo>
                    <a:pt x="431428" y="1098476"/>
                  </a:lnTo>
                  <a:lnTo>
                    <a:pt x="447066" y="1061373"/>
                  </a:lnTo>
                  <a:lnTo>
                    <a:pt x="431428" y="1025395"/>
                  </a:lnTo>
                  <a:lnTo>
                    <a:pt x="431428" y="936572"/>
                  </a:lnTo>
                  <a:lnTo>
                    <a:pt x="414870" y="899469"/>
                  </a:lnTo>
                  <a:lnTo>
                    <a:pt x="479263" y="917458"/>
                  </a:lnTo>
                  <a:lnTo>
                    <a:pt x="494901" y="971426"/>
                  </a:lnTo>
                  <a:lnTo>
                    <a:pt x="447066" y="1007405"/>
                  </a:lnTo>
                  <a:lnTo>
                    <a:pt x="494901" y="1044508"/>
                  </a:lnTo>
                  <a:lnTo>
                    <a:pt x="526177" y="1025395"/>
                  </a:lnTo>
                  <a:lnTo>
                    <a:pt x="526177" y="990540"/>
                  </a:lnTo>
                  <a:lnTo>
                    <a:pt x="685318" y="882604"/>
                  </a:lnTo>
                  <a:lnTo>
                    <a:pt x="685318" y="917458"/>
                  </a:lnTo>
                  <a:lnTo>
                    <a:pt x="700956" y="953437"/>
                  </a:lnTo>
                  <a:lnTo>
                    <a:pt x="717514" y="917458"/>
                  </a:lnTo>
                  <a:lnTo>
                    <a:pt x="814102" y="882604"/>
                  </a:lnTo>
                  <a:lnTo>
                    <a:pt x="830660" y="899469"/>
                  </a:lnTo>
                  <a:lnTo>
                    <a:pt x="861936" y="882604"/>
                  </a:lnTo>
                  <a:lnTo>
                    <a:pt x="798464" y="791533"/>
                  </a:lnTo>
                  <a:lnTo>
                    <a:pt x="814102" y="755554"/>
                  </a:lnTo>
                  <a:lnTo>
                    <a:pt x="1005439" y="899469"/>
                  </a:lnTo>
                  <a:lnTo>
                    <a:pt x="1052353" y="936572"/>
                  </a:lnTo>
                  <a:lnTo>
                    <a:pt x="1052353" y="899469"/>
                  </a:lnTo>
                  <a:lnTo>
                    <a:pt x="1005439" y="828636"/>
                  </a:lnTo>
                  <a:lnTo>
                    <a:pt x="1005439" y="737564"/>
                  </a:lnTo>
                  <a:lnTo>
                    <a:pt x="1084549" y="504827"/>
                  </a:lnTo>
                  <a:lnTo>
                    <a:pt x="1116745" y="485713"/>
                  </a:lnTo>
                  <a:lnTo>
                    <a:pt x="1132384" y="522816"/>
                  </a:lnTo>
                  <a:lnTo>
                    <a:pt x="1116745" y="539681"/>
                  </a:lnTo>
                  <a:lnTo>
                    <a:pt x="1148022" y="558795"/>
                  </a:lnTo>
                  <a:lnTo>
                    <a:pt x="1132384" y="666731"/>
                  </a:lnTo>
                  <a:lnTo>
                    <a:pt x="1148022" y="701586"/>
                  </a:lnTo>
                  <a:lnTo>
                    <a:pt x="1148022" y="882604"/>
                  </a:lnTo>
                  <a:lnTo>
                    <a:pt x="1180218" y="917458"/>
                  </a:lnTo>
                  <a:lnTo>
                    <a:pt x="1163660" y="971426"/>
                  </a:lnTo>
                  <a:lnTo>
                    <a:pt x="1100187" y="1061373"/>
                  </a:lnTo>
                  <a:lnTo>
                    <a:pt x="1116745" y="1079363"/>
                  </a:lnTo>
                  <a:lnTo>
                    <a:pt x="1211494" y="990540"/>
                  </a:lnTo>
                  <a:lnTo>
                    <a:pt x="1195856" y="899469"/>
                  </a:lnTo>
                  <a:lnTo>
                    <a:pt x="1227132" y="882604"/>
                  </a:lnTo>
                  <a:lnTo>
                    <a:pt x="1180218" y="882604"/>
                  </a:lnTo>
                  <a:lnTo>
                    <a:pt x="1180218" y="828636"/>
                  </a:lnTo>
                  <a:lnTo>
                    <a:pt x="1195856" y="755554"/>
                  </a:lnTo>
                  <a:lnTo>
                    <a:pt x="1163660" y="683596"/>
                  </a:lnTo>
                  <a:lnTo>
                    <a:pt x="1211494" y="593649"/>
                  </a:lnTo>
                  <a:lnTo>
                    <a:pt x="1195856" y="539681"/>
                  </a:lnTo>
                  <a:lnTo>
                    <a:pt x="1195856" y="522816"/>
                  </a:lnTo>
                  <a:lnTo>
                    <a:pt x="1227132" y="558795"/>
                  </a:lnTo>
                  <a:lnTo>
                    <a:pt x="1259328" y="593649"/>
                  </a:lnTo>
                  <a:lnTo>
                    <a:pt x="1274967" y="575660"/>
                  </a:lnTo>
                  <a:lnTo>
                    <a:pt x="1322801" y="593649"/>
                  </a:lnTo>
                  <a:lnTo>
                    <a:pt x="1370635" y="666731"/>
                  </a:lnTo>
                  <a:lnTo>
                    <a:pt x="1402831" y="647618"/>
                  </a:lnTo>
                  <a:lnTo>
                    <a:pt x="1354997" y="593649"/>
                  </a:lnTo>
                  <a:lnTo>
                    <a:pt x="1338439" y="485713"/>
                  </a:lnTo>
                  <a:lnTo>
                    <a:pt x="1515058" y="450859"/>
                  </a:lnTo>
                  <a:lnTo>
                    <a:pt x="1499419" y="360912"/>
                  </a:lnTo>
                  <a:lnTo>
                    <a:pt x="1547254" y="288954"/>
                  </a:lnTo>
                  <a:lnTo>
                    <a:pt x="1674198" y="199008"/>
                  </a:lnTo>
                  <a:lnTo>
                    <a:pt x="1817701" y="161904"/>
                  </a:lnTo>
                  <a:lnTo>
                    <a:pt x="1865535" y="161904"/>
                  </a:lnTo>
                  <a:lnTo>
                    <a:pt x="1865535" y="91071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solidFill>
                <a:schemeClr val="bg1">
                  <a:alpha val="2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18613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  <a:sym typeface="Helvetica Neue"/>
              </a:endParaRPr>
            </a:p>
          </p:txBody>
        </p:sp>
        <p:grpSp>
          <p:nvGrpSpPr>
            <p:cNvPr id="968" name="Group 3">
              <a:extLst>
                <a:ext uri="{FF2B5EF4-FFF2-40B4-BE49-F238E27FC236}">
                  <a16:creationId xmlns:a16="http://schemas.microsoft.com/office/drawing/2014/main" id="{60502092-8513-0447-9875-48108FA20B2A}"/>
                </a:ext>
              </a:extLst>
            </p:cNvPr>
            <p:cNvGrpSpPr/>
            <p:nvPr/>
          </p:nvGrpSpPr>
          <p:grpSpPr>
            <a:xfrm>
              <a:off x="3227832" y="1472567"/>
              <a:ext cx="8195199" cy="5284492"/>
              <a:chOff x="1057275" y="2005013"/>
              <a:chExt cx="7558087" cy="3984625"/>
            </a:xfrm>
            <a:grpFill/>
          </p:grpSpPr>
          <p:sp>
            <p:nvSpPr>
              <p:cNvPr id="969" name="Freeform 3">
                <a:extLst>
                  <a:ext uri="{FF2B5EF4-FFF2-40B4-BE49-F238E27FC236}">
                    <a16:creationId xmlns:a16="http://schemas.microsoft.com/office/drawing/2014/main" id="{6949D1D4-FEEF-5843-8FCE-E0C1363806A4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127250" y="2486026"/>
                <a:ext cx="403225" cy="190500"/>
              </a:xfrm>
              <a:custGeom>
                <a:avLst/>
                <a:gdLst>
                  <a:gd name="T0" fmla="*/ 90310 w 509"/>
                  <a:gd name="T1" fmla="*/ 41275 h 240"/>
                  <a:gd name="T2" fmla="*/ 93478 w 509"/>
                  <a:gd name="T3" fmla="*/ 44450 h 240"/>
                  <a:gd name="T4" fmla="*/ 90310 w 509"/>
                  <a:gd name="T5" fmla="*/ 47625 h 240"/>
                  <a:gd name="T6" fmla="*/ 76050 w 509"/>
                  <a:gd name="T7" fmla="*/ 44450 h 240"/>
                  <a:gd name="T8" fmla="*/ 65752 w 509"/>
                  <a:gd name="T9" fmla="*/ 44450 h 240"/>
                  <a:gd name="T10" fmla="*/ 55453 w 509"/>
                  <a:gd name="T11" fmla="*/ 44450 h 240"/>
                  <a:gd name="T12" fmla="*/ 48324 w 509"/>
                  <a:gd name="T13" fmla="*/ 47625 h 240"/>
                  <a:gd name="T14" fmla="*/ 34064 w 509"/>
                  <a:gd name="T15" fmla="*/ 47625 h 240"/>
                  <a:gd name="T16" fmla="*/ 30895 w 509"/>
                  <a:gd name="T17" fmla="*/ 44450 h 240"/>
                  <a:gd name="T18" fmla="*/ 23766 w 509"/>
                  <a:gd name="T19" fmla="*/ 44450 h 240"/>
                  <a:gd name="T20" fmla="*/ 13467 w 509"/>
                  <a:gd name="T21" fmla="*/ 44450 h 240"/>
                  <a:gd name="T22" fmla="*/ 6338 w 509"/>
                  <a:gd name="T23" fmla="*/ 37306 h 240"/>
                  <a:gd name="T24" fmla="*/ 20597 w 509"/>
                  <a:gd name="T25" fmla="*/ 34131 h 240"/>
                  <a:gd name="T26" fmla="*/ 30895 w 509"/>
                  <a:gd name="T27" fmla="*/ 34131 h 240"/>
                  <a:gd name="T28" fmla="*/ 23766 w 509"/>
                  <a:gd name="T29" fmla="*/ 30956 h 240"/>
                  <a:gd name="T30" fmla="*/ 13467 w 509"/>
                  <a:gd name="T31" fmla="*/ 30956 h 240"/>
                  <a:gd name="T32" fmla="*/ 3169 w 509"/>
                  <a:gd name="T33" fmla="*/ 26988 h 240"/>
                  <a:gd name="T34" fmla="*/ 10298 w 509"/>
                  <a:gd name="T35" fmla="*/ 23813 h 240"/>
                  <a:gd name="T36" fmla="*/ 3169 w 509"/>
                  <a:gd name="T37" fmla="*/ 23813 h 240"/>
                  <a:gd name="T38" fmla="*/ 0 w 509"/>
                  <a:gd name="T39" fmla="*/ 20638 h 240"/>
                  <a:gd name="T40" fmla="*/ 13467 w 509"/>
                  <a:gd name="T41" fmla="*/ 7144 h 240"/>
                  <a:gd name="T42" fmla="*/ 23766 w 509"/>
                  <a:gd name="T43" fmla="*/ 7144 h 240"/>
                  <a:gd name="T44" fmla="*/ 27727 w 509"/>
                  <a:gd name="T45" fmla="*/ 13494 h 240"/>
                  <a:gd name="T46" fmla="*/ 30895 w 509"/>
                  <a:gd name="T47" fmla="*/ 7144 h 240"/>
                  <a:gd name="T48" fmla="*/ 41194 w 509"/>
                  <a:gd name="T49" fmla="*/ 10319 h 240"/>
                  <a:gd name="T50" fmla="*/ 45155 w 509"/>
                  <a:gd name="T51" fmla="*/ 13494 h 240"/>
                  <a:gd name="T52" fmla="*/ 48324 w 509"/>
                  <a:gd name="T53" fmla="*/ 10319 h 240"/>
                  <a:gd name="T54" fmla="*/ 55453 w 509"/>
                  <a:gd name="T55" fmla="*/ 10319 h 240"/>
                  <a:gd name="T56" fmla="*/ 55453 w 509"/>
                  <a:gd name="T57" fmla="*/ 17463 h 240"/>
                  <a:gd name="T58" fmla="*/ 58622 w 509"/>
                  <a:gd name="T59" fmla="*/ 20638 h 240"/>
                  <a:gd name="T60" fmla="*/ 58622 w 509"/>
                  <a:gd name="T61" fmla="*/ 13494 h 240"/>
                  <a:gd name="T62" fmla="*/ 55453 w 509"/>
                  <a:gd name="T63" fmla="*/ 7144 h 240"/>
                  <a:gd name="T64" fmla="*/ 61791 w 509"/>
                  <a:gd name="T65" fmla="*/ 3175 h 240"/>
                  <a:gd name="T66" fmla="*/ 65752 w 509"/>
                  <a:gd name="T67" fmla="*/ 0 h 240"/>
                  <a:gd name="T68" fmla="*/ 72882 w 509"/>
                  <a:gd name="T69" fmla="*/ 0 h 240"/>
                  <a:gd name="T70" fmla="*/ 76050 w 509"/>
                  <a:gd name="T71" fmla="*/ 3175 h 240"/>
                  <a:gd name="T72" fmla="*/ 76050 w 509"/>
                  <a:gd name="T73" fmla="*/ 10319 h 240"/>
                  <a:gd name="T74" fmla="*/ 76050 w 509"/>
                  <a:gd name="T75" fmla="*/ 20638 h 240"/>
                  <a:gd name="T76" fmla="*/ 83180 w 509"/>
                  <a:gd name="T77" fmla="*/ 30956 h 240"/>
                  <a:gd name="T78" fmla="*/ 100608 w 509"/>
                  <a:gd name="T79" fmla="*/ 37306 h 240"/>
                  <a:gd name="T80" fmla="*/ 93478 w 509"/>
                  <a:gd name="T81" fmla="*/ 37306 h 24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509"/>
                  <a:gd name="T124" fmla="*/ 0 h 240"/>
                  <a:gd name="T125" fmla="*/ 509 w 509"/>
                  <a:gd name="T126" fmla="*/ 240 h 24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509" h="240">
                    <a:moveTo>
                      <a:pt x="457" y="188"/>
                    </a:moveTo>
                    <a:lnTo>
                      <a:pt x="457" y="205"/>
                    </a:lnTo>
                    <a:lnTo>
                      <a:pt x="457" y="223"/>
                    </a:lnTo>
                    <a:lnTo>
                      <a:pt x="475" y="223"/>
                    </a:lnTo>
                    <a:lnTo>
                      <a:pt x="457" y="223"/>
                    </a:lnTo>
                    <a:lnTo>
                      <a:pt x="457" y="240"/>
                    </a:lnTo>
                    <a:lnTo>
                      <a:pt x="423" y="240"/>
                    </a:lnTo>
                    <a:lnTo>
                      <a:pt x="386" y="223"/>
                    </a:lnTo>
                    <a:lnTo>
                      <a:pt x="369" y="223"/>
                    </a:lnTo>
                    <a:lnTo>
                      <a:pt x="333" y="223"/>
                    </a:lnTo>
                    <a:lnTo>
                      <a:pt x="315" y="223"/>
                    </a:lnTo>
                    <a:lnTo>
                      <a:pt x="281" y="223"/>
                    </a:lnTo>
                    <a:lnTo>
                      <a:pt x="281" y="240"/>
                    </a:lnTo>
                    <a:lnTo>
                      <a:pt x="246" y="240"/>
                    </a:lnTo>
                    <a:lnTo>
                      <a:pt x="210" y="240"/>
                    </a:lnTo>
                    <a:lnTo>
                      <a:pt x="175" y="240"/>
                    </a:lnTo>
                    <a:lnTo>
                      <a:pt x="158" y="240"/>
                    </a:lnTo>
                    <a:lnTo>
                      <a:pt x="158" y="223"/>
                    </a:lnTo>
                    <a:lnTo>
                      <a:pt x="141" y="223"/>
                    </a:lnTo>
                    <a:lnTo>
                      <a:pt x="123" y="223"/>
                    </a:lnTo>
                    <a:lnTo>
                      <a:pt x="106" y="223"/>
                    </a:lnTo>
                    <a:lnTo>
                      <a:pt x="70" y="223"/>
                    </a:lnTo>
                    <a:lnTo>
                      <a:pt x="52" y="205"/>
                    </a:lnTo>
                    <a:lnTo>
                      <a:pt x="35" y="188"/>
                    </a:lnTo>
                    <a:lnTo>
                      <a:pt x="70" y="171"/>
                    </a:lnTo>
                    <a:lnTo>
                      <a:pt x="106" y="171"/>
                    </a:lnTo>
                    <a:lnTo>
                      <a:pt x="141" y="171"/>
                    </a:lnTo>
                    <a:lnTo>
                      <a:pt x="158" y="171"/>
                    </a:lnTo>
                    <a:lnTo>
                      <a:pt x="158" y="154"/>
                    </a:lnTo>
                    <a:lnTo>
                      <a:pt x="123" y="154"/>
                    </a:lnTo>
                    <a:lnTo>
                      <a:pt x="106" y="154"/>
                    </a:lnTo>
                    <a:lnTo>
                      <a:pt x="70" y="154"/>
                    </a:lnTo>
                    <a:lnTo>
                      <a:pt x="35" y="154"/>
                    </a:lnTo>
                    <a:lnTo>
                      <a:pt x="18" y="136"/>
                    </a:lnTo>
                    <a:lnTo>
                      <a:pt x="35" y="119"/>
                    </a:lnTo>
                    <a:lnTo>
                      <a:pt x="52" y="119"/>
                    </a:lnTo>
                    <a:lnTo>
                      <a:pt x="35" y="119"/>
                    </a:lnTo>
                    <a:lnTo>
                      <a:pt x="18" y="119"/>
                    </a:lnTo>
                    <a:lnTo>
                      <a:pt x="0" y="119"/>
                    </a:lnTo>
                    <a:lnTo>
                      <a:pt x="0" y="102"/>
                    </a:lnTo>
                    <a:lnTo>
                      <a:pt x="18" y="67"/>
                    </a:lnTo>
                    <a:lnTo>
                      <a:pt x="70" y="33"/>
                    </a:lnTo>
                    <a:lnTo>
                      <a:pt x="123" y="15"/>
                    </a:lnTo>
                    <a:lnTo>
                      <a:pt x="123" y="33"/>
                    </a:lnTo>
                    <a:lnTo>
                      <a:pt x="141" y="50"/>
                    </a:lnTo>
                    <a:lnTo>
                      <a:pt x="141" y="67"/>
                    </a:lnTo>
                    <a:lnTo>
                      <a:pt x="141" y="50"/>
                    </a:lnTo>
                    <a:lnTo>
                      <a:pt x="158" y="33"/>
                    </a:lnTo>
                    <a:lnTo>
                      <a:pt x="192" y="50"/>
                    </a:lnTo>
                    <a:lnTo>
                      <a:pt x="210" y="50"/>
                    </a:lnTo>
                    <a:lnTo>
                      <a:pt x="210" y="67"/>
                    </a:lnTo>
                    <a:lnTo>
                      <a:pt x="229" y="67"/>
                    </a:lnTo>
                    <a:lnTo>
                      <a:pt x="229" y="50"/>
                    </a:lnTo>
                    <a:lnTo>
                      <a:pt x="246" y="50"/>
                    </a:lnTo>
                    <a:lnTo>
                      <a:pt x="263" y="50"/>
                    </a:lnTo>
                    <a:lnTo>
                      <a:pt x="281" y="50"/>
                    </a:lnTo>
                    <a:lnTo>
                      <a:pt x="281" y="67"/>
                    </a:lnTo>
                    <a:lnTo>
                      <a:pt x="281" y="85"/>
                    </a:lnTo>
                    <a:lnTo>
                      <a:pt x="281" y="102"/>
                    </a:lnTo>
                    <a:lnTo>
                      <a:pt x="298" y="102"/>
                    </a:lnTo>
                    <a:lnTo>
                      <a:pt x="315" y="102"/>
                    </a:lnTo>
                    <a:lnTo>
                      <a:pt x="298" y="67"/>
                    </a:lnTo>
                    <a:lnTo>
                      <a:pt x="298" y="50"/>
                    </a:lnTo>
                    <a:lnTo>
                      <a:pt x="281" y="33"/>
                    </a:lnTo>
                    <a:lnTo>
                      <a:pt x="298" y="15"/>
                    </a:lnTo>
                    <a:lnTo>
                      <a:pt x="315" y="15"/>
                    </a:lnTo>
                    <a:lnTo>
                      <a:pt x="333" y="15"/>
                    </a:lnTo>
                    <a:lnTo>
                      <a:pt x="333" y="0"/>
                    </a:lnTo>
                    <a:lnTo>
                      <a:pt x="350" y="0"/>
                    </a:lnTo>
                    <a:lnTo>
                      <a:pt x="369" y="0"/>
                    </a:lnTo>
                    <a:lnTo>
                      <a:pt x="386" y="0"/>
                    </a:lnTo>
                    <a:lnTo>
                      <a:pt x="386" y="15"/>
                    </a:lnTo>
                    <a:lnTo>
                      <a:pt x="386" y="33"/>
                    </a:lnTo>
                    <a:lnTo>
                      <a:pt x="386" y="50"/>
                    </a:lnTo>
                    <a:lnTo>
                      <a:pt x="386" y="67"/>
                    </a:lnTo>
                    <a:lnTo>
                      <a:pt x="386" y="102"/>
                    </a:lnTo>
                    <a:lnTo>
                      <a:pt x="405" y="119"/>
                    </a:lnTo>
                    <a:lnTo>
                      <a:pt x="423" y="154"/>
                    </a:lnTo>
                    <a:lnTo>
                      <a:pt x="457" y="171"/>
                    </a:lnTo>
                    <a:lnTo>
                      <a:pt x="509" y="188"/>
                    </a:lnTo>
                    <a:lnTo>
                      <a:pt x="492" y="188"/>
                    </a:lnTo>
                    <a:lnTo>
                      <a:pt x="475" y="188"/>
                    </a:lnTo>
                    <a:lnTo>
                      <a:pt x="457" y="18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70" name="Freeform 4">
                <a:extLst>
                  <a:ext uri="{FF2B5EF4-FFF2-40B4-BE49-F238E27FC236}">
                    <a16:creationId xmlns:a16="http://schemas.microsoft.com/office/drawing/2014/main" id="{0CBD1E5A-0750-054A-9B79-2C3B95BD80A6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971675" y="2443163"/>
                <a:ext cx="239713" cy="150813"/>
              </a:xfrm>
              <a:custGeom>
                <a:avLst/>
                <a:gdLst>
                  <a:gd name="T0" fmla="*/ 10353 w 301"/>
                  <a:gd name="T1" fmla="*/ 34925 h 190"/>
                  <a:gd name="T2" fmla="*/ 10353 w 301"/>
                  <a:gd name="T3" fmla="*/ 30956 h 190"/>
                  <a:gd name="T4" fmla="*/ 7167 w 301"/>
                  <a:gd name="T5" fmla="*/ 30956 h 190"/>
                  <a:gd name="T6" fmla="*/ 3982 w 301"/>
                  <a:gd name="T7" fmla="*/ 30956 h 190"/>
                  <a:gd name="T8" fmla="*/ 0 w 301"/>
                  <a:gd name="T9" fmla="*/ 27781 h 190"/>
                  <a:gd name="T10" fmla="*/ 3982 w 301"/>
                  <a:gd name="T11" fmla="*/ 23813 h 190"/>
                  <a:gd name="T12" fmla="*/ 10353 w 301"/>
                  <a:gd name="T13" fmla="*/ 14288 h 190"/>
                  <a:gd name="T14" fmla="*/ 10353 w 301"/>
                  <a:gd name="T15" fmla="*/ 10319 h 190"/>
                  <a:gd name="T16" fmla="*/ 10353 w 301"/>
                  <a:gd name="T17" fmla="*/ 7938 h 190"/>
                  <a:gd name="T18" fmla="*/ 10353 w 301"/>
                  <a:gd name="T19" fmla="*/ 3969 h 190"/>
                  <a:gd name="T20" fmla="*/ 7167 w 301"/>
                  <a:gd name="T21" fmla="*/ 3969 h 190"/>
                  <a:gd name="T22" fmla="*/ 10353 w 301"/>
                  <a:gd name="T23" fmla="*/ 0 h 190"/>
                  <a:gd name="T24" fmla="*/ 14335 w 301"/>
                  <a:gd name="T25" fmla="*/ 0 h 190"/>
                  <a:gd name="T26" fmla="*/ 21502 w 301"/>
                  <a:gd name="T27" fmla="*/ 3969 h 190"/>
                  <a:gd name="T28" fmla="*/ 24688 w 301"/>
                  <a:gd name="T29" fmla="*/ 0 h 190"/>
                  <a:gd name="T30" fmla="*/ 27874 w 301"/>
                  <a:gd name="T31" fmla="*/ 0 h 190"/>
                  <a:gd name="T32" fmla="*/ 31856 w 301"/>
                  <a:gd name="T33" fmla="*/ 3969 h 190"/>
                  <a:gd name="T34" fmla="*/ 35837 w 301"/>
                  <a:gd name="T35" fmla="*/ 3969 h 190"/>
                  <a:gd name="T36" fmla="*/ 39023 w 301"/>
                  <a:gd name="T37" fmla="*/ 7938 h 190"/>
                  <a:gd name="T38" fmla="*/ 43005 w 301"/>
                  <a:gd name="T39" fmla="*/ 3969 h 190"/>
                  <a:gd name="T40" fmla="*/ 46191 w 301"/>
                  <a:gd name="T41" fmla="*/ 3969 h 190"/>
                  <a:gd name="T42" fmla="*/ 49376 w 301"/>
                  <a:gd name="T43" fmla="*/ 7938 h 190"/>
                  <a:gd name="T44" fmla="*/ 56544 w 301"/>
                  <a:gd name="T45" fmla="*/ 10319 h 190"/>
                  <a:gd name="T46" fmla="*/ 60526 w 301"/>
                  <a:gd name="T47" fmla="*/ 10319 h 190"/>
                  <a:gd name="T48" fmla="*/ 56544 w 301"/>
                  <a:gd name="T49" fmla="*/ 14288 h 190"/>
                  <a:gd name="T50" fmla="*/ 49376 w 301"/>
                  <a:gd name="T51" fmla="*/ 17463 h 190"/>
                  <a:gd name="T52" fmla="*/ 46191 w 301"/>
                  <a:gd name="T53" fmla="*/ 17463 h 190"/>
                  <a:gd name="T54" fmla="*/ 39023 w 301"/>
                  <a:gd name="T55" fmla="*/ 20638 h 190"/>
                  <a:gd name="T56" fmla="*/ 35837 w 301"/>
                  <a:gd name="T57" fmla="*/ 23813 h 190"/>
                  <a:gd name="T58" fmla="*/ 31856 w 301"/>
                  <a:gd name="T59" fmla="*/ 30956 h 190"/>
                  <a:gd name="T60" fmla="*/ 27874 w 301"/>
                  <a:gd name="T61" fmla="*/ 34925 h 190"/>
                  <a:gd name="T62" fmla="*/ 21502 w 301"/>
                  <a:gd name="T63" fmla="*/ 34925 h 190"/>
                  <a:gd name="T64" fmla="*/ 14335 w 301"/>
                  <a:gd name="T65" fmla="*/ 38100 h 190"/>
                  <a:gd name="T66" fmla="*/ 14335 w 301"/>
                  <a:gd name="T67" fmla="*/ 34925 h 190"/>
                  <a:gd name="T68" fmla="*/ 10353 w 301"/>
                  <a:gd name="T69" fmla="*/ 34925 h 19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01"/>
                  <a:gd name="T106" fmla="*/ 0 h 190"/>
                  <a:gd name="T107" fmla="*/ 301 w 301"/>
                  <a:gd name="T108" fmla="*/ 190 h 19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01" h="190">
                    <a:moveTo>
                      <a:pt x="51" y="173"/>
                    </a:moveTo>
                    <a:lnTo>
                      <a:pt x="51" y="156"/>
                    </a:lnTo>
                    <a:lnTo>
                      <a:pt x="34" y="156"/>
                    </a:lnTo>
                    <a:lnTo>
                      <a:pt x="17" y="156"/>
                    </a:lnTo>
                    <a:lnTo>
                      <a:pt x="0" y="139"/>
                    </a:lnTo>
                    <a:lnTo>
                      <a:pt x="17" y="121"/>
                    </a:lnTo>
                    <a:lnTo>
                      <a:pt x="51" y="69"/>
                    </a:lnTo>
                    <a:lnTo>
                      <a:pt x="51" y="54"/>
                    </a:lnTo>
                    <a:lnTo>
                      <a:pt x="51" y="37"/>
                    </a:lnTo>
                    <a:lnTo>
                      <a:pt x="51" y="20"/>
                    </a:lnTo>
                    <a:lnTo>
                      <a:pt x="34" y="20"/>
                    </a:lnTo>
                    <a:lnTo>
                      <a:pt x="51" y="0"/>
                    </a:lnTo>
                    <a:lnTo>
                      <a:pt x="71" y="0"/>
                    </a:lnTo>
                    <a:lnTo>
                      <a:pt x="105" y="20"/>
                    </a:lnTo>
                    <a:lnTo>
                      <a:pt x="122" y="0"/>
                    </a:lnTo>
                    <a:lnTo>
                      <a:pt x="140" y="0"/>
                    </a:lnTo>
                    <a:lnTo>
                      <a:pt x="159" y="20"/>
                    </a:lnTo>
                    <a:lnTo>
                      <a:pt x="178" y="20"/>
                    </a:lnTo>
                    <a:lnTo>
                      <a:pt x="195" y="37"/>
                    </a:lnTo>
                    <a:lnTo>
                      <a:pt x="213" y="20"/>
                    </a:lnTo>
                    <a:lnTo>
                      <a:pt x="230" y="20"/>
                    </a:lnTo>
                    <a:lnTo>
                      <a:pt x="247" y="37"/>
                    </a:lnTo>
                    <a:lnTo>
                      <a:pt x="284" y="54"/>
                    </a:lnTo>
                    <a:lnTo>
                      <a:pt x="301" y="54"/>
                    </a:lnTo>
                    <a:lnTo>
                      <a:pt x="284" y="69"/>
                    </a:lnTo>
                    <a:lnTo>
                      <a:pt x="247" y="87"/>
                    </a:lnTo>
                    <a:lnTo>
                      <a:pt x="230" y="87"/>
                    </a:lnTo>
                    <a:lnTo>
                      <a:pt x="195" y="104"/>
                    </a:lnTo>
                    <a:lnTo>
                      <a:pt x="178" y="121"/>
                    </a:lnTo>
                    <a:lnTo>
                      <a:pt x="159" y="156"/>
                    </a:lnTo>
                    <a:lnTo>
                      <a:pt x="140" y="173"/>
                    </a:lnTo>
                    <a:lnTo>
                      <a:pt x="105" y="173"/>
                    </a:lnTo>
                    <a:lnTo>
                      <a:pt x="71" y="190"/>
                    </a:lnTo>
                    <a:lnTo>
                      <a:pt x="71" y="173"/>
                    </a:lnTo>
                    <a:lnTo>
                      <a:pt x="51" y="17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71" name="Freeform 5">
                <a:extLst>
                  <a:ext uri="{FF2B5EF4-FFF2-40B4-BE49-F238E27FC236}">
                    <a16:creationId xmlns:a16="http://schemas.microsoft.com/office/drawing/2014/main" id="{2CBF34E3-1C12-A64B-9AB9-7D8BC2103ADC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2155825" y="2347913"/>
                <a:ext cx="260350" cy="109538"/>
              </a:xfrm>
              <a:custGeom>
                <a:avLst/>
                <a:gdLst>
                  <a:gd name="T0" fmla="*/ 20637 w 328"/>
                  <a:gd name="T1" fmla="*/ 23813 h 138"/>
                  <a:gd name="T2" fmla="*/ 20637 w 328"/>
                  <a:gd name="T3" fmla="*/ 23813 h 138"/>
                  <a:gd name="T4" fmla="*/ 23812 w 328"/>
                  <a:gd name="T5" fmla="*/ 19844 h 138"/>
                  <a:gd name="T6" fmla="*/ 20637 w 328"/>
                  <a:gd name="T7" fmla="*/ 16669 h 138"/>
                  <a:gd name="T8" fmla="*/ 16669 w 328"/>
                  <a:gd name="T9" fmla="*/ 19844 h 138"/>
                  <a:gd name="T10" fmla="*/ 10319 w 328"/>
                  <a:gd name="T11" fmla="*/ 19844 h 138"/>
                  <a:gd name="T12" fmla="*/ 3969 w 328"/>
                  <a:gd name="T13" fmla="*/ 19844 h 138"/>
                  <a:gd name="T14" fmla="*/ 0 w 328"/>
                  <a:gd name="T15" fmla="*/ 16669 h 138"/>
                  <a:gd name="T16" fmla="*/ 3969 w 328"/>
                  <a:gd name="T17" fmla="*/ 13494 h 138"/>
                  <a:gd name="T18" fmla="*/ 10319 w 328"/>
                  <a:gd name="T19" fmla="*/ 13494 h 138"/>
                  <a:gd name="T20" fmla="*/ 10319 w 328"/>
                  <a:gd name="T21" fmla="*/ 13494 h 138"/>
                  <a:gd name="T22" fmla="*/ 3969 w 328"/>
                  <a:gd name="T23" fmla="*/ 13494 h 138"/>
                  <a:gd name="T24" fmla="*/ 7144 w 328"/>
                  <a:gd name="T25" fmla="*/ 9525 h 138"/>
                  <a:gd name="T26" fmla="*/ 14288 w 328"/>
                  <a:gd name="T27" fmla="*/ 9525 h 138"/>
                  <a:gd name="T28" fmla="*/ 14288 w 328"/>
                  <a:gd name="T29" fmla="*/ 9525 h 138"/>
                  <a:gd name="T30" fmla="*/ 7144 w 328"/>
                  <a:gd name="T31" fmla="*/ 9525 h 138"/>
                  <a:gd name="T32" fmla="*/ 10319 w 328"/>
                  <a:gd name="T33" fmla="*/ 7144 h 138"/>
                  <a:gd name="T34" fmla="*/ 10319 w 328"/>
                  <a:gd name="T35" fmla="*/ 3175 h 138"/>
                  <a:gd name="T36" fmla="*/ 16669 w 328"/>
                  <a:gd name="T37" fmla="*/ 3175 h 138"/>
                  <a:gd name="T38" fmla="*/ 23812 w 328"/>
                  <a:gd name="T39" fmla="*/ 7144 h 138"/>
                  <a:gd name="T40" fmla="*/ 34131 w 328"/>
                  <a:gd name="T41" fmla="*/ 13494 h 138"/>
                  <a:gd name="T42" fmla="*/ 44450 w 328"/>
                  <a:gd name="T43" fmla="*/ 13494 h 138"/>
                  <a:gd name="T44" fmla="*/ 44450 w 328"/>
                  <a:gd name="T45" fmla="*/ 13494 h 138"/>
                  <a:gd name="T46" fmla="*/ 44450 w 328"/>
                  <a:gd name="T47" fmla="*/ 9525 h 138"/>
                  <a:gd name="T48" fmla="*/ 40481 w 328"/>
                  <a:gd name="T49" fmla="*/ 7144 h 138"/>
                  <a:gd name="T50" fmla="*/ 37306 w 328"/>
                  <a:gd name="T51" fmla="*/ 3175 h 138"/>
                  <a:gd name="T52" fmla="*/ 44450 w 328"/>
                  <a:gd name="T53" fmla="*/ 0 h 138"/>
                  <a:gd name="T54" fmla="*/ 47625 w 328"/>
                  <a:gd name="T55" fmla="*/ 3175 h 138"/>
                  <a:gd name="T56" fmla="*/ 51594 w 328"/>
                  <a:gd name="T57" fmla="*/ 9525 h 138"/>
                  <a:gd name="T58" fmla="*/ 61913 w 328"/>
                  <a:gd name="T59" fmla="*/ 7144 h 138"/>
                  <a:gd name="T60" fmla="*/ 65088 w 328"/>
                  <a:gd name="T61" fmla="*/ 9525 h 138"/>
                  <a:gd name="T62" fmla="*/ 61913 w 328"/>
                  <a:gd name="T63" fmla="*/ 19844 h 138"/>
                  <a:gd name="T64" fmla="*/ 47625 w 328"/>
                  <a:gd name="T65" fmla="*/ 19844 h 138"/>
                  <a:gd name="T66" fmla="*/ 37306 w 328"/>
                  <a:gd name="T67" fmla="*/ 23813 h 138"/>
                  <a:gd name="T68" fmla="*/ 30956 w 328"/>
                  <a:gd name="T69" fmla="*/ 23813 h 138"/>
                  <a:gd name="T70" fmla="*/ 23812 w 328"/>
                  <a:gd name="T71" fmla="*/ 27781 h 13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28"/>
                  <a:gd name="T109" fmla="*/ 0 h 138"/>
                  <a:gd name="T110" fmla="*/ 328 w 328"/>
                  <a:gd name="T111" fmla="*/ 138 h 13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28" h="138">
                    <a:moveTo>
                      <a:pt x="121" y="138"/>
                    </a:moveTo>
                    <a:lnTo>
                      <a:pt x="104" y="120"/>
                    </a:lnTo>
                    <a:lnTo>
                      <a:pt x="86" y="120"/>
                    </a:lnTo>
                    <a:lnTo>
                      <a:pt x="104" y="120"/>
                    </a:lnTo>
                    <a:lnTo>
                      <a:pt x="121" y="120"/>
                    </a:lnTo>
                    <a:lnTo>
                      <a:pt x="121" y="103"/>
                    </a:lnTo>
                    <a:lnTo>
                      <a:pt x="104" y="103"/>
                    </a:lnTo>
                    <a:lnTo>
                      <a:pt x="104" y="86"/>
                    </a:lnTo>
                    <a:lnTo>
                      <a:pt x="86" y="86"/>
                    </a:lnTo>
                    <a:lnTo>
                      <a:pt x="86" y="103"/>
                    </a:lnTo>
                    <a:lnTo>
                      <a:pt x="69" y="103"/>
                    </a:lnTo>
                    <a:lnTo>
                      <a:pt x="52" y="103"/>
                    </a:lnTo>
                    <a:lnTo>
                      <a:pt x="34" y="103"/>
                    </a:lnTo>
                    <a:lnTo>
                      <a:pt x="17" y="103"/>
                    </a:lnTo>
                    <a:lnTo>
                      <a:pt x="0" y="103"/>
                    </a:lnTo>
                    <a:lnTo>
                      <a:pt x="0" y="86"/>
                    </a:lnTo>
                    <a:lnTo>
                      <a:pt x="0" y="69"/>
                    </a:lnTo>
                    <a:lnTo>
                      <a:pt x="17" y="69"/>
                    </a:lnTo>
                    <a:lnTo>
                      <a:pt x="34" y="69"/>
                    </a:lnTo>
                    <a:lnTo>
                      <a:pt x="52" y="69"/>
                    </a:lnTo>
                    <a:lnTo>
                      <a:pt x="69" y="69"/>
                    </a:lnTo>
                    <a:lnTo>
                      <a:pt x="52" y="69"/>
                    </a:lnTo>
                    <a:lnTo>
                      <a:pt x="34" y="69"/>
                    </a:lnTo>
                    <a:lnTo>
                      <a:pt x="17" y="69"/>
                    </a:lnTo>
                    <a:lnTo>
                      <a:pt x="17" y="51"/>
                    </a:lnTo>
                    <a:lnTo>
                      <a:pt x="34" y="51"/>
                    </a:lnTo>
                    <a:lnTo>
                      <a:pt x="52" y="51"/>
                    </a:lnTo>
                    <a:lnTo>
                      <a:pt x="69" y="51"/>
                    </a:lnTo>
                    <a:lnTo>
                      <a:pt x="86" y="51"/>
                    </a:lnTo>
                    <a:lnTo>
                      <a:pt x="69" y="51"/>
                    </a:lnTo>
                    <a:lnTo>
                      <a:pt x="52" y="51"/>
                    </a:lnTo>
                    <a:lnTo>
                      <a:pt x="34" y="51"/>
                    </a:lnTo>
                    <a:lnTo>
                      <a:pt x="34" y="34"/>
                    </a:lnTo>
                    <a:lnTo>
                      <a:pt x="52" y="34"/>
                    </a:lnTo>
                    <a:lnTo>
                      <a:pt x="69" y="34"/>
                    </a:lnTo>
                    <a:lnTo>
                      <a:pt x="52" y="17"/>
                    </a:lnTo>
                    <a:lnTo>
                      <a:pt x="69" y="17"/>
                    </a:lnTo>
                    <a:lnTo>
                      <a:pt x="86" y="17"/>
                    </a:lnTo>
                    <a:lnTo>
                      <a:pt x="104" y="34"/>
                    </a:lnTo>
                    <a:lnTo>
                      <a:pt x="121" y="34"/>
                    </a:lnTo>
                    <a:lnTo>
                      <a:pt x="138" y="51"/>
                    </a:lnTo>
                    <a:lnTo>
                      <a:pt x="173" y="69"/>
                    </a:lnTo>
                    <a:lnTo>
                      <a:pt x="207" y="69"/>
                    </a:lnTo>
                    <a:lnTo>
                      <a:pt x="225" y="69"/>
                    </a:lnTo>
                    <a:lnTo>
                      <a:pt x="242" y="69"/>
                    </a:lnTo>
                    <a:lnTo>
                      <a:pt x="225" y="69"/>
                    </a:lnTo>
                    <a:lnTo>
                      <a:pt x="207" y="69"/>
                    </a:lnTo>
                    <a:lnTo>
                      <a:pt x="225" y="51"/>
                    </a:lnTo>
                    <a:lnTo>
                      <a:pt x="225" y="34"/>
                    </a:lnTo>
                    <a:lnTo>
                      <a:pt x="207" y="34"/>
                    </a:lnTo>
                    <a:lnTo>
                      <a:pt x="190" y="34"/>
                    </a:lnTo>
                    <a:lnTo>
                      <a:pt x="190" y="17"/>
                    </a:lnTo>
                    <a:lnTo>
                      <a:pt x="207" y="0"/>
                    </a:lnTo>
                    <a:lnTo>
                      <a:pt x="225" y="0"/>
                    </a:lnTo>
                    <a:lnTo>
                      <a:pt x="242" y="0"/>
                    </a:lnTo>
                    <a:lnTo>
                      <a:pt x="242" y="17"/>
                    </a:lnTo>
                    <a:lnTo>
                      <a:pt x="242" y="34"/>
                    </a:lnTo>
                    <a:lnTo>
                      <a:pt x="259" y="51"/>
                    </a:lnTo>
                    <a:lnTo>
                      <a:pt x="294" y="51"/>
                    </a:lnTo>
                    <a:lnTo>
                      <a:pt x="311" y="34"/>
                    </a:lnTo>
                    <a:lnTo>
                      <a:pt x="311" y="51"/>
                    </a:lnTo>
                    <a:lnTo>
                      <a:pt x="328" y="51"/>
                    </a:lnTo>
                    <a:lnTo>
                      <a:pt x="328" y="69"/>
                    </a:lnTo>
                    <a:lnTo>
                      <a:pt x="311" y="103"/>
                    </a:lnTo>
                    <a:lnTo>
                      <a:pt x="294" y="103"/>
                    </a:lnTo>
                    <a:lnTo>
                      <a:pt x="242" y="103"/>
                    </a:lnTo>
                    <a:lnTo>
                      <a:pt x="225" y="120"/>
                    </a:lnTo>
                    <a:lnTo>
                      <a:pt x="190" y="120"/>
                    </a:lnTo>
                    <a:lnTo>
                      <a:pt x="173" y="120"/>
                    </a:lnTo>
                    <a:lnTo>
                      <a:pt x="155" y="120"/>
                    </a:lnTo>
                    <a:lnTo>
                      <a:pt x="138" y="120"/>
                    </a:lnTo>
                    <a:lnTo>
                      <a:pt x="121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72" name="Freeform 6">
                <a:extLst>
                  <a:ext uri="{FF2B5EF4-FFF2-40B4-BE49-F238E27FC236}">
                    <a16:creationId xmlns:a16="http://schemas.microsoft.com/office/drawing/2014/main" id="{CA5B26C9-2DD0-3640-92FE-30ED9B9295AD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2041525" y="2319338"/>
                <a:ext cx="155575" cy="82550"/>
              </a:xfrm>
              <a:custGeom>
                <a:avLst/>
                <a:gdLst>
                  <a:gd name="T0" fmla="*/ 38894 w 196"/>
                  <a:gd name="T1" fmla="*/ 0 h 104"/>
                  <a:gd name="T2" fmla="*/ 38894 w 196"/>
                  <a:gd name="T3" fmla="*/ 3969 h 104"/>
                  <a:gd name="T4" fmla="*/ 35719 w 196"/>
                  <a:gd name="T5" fmla="*/ 3969 h 104"/>
                  <a:gd name="T6" fmla="*/ 35719 w 196"/>
                  <a:gd name="T7" fmla="*/ 7144 h 104"/>
                  <a:gd name="T8" fmla="*/ 38894 w 196"/>
                  <a:gd name="T9" fmla="*/ 7144 h 104"/>
                  <a:gd name="T10" fmla="*/ 35719 w 196"/>
                  <a:gd name="T11" fmla="*/ 7144 h 104"/>
                  <a:gd name="T12" fmla="*/ 28575 w 196"/>
                  <a:gd name="T13" fmla="*/ 14288 h 104"/>
                  <a:gd name="T14" fmla="*/ 24606 w 196"/>
                  <a:gd name="T15" fmla="*/ 10319 h 104"/>
                  <a:gd name="T16" fmla="*/ 24606 w 196"/>
                  <a:gd name="T17" fmla="*/ 7144 h 104"/>
                  <a:gd name="T18" fmla="*/ 20637 w 196"/>
                  <a:gd name="T19" fmla="*/ 10319 h 104"/>
                  <a:gd name="T20" fmla="*/ 20637 w 196"/>
                  <a:gd name="T21" fmla="*/ 14288 h 104"/>
                  <a:gd name="T22" fmla="*/ 18256 w 196"/>
                  <a:gd name="T23" fmla="*/ 14288 h 104"/>
                  <a:gd name="T24" fmla="*/ 18256 w 196"/>
                  <a:gd name="T25" fmla="*/ 17463 h 104"/>
                  <a:gd name="T26" fmla="*/ 18256 w 196"/>
                  <a:gd name="T27" fmla="*/ 20638 h 104"/>
                  <a:gd name="T28" fmla="*/ 14288 w 196"/>
                  <a:gd name="T29" fmla="*/ 20638 h 104"/>
                  <a:gd name="T30" fmla="*/ 10319 w 196"/>
                  <a:gd name="T31" fmla="*/ 20638 h 104"/>
                  <a:gd name="T32" fmla="*/ 10319 w 196"/>
                  <a:gd name="T33" fmla="*/ 17463 h 104"/>
                  <a:gd name="T34" fmla="*/ 7144 w 196"/>
                  <a:gd name="T35" fmla="*/ 17463 h 104"/>
                  <a:gd name="T36" fmla="*/ 3969 w 196"/>
                  <a:gd name="T37" fmla="*/ 17463 h 104"/>
                  <a:gd name="T38" fmla="*/ 0 w 196"/>
                  <a:gd name="T39" fmla="*/ 17463 h 104"/>
                  <a:gd name="T40" fmla="*/ 0 w 196"/>
                  <a:gd name="T41" fmla="*/ 14288 h 104"/>
                  <a:gd name="T42" fmla="*/ 3969 w 196"/>
                  <a:gd name="T43" fmla="*/ 10319 h 104"/>
                  <a:gd name="T44" fmla="*/ 7144 w 196"/>
                  <a:gd name="T45" fmla="*/ 10319 h 104"/>
                  <a:gd name="T46" fmla="*/ 10319 w 196"/>
                  <a:gd name="T47" fmla="*/ 7144 h 104"/>
                  <a:gd name="T48" fmla="*/ 14288 w 196"/>
                  <a:gd name="T49" fmla="*/ 7144 h 104"/>
                  <a:gd name="T50" fmla="*/ 18256 w 196"/>
                  <a:gd name="T51" fmla="*/ 7144 h 104"/>
                  <a:gd name="T52" fmla="*/ 18256 w 196"/>
                  <a:gd name="T53" fmla="*/ 3969 h 104"/>
                  <a:gd name="T54" fmla="*/ 20637 w 196"/>
                  <a:gd name="T55" fmla="*/ 0 h 104"/>
                  <a:gd name="T56" fmla="*/ 24606 w 196"/>
                  <a:gd name="T57" fmla="*/ 0 h 104"/>
                  <a:gd name="T58" fmla="*/ 28575 w 196"/>
                  <a:gd name="T59" fmla="*/ 0 h 104"/>
                  <a:gd name="T60" fmla="*/ 35719 w 196"/>
                  <a:gd name="T61" fmla="*/ 0 h 104"/>
                  <a:gd name="T62" fmla="*/ 38894 w 196"/>
                  <a:gd name="T63" fmla="*/ 0 h 10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96"/>
                  <a:gd name="T97" fmla="*/ 0 h 104"/>
                  <a:gd name="T98" fmla="*/ 196 w 196"/>
                  <a:gd name="T99" fmla="*/ 104 h 10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96" h="104">
                    <a:moveTo>
                      <a:pt x="196" y="0"/>
                    </a:moveTo>
                    <a:lnTo>
                      <a:pt x="196" y="17"/>
                    </a:lnTo>
                    <a:lnTo>
                      <a:pt x="177" y="17"/>
                    </a:lnTo>
                    <a:lnTo>
                      <a:pt x="177" y="35"/>
                    </a:lnTo>
                    <a:lnTo>
                      <a:pt x="196" y="35"/>
                    </a:lnTo>
                    <a:lnTo>
                      <a:pt x="177" y="35"/>
                    </a:lnTo>
                    <a:lnTo>
                      <a:pt x="142" y="69"/>
                    </a:lnTo>
                    <a:lnTo>
                      <a:pt x="125" y="52"/>
                    </a:lnTo>
                    <a:lnTo>
                      <a:pt x="125" y="35"/>
                    </a:lnTo>
                    <a:lnTo>
                      <a:pt x="107" y="52"/>
                    </a:lnTo>
                    <a:lnTo>
                      <a:pt x="107" y="69"/>
                    </a:lnTo>
                    <a:lnTo>
                      <a:pt x="90" y="69"/>
                    </a:lnTo>
                    <a:lnTo>
                      <a:pt x="90" y="86"/>
                    </a:lnTo>
                    <a:lnTo>
                      <a:pt x="90" y="104"/>
                    </a:lnTo>
                    <a:lnTo>
                      <a:pt x="69" y="104"/>
                    </a:lnTo>
                    <a:lnTo>
                      <a:pt x="52" y="104"/>
                    </a:lnTo>
                    <a:lnTo>
                      <a:pt x="52" y="86"/>
                    </a:lnTo>
                    <a:lnTo>
                      <a:pt x="34" y="86"/>
                    </a:lnTo>
                    <a:lnTo>
                      <a:pt x="17" y="86"/>
                    </a:lnTo>
                    <a:lnTo>
                      <a:pt x="0" y="86"/>
                    </a:lnTo>
                    <a:lnTo>
                      <a:pt x="0" y="69"/>
                    </a:lnTo>
                    <a:lnTo>
                      <a:pt x="17" y="52"/>
                    </a:lnTo>
                    <a:lnTo>
                      <a:pt x="34" y="52"/>
                    </a:lnTo>
                    <a:lnTo>
                      <a:pt x="52" y="35"/>
                    </a:lnTo>
                    <a:lnTo>
                      <a:pt x="69" y="35"/>
                    </a:lnTo>
                    <a:lnTo>
                      <a:pt x="90" y="35"/>
                    </a:lnTo>
                    <a:lnTo>
                      <a:pt x="90" y="17"/>
                    </a:lnTo>
                    <a:lnTo>
                      <a:pt x="107" y="0"/>
                    </a:lnTo>
                    <a:lnTo>
                      <a:pt x="125" y="0"/>
                    </a:lnTo>
                    <a:lnTo>
                      <a:pt x="142" y="0"/>
                    </a:lnTo>
                    <a:lnTo>
                      <a:pt x="177" y="0"/>
                    </a:lnTo>
                    <a:lnTo>
                      <a:pt x="19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73" name="Freeform 7">
                <a:extLst>
                  <a:ext uri="{FF2B5EF4-FFF2-40B4-BE49-F238E27FC236}">
                    <a16:creationId xmlns:a16="http://schemas.microsoft.com/office/drawing/2014/main" id="{7A80E55B-1275-9642-8173-14517933291B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2249488" y="2265363"/>
                <a:ext cx="84138" cy="28575"/>
              </a:xfrm>
              <a:custGeom>
                <a:avLst/>
                <a:gdLst>
                  <a:gd name="T0" fmla="*/ 7144 w 106"/>
                  <a:gd name="T1" fmla="*/ 7144 h 36"/>
                  <a:gd name="T2" fmla="*/ 3969 w 106"/>
                  <a:gd name="T3" fmla="*/ 3969 h 36"/>
                  <a:gd name="T4" fmla="*/ 0 w 106"/>
                  <a:gd name="T5" fmla="*/ 3969 h 36"/>
                  <a:gd name="T6" fmla="*/ 0 w 106"/>
                  <a:gd name="T7" fmla="*/ 7144 h 36"/>
                  <a:gd name="T8" fmla="*/ 0 w 106"/>
                  <a:gd name="T9" fmla="*/ 0 h 36"/>
                  <a:gd name="T10" fmla="*/ 7144 w 106"/>
                  <a:gd name="T11" fmla="*/ 0 h 36"/>
                  <a:gd name="T12" fmla="*/ 10319 w 106"/>
                  <a:gd name="T13" fmla="*/ 0 h 36"/>
                  <a:gd name="T14" fmla="*/ 14288 w 106"/>
                  <a:gd name="T15" fmla="*/ 0 h 36"/>
                  <a:gd name="T16" fmla="*/ 17463 w 106"/>
                  <a:gd name="T17" fmla="*/ 0 h 36"/>
                  <a:gd name="T18" fmla="*/ 21431 w 106"/>
                  <a:gd name="T19" fmla="*/ 3969 h 36"/>
                  <a:gd name="T20" fmla="*/ 17463 w 106"/>
                  <a:gd name="T21" fmla="*/ 3969 h 36"/>
                  <a:gd name="T22" fmla="*/ 14288 w 106"/>
                  <a:gd name="T23" fmla="*/ 7144 h 36"/>
                  <a:gd name="T24" fmla="*/ 10319 w 106"/>
                  <a:gd name="T25" fmla="*/ 7144 h 36"/>
                  <a:gd name="T26" fmla="*/ 7144 w 106"/>
                  <a:gd name="T27" fmla="*/ 7144 h 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06"/>
                  <a:gd name="T43" fmla="*/ 0 h 36"/>
                  <a:gd name="T44" fmla="*/ 106 w 106"/>
                  <a:gd name="T45" fmla="*/ 36 h 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06" h="36">
                    <a:moveTo>
                      <a:pt x="36" y="36"/>
                    </a:moveTo>
                    <a:lnTo>
                      <a:pt x="17" y="17"/>
                    </a:lnTo>
                    <a:lnTo>
                      <a:pt x="0" y="17"/>
                    </a:lnTo>
                    <a:lnTo>
                      <a:pt x="0" y="36"/>
                    </a:lnTo>
                    <a:lnTo>
                      <a:pt x="0" y="0"/>
                    </a:lnTo>
                    <a:lnTo>
                      <a:pt x="36" y="0"/>
                    </a:lnTo>
                    <a:lnTo>
                      <a:pt x="54" y="0"/>
                    </a:lnTo>
                    <a:lnTo>
                      <a:pt x="71" y="0"/>
                    </a:lnTo>
                    <a:lnTo>
                      <a:pt x="88" y="0"/>
                    </a:lnTo>
                    <a:lnTo>
                      <a:pt x="106" y="17"/>
                    </a:lnTo>
                    <a:lnTo>
                      <a:pt x="88" y="17"/>
                    </a:lnTo>
                    <a:lnTo>
                      <a:pt x="71" y="36"/>
                    </a:lnTo>
                    <a:lnTo>
                      <a:pt x="54" y="36"/>
                    </a:lnTo>
                    <a:lnTo>
                      <a:pt x="36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74" name="Freeform 8">
                <a:extLst>
                  <a:ext uri="{FF2B5EF4-FFF2-40B4-BE49-F238E27FC236}">
                    <a16:creationId xmlns:a16="http://schemas.microsoft.com/office/drawing/2014/main" id="{D391500C-A2D9-D74D-B475-7F4A417EBC3F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2249488" y="2293938"/>
                <a:ext cx="71438" cy="41275"/>
              </a:xfrm>
              <a:custGeom>
                <a:avLst/>
                <a:gdLst>
                  <a:gd name="T0" fmla="*/ 14612 w 88"/>
                  <a:gd name="T1" fmla="*/ 3969 h 52"/>
                  <a:gd name="T2" fmla="*/ 11365 w 88"/>
                  <a:gd name="T3" fmla="*/ 7144 h 52"/>
                  <a:gd name="T4" fmla="*/ 4059 w 88"/>
                  <a:gd name="T5" fmla="*/ 10319 h 52"/>
                  <a:gd name="T6" fmla="*/ 0 w 88"/>
                  <a:gd name="T7" fmla="*/ 7144 h 52"/>
                  <a:gd name="T8" fmla="*/ 0 w 88"/>
                  <a:gd name="T9" fmla="*/ 3969 h 52"/>
                  <a:gd name="T10" fmla="*/ 0 w 88"/>
                  <a:gd name="T11" fmla="*/ 0 h 52"/>
                  <a:gd name="T12" fmla="*/ 11365 w 88"/>
                  <a:gd name="T13" fmla="*/ 0 h 52"/>
                  <a:gd name="T14" fmla="*/ 14612 w 88"/>
                  <a:gd name="T15" fmla="*/ 0 h 52"/>
                  <a:gd name="T16" fmla="*/ 18671 w 88"/>
                  <a:gd name="T17" fmla="*/ 0 h 52"/>
                  <a:gd name="T18" fmla="*/ 18671 w 88"/>
                  <a:gd name="T19" fmla="*/ 3969 h 52"/>
                  <a:gd name="T20" fmla="*/ 14612 w 88"/>
                  <a:gd name="T21" fmla="*/ 3969 h 52"/>
                  <a:gd name="T22" fmla="*/ 11365 w 88"/>
                  <a:gd name="T23" fmla="*/ 3969 h 52"/>
                  <a:gd name="T24" fmla="*/ 14612 w 88"/>
                  <a:gd name="T25" fmla="*/ 3969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8"/>
                  <a:gd name="T40" fmla="*/ 0 h 52"/>
                  <a:gd name="T41" fmla="*/ 88 w 88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8" h="52">
                    <a:moveTo>
                      <a:pt x="71" y="18"/>
                    </a:moveTo>
                    <a:lnTo>
                      <a:pt x="54" y="35"/>
                    </a:lnTo>
                    <a:lnTo>
                      <a:pt x="17" y="52"/>
                    </a:lnTo>
                    <a:lnTo>
                      <a:pt x="0" y="35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54" y="0"/>
                    </a:lnTo>
                    <a:lnTo>
                      <a:pt x="71" y="0"/>
                    </a:lnTo>
                    <a:lnTo>
                      <a:pt x="88" y="0"/>
                    </a:lnTo>
                    <a:lnTo>
                      <a:pt x="88" y="18"/>
                    </a:lnTo>
                    <a:lnTo>
                      <a:pt x="71" y="18"/>
                    </a:lnTo>
                    <a:lnTo>
                      <a:pt x="54" y="18"/>
                    </a:lnTo>
                    <a:lnTo>
                      <a:pt x="71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75" name="Freeform 9">
                <a:extLst>
                  <a:ext uri="{FF2B5EF4-FFF2-40B4-BE49-F238E27FC236}">
                    <a16:creationId xmlns:a16="http://schemas.microsoft.com/office/drawing/2014/main" id="{B63EEBE9-3A94-7243-82A5-1359C6DDE7E4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2211388" y="2347913"/>
                <a:ext cx="26988" cy="0"/>
              </a:xfrm>
              <a:custGeom>
                <a:avLst/>
                <a:gdLst>
                  <a:gd name="T0" fmla="*/ 3084 w 35"/>
                  <a:gd name="T1" fmla="*/ 0 w 35"/>
                  <a:gd name="T2" fmla="*/ 3084 w 35"/>
                  <a:gd name="T3" fmla="*/ 6169 w 35"/>
                  <a:gd name="T4" fmla="*/ 3084 w 35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  <a:gd name="T10" fmla="*/ 0 w 35"/>
                  <a:gd name="T11" fmla="*/ 35 w 35"/>
                </a:gdLst>
                <a:ahLst/>
                <a:cxnLst>
                  <a:cxn ang="T5">
                    <a:pos x="T0" y="0"/>
                  </a:cxn>
                  <a:cxn ang="T6">
                    <a:pos x="T1" y="0"/>
                  </a:cxn>
                  <a:cxn ang="T7">
                    <a:pos x="T2" y="0"/>
                  </a:cxn>
                  <a:cxn ang="T8">
                    <a:pos x="T3" y="0"/>
                  </a:cxn>
                  <a:cxn ang="T9">
                    <a:pos x="T4" y="0"/>
                  </a:cxn>
                </a:cxnLst>
                <a:rect l="T10" t="0" r="T11" b="0"/>
                <a:pathLst>
                  <a:path w="35">
                    <a:moveTo>
                      <a:pt x="17" y="0"/>
                    </a:moveTo>
                    <a:lnTo>
                      <a:pt x="0" y="0"/>
                    </a:lnTo>
                    <a:lnTo>
                      <a:pt x="17" y="0"/>
                    </a:lnTo>
                    <a:lnTo>
                      <a:pt x="35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76" name="Freeform 10">
                <a:extLst>
                  <a:ext uri="{FF2B5EF4-FFF2-40B4-BE49-F238E27FC236}">
                    <a16:creationId xmlns:a16="http://schemas.microsoft.com/office/drawing/2014/main" id="{59A97F68-B9C7-6445-802E-901521BE60F8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2433638" y="2347913"/>
                <a:ext cx="153988" cy="84138"/>
              </a:xfrm>
              <a:custGeom>
                <a:avLst/>
                <a:gdLst>
                  <a:gd name="T0" fmla="*/ 3969 w 194"/>
                  <a:gd name="T1" fmla="*/ 7212 h 105"/>
                  <a:gd name="T2" fmla="*/ 3969 w 194"/>
                  <a:gd name="T3" fmla="*/ 4007 h 105"/>
                  <a:gd name="T4" fmla="*/ 0 w 194"/>
                  <a:gd name="T5" fmla="*/ 0 h 105"/>
                  <a:gd name="T6" fmla="*/ 3969 w 194"/>
                  <a:gd name="T7" fmla="*/ 0 h 105"/>
                  <a:gd name="T8" fmla="*/ 10319 w 194"/>
                  <a:gd name="T9" fmla="*/ 4007 h 105"/>
                  <a:gd name="T10" fmla="*/ 14288 w 194"/>
                  <a:gd name="T11" fmla="*/ 11218 h 105"/>
                  <a:gd name="T12" fmla="*/ 20638 w 194"/>
                  <a:gd name="T13" fmla="*/ 11218 h 105"/>
                  <a:gd name="T14" fmla="*/ 18256 w 194"/>
                  <a:gd name="T15" fmla="*/ 11218 h 105"/>
                  <a:gd name="T16" fmla="*/ 14288 w 194"/>
                  <a:gd name="T17" fmla="*/ 7212 h 105"/>
                  <a:gd name="T18" fmla="*/ 14288 w 194"/>
                  <a:gd name="T19" fmla="*/ 4007 h 105"/>
                  <a:gd name="T20" fmla="*/ 18256 w 194"/>
                  <a:gd name="T21" fmla="*/ 7212 h 105"/>
                  <a:gd name="T22" fmla="*/ 24606 w 194"/>
                  <a:gd name="T23" fmla="*/ 7212 h 105"/>
                  <a:gd name="T24" fmla="*/ 24606 w 194"/>
                  <a:gd name="T25" fmla="*/ 11218 h 105"/>
                  <a:gd name="T26" fmla="*/ 24606 w 194"/>
                  <a:gd name="T27" fmla="*/ 7212 h 105"/>
                  <a:gd name="T28" fmla="*/ 24606 w 194"/>
                  <a:gd name="T29" fmla="*/ 4007 h 105"/>
                  <a:gd name="T30" fmla="*/ 20638 w 194"/>
                  <a:gd name="T31" fmla="*/ 4007 h 105"/>
                  <a:gd name="T32" fmla="*/ 20638 w 194"/>
                  <a:gd name="T33" fmla="*/ 0 h 105"/>
                  <a:gd name="T34" fmla="*/ 24606 w 194"/>
                  <a:gd name="T35" fmla="*/ 0 h 105"/>
                  <a:gd name="T36" fmla="*/ 28575 w 194"/>
                  <a:gd name="T37" fmla="*/ 4007 h 105"/>
                  <a:gd name="T38" fmla="*/ 31750 w 194"/>
                  <a:gd name="T39" fmla="*/ 4007 h 105"/>
                  <a:gd name="T40" fmla="*/ 35719 w 194"/>
                  <a:gd name="T41" fmla="*/ 4007 h 105"/>
                  <a:gd name="T42" fmla="*/ 35719 w 194"/>
                  <a:gd name="T43" fmla="*/ 0 h 105"/>
                  <a:gd name="T44" fmla="*/ 35719 w 194"/>
                  <a:gd name="T45" fmla="*/ 4007 h 105"/>
                  <a:gd name="T46" fmla="*/ 38894 w 194"/>
                  <a:gd name="T47" fmla="*/ 4007 h 105"/>
                  <a:gd name="T48" fmla="*/ 38894 w 194"/>
                  <a:gd name="T49" fmla="*/ 7212 h 105"/>
                  <a:gd name="T50" fmla="*/ 38894 w 194"/>
                  <a:gd name="T51" fmla="*/ 14424 h 105"/>
                  <a:gd name="T52" fmla="*/ 35719 w 194"/>
                  <a:gd name="T53" fmla="*/ 14424 h 105"/>
                  <a:gd name="T54" fmla="*/ 35719 w 194"/>
                  <a:gd name="T55" fmla="*/ 21635 h 105"/>
                  <a:gd name="T56" fmla="*/ 31750 w 194"/>
                  <a:gd name="T57" fmla="*/ 21635 h 105"/>
                  <a:gd name="T58" fmla="*/ 28575 w 194"/>
                  <a:gd name="T59" fmla="*/ 21635 h 105"/>
                  <a:gd name="T60" fmla="*/ 24606 w 194"/>
                  <a:gd name="T61" fmla="*/ 21635 h 105"/>
                  <a:gd name="T62" fmla="*/ 24606 w 194"/>
                  <a:gd name="T63" fmla="*/ 17629 h 105"/>
                  <a:gd name="T64" fmla="*/ 24606 w 194"/>
                  <a:gd name="T65" fmla="*/ 14424 h 105"/>
                  <a:gd name="T66" fmla="*/ 28575 w 194"/>
                  <a:gd name="T67" fmla="*/ 14424 h 105"/>
                  <a:gd name="T68" fmla="*/ 24606 w 194"/>
                  <a:gd name="T69" fmla="*/ 14424 h 105"/>
                  <a:gd name="T70" fmla="*/ 18256 w 194"/>
                  <a:gd name="T71" fmla="*/ 14424 h 105"/>
                  <a:gd name="T72" fmla="*/ 14288 w 194"/>
                  <a:gd name="T73" fmla="*/ 14424 h 105"/>
                  <a:gd name="T74" fmla="*/ 10319 w 194"/>
                  <a:gd name="T75" fmla="*/ 14424 h 105"/>
                  <a:gd name="T76" fmla="*/ 7938 w 194"/>
                  <a:gd name="T77" fmla="*/ 14424 h 105"/>
                  <a:gd name="T78" fmla="*/ 7938 w 194"/>
                  <a:gd name="T79" fmla="*/ 11218 h 105"/>
                  <a:gd name="T80" fmla="*/ 3969 w 194"/>
                  <a:gd name="T81" fmla="*/ 11218 h 105"/>
                  <a:gd name="T82" fmla="*/ 3969 w 194"/>
                  <a:gd name="T83" fmla="*/ 7212 h 105"/>
                  <a:gd name="T84" fmla="*/ 3969 w 194"/>
                  <a:gd name="T85" fmla="*/ 4007 h 105"/>
                  <a:gd name="T86" fmla="*/ 3969 w 194"/>
                  <a:gd name="T87" fmla="*/ 7212 h 105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94"/>
                  <a:gd name="T133" fmla="*/ 0 h 105"/>
                  <a:gd name="T134" fmla="*/ 194 w 194"/>
                  <a:gd name="T135" fmla="*/ 105 h 105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94" h="105">
                    <a:moveTo>
                      <a:pt x="19" y="34"/>
                    </a:moveTo>
                    <a:lnTo>
                      <a:pt x="19" y="17"/>
                    </a:lnTo>
                    <a:lnTo>
                      <a:pt x="0" y="0"/>
                    </a:lnTo>
                    <a:lnTo>
                      <a:pt x="19" y="0"/>
                    </a:lnTo>
                    <a:lnTo>
                      <a:pt x="54" y="17"/>
                    </a:lnTo>
                    <a:lnTo>
                      <a:pt x="71" y="53"/>
                    </a:lnTo>
                    <a:lnTo>
                      <a:pt x="106" y="53"/>
                    </a:lnTo>
                    <a:lnTo>
                      <a:pt x="89" y="53"/>
                    </a:lnTo>
                    <a:lnTo>
                      <a:pt x="71" y="34"/>
                    </a:lnTo>
                    <a:lnTo>
                      <a:pt x="71" y="17"/>
                    </a:lnTo>
                    <a:lnTo>
                      <a:pt x="89" y="34"/>
                    </a:lnTo>
                    <a:lnTo>
                      <a:pt x="125" y="34"/>
                    </a:lnTo>
                    <a:lnTo>
                      <a:pt x="125" y="53"/>
                    </a:lnTo>
                    <a:lnTo>
                      <a:pt x="125" y="34"/>
                    </a:lnTo>
                    <a:lnTo>
                      <a:pt x="125" y="17"/>
                    </a:lnTo>
                    <a:lnTo>
                      <a:pt x="106" y="17"/>
                    </a:lnTo>
                    <a:lnTo>
                      <a:pt x="106" y="0"/>
                    </a:lnTo>
                    <a:lnTo>
                      <a:pt x="125" y="0"/>
                    </a:lnTo>
                    <a:lnTo>
                      <a:pt x="142" y="17"/>
                    </a:lnTo>
                    <a:lnTo>
                      <a:pt x="160" y="17"/>
                    </a:lnTo>
                    <a:lnTo>
                      <a:pt x="177" y="17"/>
                    </a:lnTo>
                    <a:lnTo>
                      <a:pt x="177" y="0"/>
                    </a:lnTo>
                    <a:lnTo>
                      <a:pt x="177" y="17"/>
                    </a:lnTo>
                    <a:lnTo>
                      <a:pt x="194" y="17"/>
                    </a:lnTo>
                    <a:lnTo>
                      <a:pt x="194" y="34"/>
                    </a:lnTo>
                    <a:lnTo>
                      <a:pt x="194" y="71"/>
                    </a:lnTo>
                    <a:lnTo>
                      <a:pt x="177" y="71"/>
                    </a:lnTo>
                    <a:lnTo>
                      <a:pt x="177" y="105"/>
                    </a:lnTo>
                    <a:lnTo>
                      <a:pt x="160" y="105"/>
                    </a:lnTo>
                    <a:lnTo>
                      <a:pt x="142" y="105"/>
                    </a:lnTo>
                    <a:lnTo>
                      <a:pt x="125" y="105"/>
                    </a:lnTo>
                    <a:lnTo>
                      <a:pt x="125" y="88"/>
                    </a:lnTo>
                    <a:lnTo>
                      <a:pt x="125" y="71"/>
                    </a:lnTo>
                    <a:lnTo>
                      <a:pt x="142" y="71"/>
                    </a:lnTo>
                    <a:lnTo>
                      <a:pt x="125" y="71"/>
                    </a:lnTo>
                    <a:lnTo>
                      <a:pt x="89" y="71"/>
                    </a:lnTo>
                    <a:lnTo>
                      <a:pt x="71" y="71"/>
                    </a:lnTo>
                    <a:lnTo>
                      <a:pt x="54" y="71"/>
                    </a:lnTo>
                    <a:lnTo>
                      <a:pt x="37" y="71"/>
                    </a:lnTo>
                    <a:lnTo>
                      <a:pt x="37" y="53"/>
                    </a:lnTo>
                    <a:lnTo>
                      <a:pt x="19" y="53"/>
                    </a:lnTo>
                    <a:lnTo>
                      <a:pt x="19" y="34"/>
                    </a:lnTo>
                    <a:lnTo>
                      <a:pt x="19" y="17"/>
                    </a:lnTo>
                    <a:lnTo>
                      <a:pt x="19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77" name="Freeform 11">
                <a:extLst>
                  <a:ext uri="{FF2B5EF4-FFF2-40B4-BE49-F238E27FC236}">
                    <a16:creationId xmlns:a16="http://schemas.microsoft.com/office/drawing/2014/main" id="{FBA912D9-2EF1-5B4F-88A2-45BB5575FC11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401888" y="2306638"/>
                <a:ext cx="31750" cy="28575"/>
              </a:xfrm>
              <a:custGeom>
                <a:avLst/>
                <a:gdLst>
                  <a:gd name="T0" fmla="*/ 9191 w 38"/>
                  <a:gd name="T1" fmla="*/ 3969 h 36"/>
                  <a:gd name="T2" fmla="*/ 9191 w 38"/>
                  <a:gd name="T3" fmla="*/ 7144 h 36"/>
                  <a:gd name="T4" fmla="*/ 4178 w 38"/>
                  <a:gd name="T5" fmla="*/ 7144 h 36"/>
                  <a:gd name="T6" fmla="*/ 0 w 38"/>
                  <a:gd name="T7" fmla="*/ 3969 h 36"/>
                  <a:gd name="T8" fmla="*/ 0 w 38"/>
                  <a:gd name="T9" fmla="*/ 0 h 36"/>
                  <a:gd name="T10" fmla="*/ 4178 w 38"/>
                  <a:gd name="T11" fmla="*/ 0 h 36"/>
                  <a:gd name="T12" fmla="*/ 9191 w 38"/>
                  <a:gd name="T13" fmla="*/ 3969 h 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"/>
                  <a:gd name="T22" fmla="*/ 0 h 36"/>
                  <a:gd name="T23" fmla="*/ 38 w 38"/>
                  <a:gd name="T24" fmla="*/ 36 h 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" h="36">
                    <a:moveTo>
                      <a:pt x="38" y="17"/>
                    </a:moveTo>
                    <a:lnTo>
                      <a:pt x="38" y="36"/>
                    </a:lnTo>
                    <a:lnTo>
                      <a:pt x="19" y="36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19" y="0"/>
                    </a:lnTo>
                    <a:lnTo>
                      <a:pt x="38" y="1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78" name="Freeform 12">
                <a:extLst>
                  <a:ext uri="{FF2B5EF4-FFF2-40B4-BE49-F238E27FC236}">
                    <a16:creationId xmlns:a16="http://schemas.microsoft.com/office/drawing/2014/main" id="{FEB3444E-EBD3-FB46-B176-288D600B3C9A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433638" y="2401888"/>
                <a:ext cx="30163" cy="30163"/>
              </a:xfrm>
              <a:custGeom>
                <a:avLst/>
                <a:gdLst>
                  <a:gd name="T0" fmla="*/ 3094 w 39"/>
                  <a:gd name="T1" fmla="*/ 0 h 36"/>
                  <a:gd name="T2" fmla="*/ 6961 w 39"/>
                  <a:gd name="T3" fmla="*/ 4189 h 36"/>
                  <a:gd name="T4" fmla="*/ 3094 w 39"/>
                  <a:gd name="T5" fmla="*/ 8379 h 36"/>
                  <a:gd name="T6" fmla="*/ 0 w 39"/>
                  <a:gd name="T7" fmla="*/ 8379 h 36"/>
                  <a:gd name="T8" fmla="*/ 0 w 39"/>
                  <a:gd name="T9" fmla="*/ 4189 h 36"/>
                  <a:gd name="T10" fmla="*/ 0 w 39"/>
                  <a:gd name="T11" fmla="*/ 0 h 36"/>
                  <a:gd name="T12" fmla="*/ 3094 w 39"/>
                  <a:gd name="T13" fmla="*/ 0 h 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9"/>
                  <a:gd name="T22" fmla="*/ 0 h 36"/>
                  <a:gd name="T23" fmla="*/ 39 w 39"/>
                  <a:gd name="T24" fmla="*/ 36 h 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9" h="36">
                    <a:moveTo>
                      <a:pt x="19" y="0"/>
                    </a:moveTo>
                    <a:lnTo>
                      <a:pt x="39" y="19"/>
                    </a:lnTo>
                    <a:lnTo>
                      <a:pt x="19" y="36"/>
                    </a:lnTo>
                    <a:lnTo>
                      <a:pt x="0" y="36"/>
                    </a:lnTo>
                    <a:lnTo>
                      <a:pt x="0" y="19"/>
                    </a:lnTo>
                    <a:lnTo>
                      <a:pt x="0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79" name="Freeform 13">
                <a:extLst>
                  <a:ext uri="{FF2B5EF4-FFF2-40B4-BE49-F238E27FC236}">
                    <a16:creationId xmlns:a16="http://schemas.microsoft.com/office/drawing/2014/main" id="{05FEB94E-281F-B640-A2EF-742F2551C97C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487613" y="2293938"/>
                <a:ext cx="28575" cy="12700"/>
              </a:xfrm>
              <a:custGeom>
                <a:avLst/>
                <a:gdLst>
                  <a:gd name="T0" fmla="*/ 0 w 37"/>
                  <a:gd name="T1" fmla="*/ 3175 h 16"/>
                  <a:gd name="T2" fmla="*/ 0 w 37"/>
                  <a:gd name="T3" fmla="*/ 0 h 16"/>
                  <a:gd name="T4" fmla="*/ 3861 w 37"/>
                  <a:gd name="T5" fmla="*/ 0 h 16"/>
                  <a:gd name="T6" fmla="*/ 3861 w 37"/>
                  <a:gd name="T7" fmla="*/ 3175 h 16"/>
                  <a:gd name="T8" fmla="*/ 6951 w 37"/>
                  <a:gd name="T9" fmla="*/ 3175 h 16"/>
                  <a:gd name="T10" fmla="*/ 3861 w 37"/>
                  <a:gd name="T11" fmla="*/ 3175 h 16"/>
                  <a:gd name="T12" fmla="*/ 0 w 37"/>
                  <a:gd name="T13" fmla="*/ 3175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7"/>
                  <a:gd name="T22" fmla="*/ 0 h 16"/>
                  <a:gd name="T23" fmla="*/ 37 w 37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7" h="16">
                    <a:moveTo>
                      <a:pt x="0" y="16"/>
                    </a:moveTo>
                    <a:lnTo>
                      <a:pt x="0" y="0"/>
                    </a:lnTo>
                    <a:lnTo>
                      <a:pt x="20" y="0"/>
                    </a:lnTo>
                    <a:lnTo>
                      <a:pt x="20" y="16"/>
                    </a:lnTo>
                    <a:lnTo>
                      <a:pt x="37" y="16"/>
                    </a:lnTo>
                    <a:lnTo>
                      <a:pt x="20" y="16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80" name="Freeform 14">
                <a:extLst>
                  <a:ext uri="{FF2B5EF4-FFF2-40B4-BE49-F238E27FC236}">
                    <a16:creationId xmlns:a16="http://schemas.microsoft.com/office/drawing/2014/main" id="{11ED5A0A-C776-ED4A-A9D6-AAF301BE3DD1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2544763" y="2197101"/>
                <a:ext cx="28575" cy="14288"/>
              </a:xfrm>
              <a:custGeom>
                <a:avLst/>
                <a:gdLst>
                  <a:gd name="T0" fmla="*/ 6951 w 37"/>
                  <a:gd name="T1" fmla="*/ 0 h 19"/>
                  <a:gd name="T2" fmla="*/ 6951 w 37"/>
                  <a:gd name="T3" fmla="*/ 3008 h 19"/>
                  <a:gd name="T4" fmla="*/ 3089 w 37"/>
                  <a:gd name="T5" fmla="*/ 3008 h 19"/>
                  <a:gd name="T6" fmla="*/ 0 w 37"/>
                  <a:gd name="T7" fmla="*/ 0 h 19"/>
                  <a:gd name="T8" fmla="*/ 3089 w 37"/>
                  <a:gd name="T9" fmla="*/ 0 h 19"/>
                  <a:gd name="T10" fmla="*/ 6951 w 37"/>
                  <a:gd name="T11" fmla="*/ 0 h 1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7"/>
                  <a:gd name="T19" fmla="*/ 0 h 19"/>
                  <a:gd name="T20" fmla="*/ 37 w 37"/>
                  <a:gd name="T21" fmla="*/ 19 h 1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7" h="19">
                    <a:moveTo>
                      <a:pt x="37" y="0"/>
                    </a:moveTo>
                    <a:lnTo>
                      <a:pt x="37" y="19"/>
                    </a:lnTo>
                    <a:lnTo>
                      <a:pt x="18" y="19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81" name="Freeform 15">
                <a:extLst>
                  <a:ext uri="{FF2B5EF4-FFF2-40B4-BE49-F238E27FC236}">
                    <a16:creationId xmlns:a16="http://schemas.microsoft.com/office/drawing/2014/main" id="{56F94BD3-E84E-A641-A6DE-331AADF8EEB2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420938" y="2225676"/>
                <a:ext cx="141288" cy="80963"/>
              </a:xfrm>
              <a:custGeom>
                <a:avLst/>
                <a:gdLst>
                  <a:gd name="T0" fmla="*/ 24469 w 179"/>
                  <a:gd name="T1" fmla="*/ 16669 h 102"/>
                  <a:gd name="T2" fmla="*/ 17365 w 179"/>
                  <a:gd name="T3" fmla="*/ 13494 h 102"/>
                  <a:gd name="T4" fmla="*/ 14208 w 179"/>
                  <a:gd name="T5" fmla="*/ 13494 h 102"/>
                  <a:gd name="T6" fmla="*/ 11050 w 179"/>
                  <a:gd name="T7" fmla="*/ 13494 h 102"/>
                  <a:gd name="T8" fmla="*/ 7104 w 179"/>
                  <a:gd name="T9" fmla="*/ 13494 h 102"/>
                  <a:gd name="T10" fmla="*/ 3157 w 179"/>
                  <a:gd name="T11" fmla="*/ 13494 h 102"/>
                  <a:gd name="T12" fmla="*/ 3157 w 179"/>
                  <a:gd name="T13" fmla="*/ 10319 h 102"/>
                  <a:gd name="T14" fmla="*/ 7104 w 179"/>
                  <a:gd name="T15" fmla="*/ 10319 h 102"/>
                  <a:gd name="T16" fmla="*/ 3157 w 179"/>
                  <a:gd name="T17" fmla="*/ 10319 h 102"/>
                  <a:gd name="T18" fmla="*/ 3157 w 179"/>
                  <a:gd name="T19" fmla="*/ 7144 h 102"/>
                  <a:gd name="T20" fmla="*/ 0 w 179"/>
                  <a:gd name="T21" fmla="*/ 7144 h 102"/>
                  <a:gd name="T22" fmla="*/ 0 w 179"/>
                  <a:gd name="T23" fmla="*/ 2381 h 102"/>
                  <a:gd name="T24" fmla="*/ 3157 w 179"/>
                  <a:gd name="T25" fmla="*/ 2381 h 102"/>
                  <a:gd name="T26" fmla="*/ 3157 w 179"/>
                  <a:gd name="T27" fmla="*/ 0 h 102"/>
                  <a:gd name="T28" fmla="*/ 7104 w 179"/>
                  <a:gd name="T29" fmla="*/ 2381 h 102"/>
                  <a:gd name="T30" fmla="*/ 11050 w 179"/>
                  <a:gd name="T31" fmla="*/ 2381 h 102"/>
                  <a:gd name="T32" fmla="*/ 14208 w 179"/>
                  <a:gd name="T33" fmla="*/ 7144 h 102"/>
                  <a:gd name="T34" fmla="*/ 14208 w 179"/>
                  <a:gd name="T35" fmla="*/ 2381 h 102"/>
                  <a:gd name="T36" fmla="*/ 17365 w 179"/>
                  <a:gd name="T37" fmla="*/ 2381 h 102"/>
                  <a:gd name="T38" fmla="*/ 21312 w 179"/>
                  <a:gd name="T39" fmla="*/ 7144 h 102"/>
                  <a:gd name="T40" fmla="*/ 21312 w 179"/>
                  <a:gd name="T41" fmla="*/ 10319 h 102"/>
                  <a:gd name="T42" fmla="*/ 24469 w 179"/>
                  <a:gd name="T43" fmla="*/ 10319 h 102"/>
                  <a:gd name="T44" fmla="*/ 24469 w 179"/>
                  <a:gd name="T45" fmla="*/ 7144 h 102"/>
                  <a:gd name="T46" fmla="*/ 28415 w 179"/>
                  <a:gd name="T47" fmla="*/ 7144 h 102"/>
                  <a:gd name="T48" fmla="*/ 28415 w 179"/>
                  <a:gd name="T49" fmla="*/ 10319 h 102"/>
                  <a:gd name="T50" fmla="*/ 31573 w 179"/>
                  <a:gd name="T51" fmla="*/ 10319 h 102"/>
                  <a:gd name="T52" fmla="*/ 28415 w 179"/>
                  <a:gd name="T53" fmla="*/ 10319 h 102"/>
                  <a:gd name="T54" fmla="*/ 31573 w 179"/>
                  <a:gd name="T55" fmla="*/ 13494 h 102"/>
                  <a:gd name="T56" fmla="*/ 34730 w 179"/>
                  <a:gd name="T57" fmla="*/ 16669 h 102"/>
                  <a:gd name="T58" fmla="*/ 34730 w 179"/>
                  <a:gd name="T59" fmla="*/ 20638 h 102"/>
                  <a:gd name="T60" fmla="*/ 31573 w 179"/>
                  <a:gd name="T61" fmla="*/ 20638 h 102"/>
                  <a:gd name="T62" fmla="*/ 28415 w 179"/>
                  <a:gd name="T63" fmla="*/ 20638 h 102"/>
                  <a:gd name="T64" fmla="*/ 28415 w 179"/>
                  <a:gd name="T65" fmla="*/ 16669 h 102"/>
                  <a:gd name="T66" fmla="*/ 24469 w 179"/>
                  <a:gd name="T67" fmla="*/ 16669 h 10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79"/>
                  <a:gd name="T103" fmla="*/ 0 h 102"/>
                  <a:gd name="T104" fmla="*/ 179 w 179"/>
                  <a:gd name="T105" fmla="*/ 102 h 10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79" h="102">
                    <a:moveTo>
                      <a:pt x="127" y="84"/>
                    </a:moveTo>
                    <a:lnTo>
                      <a:pt x="90" y="67"/>
                    </a:lnTo>
                    <a:lnTo>
                      <a:pt x="73" y="67"/>
                    </a:lnTo>
                    <a:lnTo>
                      <a:pt x="56" y="67"/>
                    </a:lnTo>
                    <a:lnTo>
                      <a:pt x="39" y="67"/>
                    </a:lnTo>
                    <a:lnTo>
                      <a:pt x="19" y="67"/>
                    </a:lnTo>
                    <a:lnTo>
                      <a:pt x="19" y="50"/>
                    </a:lnTo>
                    <a:lnTo>
                      <a:pt x="39" y="50"/>
                    </a:lnTo>
                    <a:lnTo>
                      <a:pt x="19" y="50"/>
                    </a:lnTo>
                    <a:lnTo>
                      <a:pt x="19" y="33"/>
                    </a:lnTo>
                    <a:lnTo>
                      <a:pt x="0" y="33"/>
                    </a:lnTo>
                    <a:lnTo>
                      <a:pt x="0" y="15"/>
                    </a:lnTo>
                    <a:lnTo>
                      <a:pt x="19" y="15"/>
                    </a:lnTo>
                    <a:lnTo>
                      <a:pt x="19" y="0"/>
                    </a:lnTo>
                    <a:lnTo>
                      <a:pt x="39" y="15"/>
                    </a:lnTo>
                    <a:lnTo>
                      <a:pt x="56" y="15"/>
                    </a:lnTo>
                    <a:lnTo>
                      <a:pt x="73" y="33"/>
                    </a:lnTo>
                    <a:lnTo>
                      <a:pt x="73" y="15"/>
                    </a:lnTo>
                    <a:lnTo>
                      <a:pt x="90" y="15"/>
                    </a:lnTo>
                    <a:lnTo>
                      <a:pt x="108" y="33"/>
                    </a:lnTo>
                    <a:lnTo>
                      <a:pt x="108" y="50"/>
                    </a:lnTo>
                    <a:lnTo>
                      <a:pt x="127" y="50"/>
                    </a:lnTo>
                    <a:lnTo>
                      <a:pt x="127" y="33"/>
                    </a:lnTo>
                    <a:lnTo>
                      <a:pt x="144" y="33"/>
                    </a:lnTo>
                    <a:lnTo>
                      <a:pt x="144" y="50"/>
                    </a:lnTo>
                    <a:lnTo>
                      <a:pt x="161" y="50"/>
                    </a:lnTo>
                    <a:lnTo>
                      <a:pt x="144" y="50"/>
                    </a:lnTo>
                    <a:lnTo>
                      <a:pt x="161" y="67"/>
                    </a:lnTo>
                    <a:lnTo>
                      <a:pt x="179" y="84"/>
                    </a:lnTo>
                    <a:lnTo>
                      <a:pt x="179" y="102"/>
                    </a:lnTo>
                    <a:lnTo>
                      <a:pt x="161" y="102"/>
                    </a:lnTo>
                    <a:lnTo>
                      <a:pt x="144" y="102"/>
                    </a:lnTo>
                    <a:lnTo>
                      <a:pt x="144" y="84"/>
                    </a:lnTo>
                    <a:lnTo>
                      <a:pt x="127" y="8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82" name="Freeform 16">
                <a:extLst>
                  <a:ext uri="{FF2B5EF4-FFF2-40B4-BE49-F238E27FC236}">
                    <a16:creationId xmlns:a16="http://schemas.microsoft.com/office/drawing/2014/main" id="{2CAE9670-6B3B-5640-93FF-9E7254D70100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2614613" y="2335213"/>
                <a:ext cx="377825" cy="107950"/>
              </a:xfrm>
              <a:custGeom>
                <a:avLst/>
                <a:gdLst>
                  <a:gd name="T0" fmla="*/ 91281 w 476"/>
                  <a:gd name="T1" fmla="*/ 20637 h 136"/>
                  <a:gd name="T2" fmla="*/ 91281 w 476"/>
                  <a:gd name="T3" fmla="*/ 23019 h 136"/>
                  <a:gd name="T4" fmla="*/ 94456 w 476"/>
                  <a:gd name="T5" fmla="*/ 23019 h 136"/>
                  <a:gd name="T6" fmla="*/ 91281 w 476"/>
                  <a:gd name="T7" fmla="*/ 26988 h 136"/>
                  <a:gd name="T8" fmla="*/ 84138 w 476"/>
                  <a:gd name="T9" fmla="*/ 26988 h 136"/>
                  <a:gd name="T10" fmla="*/ 76994 w 476"/>
                  <a:gd name="T11" fmla="*/ 26988 h 136"/>
                  <a:gd name="T12" fmla="*/ 73819 w 476"/>
                  <a:gd name="T13" fmla="*/ 26988 h 136"/>
                  <a:gd name="T14" fmla="*/ 70644 w 476"/>
                  <a:gd name="T15" fmla="*/ 26988 h 136"/>
                  <a:gd name="T16" fmla="*/ 63500 w 476"/>
                  <a:gd name="T17" fmla="*/ 26988 h 136"/>
                  <a:gd name="T18" fmla="*/ 56356 w 476"/>
                  <a:gd name="T19" fmla="*/ 26988 h 136"/>
                  <a:gd name="T20" fmla="*/ 53181 w 476"/>
                  <a:gd name="T21" fmla="*/ 26988 h 136"/>
                  <a:gd name="T22" fmla="*/ 48419 w 476"/>
                  <a:gd name="T23" fmla="*/ 26988 h 136"/>
                  <a:gd name="T24" fmla="*/ 45244 w 476"/>
                  <a:gd name="T25" fmla="*/ 26988 h 136"/>
                  <a:gd name="T26" fmla="*/ 42069 w 476"/>
                  <a:gd name="T27" fmla="*/ 26988 h 136"/>
                  <a:gd name="T28" fmla="*/ 38100 w 476"/>
                  <a:gd name="T29" fmla="*/ 26988 h 136"/>
                  <a:gd name="T30" fmla="*/ 31750 w 476"/>
                  <a:gd name="T31" fmla="*/ 26988 h 136"/>
                  <a:gd name="T32" fmla="*/ 23812 w 476"/>
                  <a:gd name="T33" fmla="*/ 23019 h 136"/>
                  <a:gd name="T34" fmla="*/ 21431 w 476"/>
                  <a:gd name="T35" fmla="*/ 20637 h 136"/>
                  <a:gd name="T36" fmla="*/ 23812 w 476"/>
                  <a:gd name="T37" fmla="*/ 20637 h 136"/>
                  <a:gd name="T38" fmla="*/ 23812 w 476"/>
                  <a:gd name="T39" fmla="*/ 16669 h 136"/>
                  <a:gd name="T40" fmla="*/ 21431 w 476"/>
                  <a:gd name="T41" fmla="*/ 16669 h 136"/>
                  <a:gd name="T42" fmla="*/ 17463 w 476"/>
                  <a:gd name="T43" fmla="*/ 10319 h 136"/>
                  <a:gd name="T44" fmla="*/ 17463 w 476"/>
                  <a:gd name="T45" fmla="*/ 7144 h 136"/>
                  <a:gd name="T46" fmla="*/ 14288 w 476"/>
                  <a:gd name="T47" fmla="*/ 10319 h 136"/>
                  <a:gd name="T48" fmla="*/ 7144 w 476"/>
                  <a:gd name="T49" fmla="*/ 7144 h 136"/>
                  <a:gd name="T50" fmla="*/ 3969 w 476"/>
                  <a:gd name="T51" fmla="*/ 3175 h 136"/>
                  <a:gd name="T52" fmla="*/ 0 w 476"/>
                  <a:gd name="T53" fmla="*/ 3175 h 136"/>
                  <a:gd name="T54" fmla="*/ 3969 w 476"/>
                  <a:gd name="T55" fmla="*/ 3175 h 136"/>
                  <a:gd name="T56" fmla="*/ 3969 w 476"/>
                  <a:gd name="T57" fmla="*/ 0 h 136"/>
                  <a:gd name="T58" fmla="*/ 14288 w 476"/>
                  <a:gd name="T59" fmla="*/ 3175 h 136"/>
                  <a:gd name="T60" fmla="*/ 21431 w 476"/>
                  <a:gd name="T61" fmla="*/ 7144 h 136"/>
                  <a:gd name="T62" fmla="*/ 23812 w 476"/>
                  <a:gd name="T63" fmla="*/ 7144 h 136"/>
                  <a:gd name="T64" fmla="*/ 23812 w 476"/>
                  <a:gd name="T65" fmla="*/ 3175 h 136"/>
                  <a:gd name="T66" fmla="*/ 27781 w 476"/>
                  <a:gd name="T67" fmla="*/ 3175 h 136"/>
                  <a:gd name="T68" fmla="*/ 27781 w 476"/>
                  <a:gd name="T69" fmla="*/ 7144 h 136"/>
                  <a:gd name="T70" fmla="*/ 34925 w 476"/>
                  <a:gd name="T71" fmla="*/ 10319 h 136"/>
                  <a:gd name="T72" fmla="*/ 38100 w 476"/>
                  <a:gd name="T73" fmla="*/ 10319 h 136"/>
                  <a:gd name="T74" fmla="*/ 31750 w 476"/>
                  <a:gd name="T75" fmla="*/ 10319 h 136"/>
                  <a:gd name="T76" fmla="*/ 27781 w 476"/>
                  <a:gd name="T77" fmla="*/ 10319 h 136"/>
                  <a:gd name="T78" fmla="*/ 31750 w 476"/>
                  <a:gd name="T79" fmla="*/ 16669 h 136"/>
                  <a:gd name="T80" fmla="*/ 34925 w 476"/>
                  <a:gd name="T81" fmla="*/ 16669 h 136"/>
                  <a:gd name="T82" fmla="*/ 38100 w 476"/>
                  <a:gd name="T83" fmla="*/ 16669 h 136"/>
                  <a:gd name="T84" fmla="*/ 45244 w 476"/>
                  <a:gd name="T85" fmla="*/ 16669 h 136"/>
                  <a:gd name="T86" fmla="*/ 48419 w 476"/>
                  <a:gd name="T87" fmla="*/ 20637 h 136"/>
                  <a:gd name="T88" fmla="*/ 53181 w 476"/>
                  <a:gd name="T89" fmla="*/ 20637 h 136"/>
                  <a:gd name="T90" fmla="*/ 59531 w 476"/>
                  <a:gd name="T91" fmla="*/ 16669 h 136"/>
                  <a:gd name="T92" fmla="*/ 70644 w 476"/>
                  <a:gd name="T93" fmla="*/ 16669 h 136"/>
                  <a:gd name="T94" fmla="*/ 76994 w 476"/>
                  <a:gd name="T95" fmla="*/ 16669 h 136"/>
                  <a:gd name="T96" fmla="*/ 84138 w 476"/>
                  <a:gd name="T97" fmla="*/ 16669 h 136"/>
                  <a:gd name="T98" fmla="*/ 87313 w 476"/>
                  <a:gd name="T99" fmla="*/ 16669 h 136"/>
                  <a:gd name="T100" fmla="*/ 94456 w 476"/>
                  <a:gd name="T101" fmla="*/ 20637 h 136"/>
                  <a:gd name="T102" fmla="*/ 91281 w 476"/>
                  <a:gd name="T103" fmla="*/ 20637 h 1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476"/>
                  <a:gd name="T157" fmla="*/ 0 h 136"/>
                  <a:gd name="T158" fmla="*/ 476 w 476"/>
                  <a:gd name="T159" fmla="*/ 136 h 1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476" h="136">
                    <a:moveTo>
                      <a:pt x="457" y="104"/>
                    </a:moveTo>
                    <a:lnTo>
                      <a:pt x="457" y="119"/>
                    </a:lnTo>
                    <a:lnTo>
                      <a:pt x="476" y="119"/>
                    </a:lnTo>
                    <a:lnTo>
                      <a:pt x="457" y="136"/>
                    </a:lnTo>
                    <a:lnTo>
                      <a:pt x="422" y="136"/>
                    </a:lnTo>
                    <a:lnTo>
                      <a:pt x="388" y="136"/>
                    </a:lnTo>
                    <a:lnTo>
                      <a:pt x="370" y="136"/>
                    </a:lnTo>
                    <a:lnTo>
                      <a:pt x="353" y="136"/>
                    </a:lnTo>
                    <a:lnTo>
                      <a:pt x="317" y="136"/>
                    </a:lnTo>
                    <a:lnTo>
                      <a:pt x="282" y="136"/>
                    </a:lnTo>
                    <a:lnTo>
                      <a:pt x="265" y="136"/>
                    </a:lnTo>
                    <a:lnTo>
                      <a:pt x="247" y="136"/>
                    </a:lnTo>
                    <a:lnTo>
                      <a:pt x="228" y="136"/>
                    </a:lnTo>
                    <a:lnTo>
                      <a:pt x="211" y="136"/>
                    </a:lnTo>
                    <a:lnTo>
                      <a:pt x="192" y="136"/>
                    </a:lnTo>
                    <a:lnTo>
                      <a:pt x="157" y="136"/>
                    </a:lnTo>
                    <a:lnTo>
                      <a:pt x="123" y="119"/>
                    </a:lnTo>
                    <a:lnTo>
                      <a:pt x="105" y="104"/>
                    </a:lnTo>
                    <a:lnTo>
                      <a:pt x="123" y="104"/>
                    </a:lnTo>
                    <a:lnTo>
                      <a:pt x="123" y="87"/>
                    </a:lnTo>
                    <a:lnTo>
                      <a:pt x="105" y="87"/>
                    </a:lnTo>
                    <a:lnTo>
                      <a:pt x="86" y="52"/>
                    </a:lnTo>
                    <a:lnTo>
                      <a:pt x="86" y="35"/>
                    </a:lnTo>
                    <a:lnTo>
                      <a:pt x="69" y="52"/>
                    </a:lnTo>
                    <a:lnTo>
                      <a:pt x="34" y="35"/>
                    </a:lnTo>
                    <a:lnTo>
                      <a:pt x="17" y="17"/>
                    </a:lnTo>
                    <a:lnTo>
                      <a:pt x="0" y="17"/>
                    </a:lnTo>
                    <a:lnTo>
                      <a:pt x="17" y="17"/>
                    </a:lnTo>
                    <a:lnTo>
                      <a:pt x="17" y="0"/>
                    </a:lnTo>
                    <a:lnTo>
                      <a:pt x="69" y="17"/>
                    </a:lnTo>
                    <a:lnTo>
                      <a:pt x="105" y="35"/>
                    </a:lnTo>
                    <a:lnTo>
                      <a:pt x="123" y="35"/>
                    </a:lnTo>
                    <a:lnTo>
                      <a:pt x="123" y="17"/>
                    </a:lnTo>
                    <a:lnTo>
                      <a:pt x="140" y="17"/>
                    </a:lnTo>
                    <a:lnTo>
                      <a:pt x="140" y="35"/>
                    </a:lnTo>
                    <a:lnTo>
                      <a:pt x="174" y="52"/>
                    </a:lnTo>
                    <a:lnTo>
                      <a:pt x="192" y="52"/>
                    </a:lnTo>
                    <a:lnTo>
                      <a:pt x="157" y="52"/>
                    </a:lnTo>
                    <a:lnTo>
                      <a:pt x="140" y="52"/>
                    </a:lnTo>
                    <a:lnTo>
                      <a:pt x="157" y="87"/>
                    </a:lnTo>
                    <a:lnTo>
                      <a:pt x="174" y="87"/>
                    </a:lnTo>
                    <a:lnTo>
                      <a:pt x="192" y="87"/>
                    </a:lnTo>
                    <a:lnTo>
                      <a:pt x="228" y="87"/>
                    </a:lnTo>
                    <a:lnTo>
                      <a:pt x="247" y="104"/>
                    </a:lnTo>
                    <a:lnTo>
                      <a:pt x="265" y="104"/>
                    </a:lnTo>
                    <a:lnTo>
                      <a:pt x="299" y="87"/>
                    </a:lnTo>
                    <a:lnTo>
                      <a:pt x="353" y="87"/>
                    </a:lnTo>
                    <a:lnTo>
                      <a:pt x="388" y="87"/>
                    </a:lnTo>
                    <a:lnTo>
                      <a:pt x="422" y="87"/>
                    </a:lnTo>
                    <a:lnTo>
                      <a:pt x="439" y="87"/>
                    </a:lnTo>
                    <a:lnTo>
                      <a:pt x="476" y="104"/>
                    </a:lnTo>
                    <a:lnTo>
                      <a:pt x="457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83" name="Freeform 17">
                <a:extLst>
                  <a:ext uri="{FF2B5EF4-FFF2-40B4-BE49-F238E27FC236}">
                    <a16:creationId xmlns:a16="http://schemas.microsoft.com/office/drawing/2014/main" id="{7C54E02D-4677-DB4D-A7BB-D55B186B9A4C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2614613" y="2401888"/>
                <a:ext cx="68263" cy="41275"/>
              </a:xfrm>
              <a:custGeom>
                <a:avLst/>
                <a:gdLst>
                  <a:gd name="T0" fmla="*/ 3969 w 86"/>
                  <a:gd name="T1" fmla="*/ 4047 h 51"/>
                  <a:gd name="T2" fmla="*/ 3969 w 86"/>
                  <a:gd name="T3" fmla="*/ 0 h 51"/>
                  <a:gd name="T4" fmla="*/ 10319 w 86"/>
                  <a:gd name="T5" fmla="*/ 0 h 51"/>
                  <a:gd name="T6" fmla="*/ 14288 w 86"/>
                  <a:gd name="T7" fmla="*/ 0 h 51"/>
                  <a:gd name="T8" fmla="*/ 14288 w 86"/>
                  <a:gd name="T9" fmla="*/ 4047 h 51"/>
                  <a:gd name="T10" fmla="*/ 17463 w 86"/>
                  <a:gd name="T11" fmla="*/ 7284 h 51"/>
                  <a:gd name="T12" fmla="*/ 14288 w 86"/>
                  <a:gd name="T13" fmla="*/ 10521 h 51"/>
                  <a:gd name="T14" fmla="*/ 10319 w 86"/>
                  <a:gd name="T15" fmla="*/ 10521 h 51"/>
                  <a:gd name="T16" fmla="*/ 3969 w 86"/>
                  <a:gd name="T17" fmla="*/ 7284 h 51"/>
                  <a:gd name="T18" fmla="*/ 0 w 86"/>
                  <a:gd name="T19" fmla="*/ 7284 h 51"/>
                  <a:gd name="T20" fmla="*/ 3969 w 86"/>
                  <a:gd name="T21" fmla="*/ 4047 h 5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6"/>
                  <a:gd name="T34" fmla="*/ 0 h 51"/>
                  <a:gd name="T35" fmla="*/ 86 w 86"/>
                  <a:gd name="T36" fmla="*/ 51 h 5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6" h="51">
                    <a:moveTo>
                      <a:pt x="17" y="17"/>
                    </a:moveTo>
                    <a:lnTo>
                      <a:pt x="17" y="0"/>
                    </a:lnTo>
                    <a:lnTo>
                      <a:pt x="52" y="0"/>
                    </a:lnTo>
                    <a:lnTo>
                      <a:pt x="69" y="0"/>
                    </a:lnTo>
                    <a:lnTo>
                      <a:pt x="69" y="17"/>
                    </a:lnTo>
                    <a:lnTo>
                      <a:pt x="86" y="34"/>
                    </a:lnTo>
                    <a:lnTo>
                      <a:pt x="69" y="51"/>
                    </a:lnTo>
                    <a:lnTo>
                      <a:pt x="52" y="51"/>
                    </a:lnTo>
                    <a:lnTo>
                      <a:pt x="17" y="34"/>
                    </a:lnTo>
                    <a:lnTo>
                      <a:pt x="0" y="34"/>
                    </a:lnTo>
                    <a:lnTo>
                      <a:pt x="17" y="1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84" name="Freeform 18">
                <a:extLst>
                  <a:ext uri="{FF2B5EF4-FFF2-40B4-BE49-F238E27FC236}">
                    <a16:creationId xmlns:a16="http://schemas.microsoft.com/office/drawing/2014/main" id="{448386F1-AEFE-BF47-B44F-987973C653FB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2627313" y="2306638"/>
                <a:ext cx="55563" cy="12700"/>
              </a:xfrm>
              <a:custGeom>
                <a:avLst/>
                <a:gdLst>
                  <a:gd name="T0" fmla="*/ 10174 w 71"/>
                  <a:gd name="T1" fmla="*/ 0 h 17"/>
                  <a:gd name="T2" fmla="*/ 13304 w 71"/>
                  <a:gd name="T3" fmla="*/ 0 h 17"/>
                  <a:gd name="T4" fmla="*/ 13304 w 71"/>
                  <a:gd name="T5" fmla="*/ 2988 h 17"/>
                  <a:gd name="T6" fmla="*/ 10174 w 71"/>
                  <a:gd name="T7" fmla="*/ 2988 h 17"/>
                  <a:gd name="T8" fmla="*/ 7043 w 71"/>
                  <a:gd name="T9" fmla="*/ 2988 h 17"/>
                  <a:gd name="T10" fmla="*/ 0 w 71"/>
                  <a:gd name="T11" fmla="*/ 0 h 17"/>
                  <a:gd name="T12" fmla="*/ 7043 w 71"/>
                  <a:gd name="T13" fmla="*/ 0 h 17"/>
                  <a:gd name="T14" fmla="*/ 10174 w 71"/>
                  <a:gd name="T15" fmla="*/ 0 h 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1"/>
                  <a:gd name="T25" fmla="*/ 0 h 17"/>
                  <a:gd name="T26" fmla="*/ 71 w 71"/>
                  <a:gd name="T27" fmla="*/ 17 h 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1" h="17">
                    <a:moveTo>
                      <a:pt x="54" y="0"/>
                    </a:moveTo>
                    <a:lnTo>
                      <a:pt x="71" y="0"/>
                    </a:lnTo>
                    <a:lnTo>
                      <a:pt x="71" y="17"/>
                    </a:lnTo>
                    <a:lnTo>
                      <a:pt x="54" y="17"/>
                    </a:lnTo>
                    <a:lnTo>
                      <a:pt x="37" y="17"/>
                    </a:lnTo>
                    <a:lnTo>
                      <a:pt x="0" y="0"/>
                    </a:lnTo>
                    <a:lnTo>
                      <a:pt x="37" y="0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85" name="Freeform 19">
                <a:extLst>
                  <a:ext uri="{FF2B5EF4-FFF2-40B4-BE49-F238E27FC236}">
                    <a16:creationId xmlns:a16="http://schemas.microsoft.com/office/drawing/2014/main" id="{118C5D72-20E7-D947-928C-CA5CFDF9886A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578100" y="2251076"/>
                <a:ext cx="82550" cy="55563"/>
              </a:xfrm>
              <a:custGeom>
                <a:avLst/>
                <a:gdLst>
                  <a:gd name="T0" fmla="*/ 7144 w 104"/>
                  <a:gd name="T1" fmla="*/ 14495 h 69"/>
                  <a:gd name="T2" fmla="*/ 7144 w 104"/>
                  <a:gd name="T3" fmla="*/ 10468 h 69"/>
                  <a:gd name="T4" fmla="*/ 3969 w 104"/>
                  <a:gd name="T5" fmla="*/ 7247 h 69"/>
                  <a:gd name="T6" fmla="*/ 0 w 104"/>
                  <a:gd name="T7" fmla="*/ 4026 h 69"/>
                  <a:gd name="T8" fmla="*/ 3969 w 104"/>
                  <a:gd name="T9" fmla="*/ 0 h 69"/>
                  <a:gd name="T10" fmla="*/ 7144 w 104"/>
                  <a:gd name="T11" fmla="*/ 0 h 69"/>
                  <a:gd name="T12" fmla="*/ 7144 w 104"/>
                  <a:gd name="T13" fmla="*/ 4026 h 69"/>
                  <a:gd name="T14" fmla="*/ 10319 w 104"/>
                  <a:gd name="T15" fmla="*/ 4026 h 69"/>
                  <a:gd name="T16" fmla="*/ 14288 w 104"/>
                  <a:gd name="T17" fmla="*/ 4026 h 69"/>
                  <a:gd name="T18" fmla="*/ 17463 w 104"/>
                  <a:gd name="T19" fmla="*/ 4026 h 69"/>
                  <a:gd name="T20" fmla="*/ 20638 w 104"/>
                  <a:gd name="T21" fmla="*/ 7247 h 69"/>
                  <a:gd name="T22" fmla="*/ 17463 w 104"/>
                  <a:gd name="T23" fmla="*/ 7247 h 69"/>
                  <a:gd name="T24" fmla="*/ 17463 w 104"/>
                  <a:gd name="T25" fmla="*/ 10468 h 69"/>
                  <a:gd name="T26" fmla="*/ 20638 w 104"/>
                  <a:gd name="T27" fmla="*/ 14495 h 69"/>
                  <a:gd name="T28" fmla="*/ 14288 w 104"/>
                  <a:gd name="T29" fmla="*/ 14495 h 69"/>
                  <a:gd name="T30" fmla="*/ 7144 w 104"/>
                  <a:gd name="T31" fmla="*/ 14495 h 6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04"/>
                  <a:gd name="T49" fmla="*/ 0 h 69"/>
                  <a:gd name="T50" fmla="*/ 104 w 104"/>
                  <a:gd name="T51" fmla="*/ 69 h 6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04" h="69">
                    <a:moveTo>
                      <a:pt x="34" y="69"/>
                    </a:moveTo>
                    <a:lnTo>
                      <a:pt x="34" y="51"/>
                    </a:lnTo>
                    <a:lnTo>
                      <a:pt x="17" y="34"/>
                    </a:lnTo>
                    <a:lnTo>
                      <a:pt x="0" y="17"/>
                    </a:lnTo>
                    <a:lnTo>
                      <a:pt x="17" y="0"/>
                    </a:lnTo>
                    <a:lnTo>
                      <a:pt x="34" y="0"/>
                    </a:lnTo>
                    <a:lnTo>
                      <a:pt x="34" y="17"/>
                    </a:lnTo>
                    <a:lnTo>
                      <a:pt x="52" y="17"/>
                    </a:lnTo>
                    <a:lnTo>
                      <a:pt x="69" y="17"/>
                    </a:lnTo>
                    <a:lnTo>
                      <a:pt x="86" y="17"/>
                    </a:lnTo>
                    <a:lnTo>
                      <a:pt x="104" y="34"/>
                    </a:lnTo>
                    <a:lnTo>
                      <a:pt x="86" y="34"/>
                    </a:lnTo>
                    <a:lnTo>
                      <a:pt x="86" y="51"/>
                    </a:lnTo>
                    <a:lnTo>
                      <a:pt x="104" y="69"/>
                    </a:lnTo>
                    <a:lnTo>
                      <a:pt x="69" y="69"/>
                    </a:lnTo>
                    <a:lnTo>
                      <a:pt x="34" y="69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86" name="Freeform 20">
                <a:extLst>
                  <a:ext uri="{FF2B5EF4-FFF2-40B4-BE49-F238E27FC236}">
                    <a16:creationId xmlns:a16="http://schemas.microsoft.com/office/drawing/2014/main" id="{40B64846-DD3A-3742-A48D-9B9723952849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627313" y="2128838"/>
                <a:ext cx="225425" cy="165100"/>
              </a:xfrm>
              <a:custGeom>
                <a:avLst/>
                <a:gdLst>
                  <a:gd name="T0" fmla="*/ 42069 w 284"/>
                  <a:gd name="T1" fmla="*/ 17379 h 209"/>
                  <a:gd name="T2" fmla="*/ 45244 w 284"/>
                  <a:gd name="T3" fmla="*/ 13429 h 209"/>
                  <a:gd name="T4" fmla="*/ 45244 w 284"/>
                  <a:gd name="T5" fmla="*/ 20539 h 209"/>
                  <a:gd name="T6" fmla="*/ 53181 w 284"/>
                  <a:gd name="T7" fmla="*/ 20539 h 209"/>
                  <a:gd name="T8" fmla="*/ 56356 w 284"/>
                  <a:gd name="T9" fmla="*/ 26858 h 209"/>
                  <a:gd name="T10" fmla="*/ 45244 w 284"/>
                  <a:gd name="T11" fmla="*/ 33968 h 209"/>
                  <a:gd name="T12" fmla="*/ 42069 w 284"/>
                  <a:gd name="T13" fmla="*/ 30808 h 209"/>
                  <a:gd name="T14" fmla="*/ 38894 w 284"/>
                  <a:gd name="T15" fmla="*/ 33968 h 209"/>
                  <a:gd name="T16" fmla="*/ 42069 w 284"/>
                  <a:gd name="T17" fmla="*/ 37128 h 209"/>
                  <a:gd name="T18" fmla="*/ 38894 w 284"/>
                  <a:gd name="T19" fmla="*/ 41078 h 209"/>
                  <a:gd name="T20" fmla="*/ 34925 w 284"/>
                  <a:gd name="T21" fmla="*/ 33968 h 209"/>
                  <a:gd name="T22" fmla="*/ 30956 w 284"/>
                  <a:gd name="T23" fmla="*/ 41078 h 209"/>
                  <a:gd name="T24" fmla="*/ 23812 w 284"/>
                  <a:gd name="T25" fmla="*/ 41078 h 209"/>
                  <a:gd name="T26" fmla="*/ 20637 w 284"/>
                  <a:gd name="T27" fmla="*/ 33968 h 209"/>
                  <a:gd name="T28" fmla="*/ 14287 w 284"/>
                  <a:gd name="T29" fmla="*/ 30808 h 209"/>
                  <a:gd name="T30" fmla="*/ 20637 w 284"/>
                  <a:gd name="T31" fmla="*/ 26858 h 209"/>
                  <a:gd name="T32" fmla="*/ 23812 w 284"/>
                  <a:gd name="T33" fmla="*/ 26858 h 209"/>
                  <a:gd name="T34" fmla="*/ 17462 w 284"/>
                  <a:gd name="T35" fmla="*/ 23699 h 209"/>
                  <a:gd name="T36" fmla="*/ 14287 w 284"/>
                  <a:gd name="T37" fmla="*/ 26858 h 209"/>
                  <a:gd name="T38" fmla="*/ 10319 w 284"/>
                  <a:gd name="T39" fmla="*/ 26858 h 209"/>
                  <a:gd name="T40" fmla="*/ 10319 w 284"/>
                  <a:gd name="T41" fmla="*/ 23699 h 209"/>
                  <a:gd name="T42" fmla="*/ 7144 w 284"/>
                  <a:gd name="T43" fmla="*/ 20539 h 209"/>
                  <a:gd name="T44" fmla="*/ 0 w 284"/>
                  <a:gd name="T45" fmla="*/ 17379 h 209"/>
                  <a:gd name="T46" fmla="*/ 7144 w 284"/>
                  <a:gd name="T47" fmla="*/ 17379 h 209"/>
                  <a:gd name="T48" fmla="*/ 7144 w 284"/>
                  <a:gd name="T49" fmla="*/ 13429 h 209"/>
                  <a:gd name="T50" fmla="*/ 0 w 284"/>
                  <a:gd name="T51" fmla="*/ 10269 h 209"/>
                  <a:gd name="T52" fmla="*/ 7144 w 284"/>
                  <a:gd name="T53" fmla="*/ 10269 h 209"/>
                  <a:gd name="T54" fmla="*/ 14287 w 284"/>
                  <a:gd name="T55" fmla="*/ 10269 h 209"/>
                  <a:gd name="T56" fmla="*/ 7144 w 284"/>
                  <a:gd name="T57" fmla="*/ 10269 h 209"/>
                  <a:gd name="T58" fmla="*/ 10319 w 284"/>
                  <a:gd name="T59" fmla="*/ 3160 h 209"/>
                  <a:gd name="T60" fmla="*/ 14287 w 284"/>
                  <a:gd name="T61" fmla="*/ 6320 h 209"/>
                  <a:gd name="T62" fmla="*/ 14287 w 284"/>
                  <a:gd name="T63" fmla="*/ 3160 h 209"/>
                  <a:gd name="T64" fmla="*/ 10319 w 284"/>
                  <a:gd name="T65" fmla="*/ 0 h 209"/>
                  <a:gd name="T66" fmla="*/ 20637 w 284"/>
                  <a:gd name="T67" fmla="*/ 0 h 209"/>
                  <a:gd name="T68" fmla="*/ 23812 w 284"/>
                  <a:gd name="T69" fmla="*/ 6320 h 209"/>
                  <a:gd name="T70" fmla="*/ 27781 w 284"/>
                  <a:gd name="T71" fmla="*/ 10269 h 209"/>
                  <a:gd name="T72" fmla="*/ 34925 w 284"/>
                  <a:gd name="T73" fmla="*/ 10269 h 209"/>
                  <a:gd name="T74" fmla="*/ 38894 w 284"/>
                  <a:gd name="T75" fmla="*/ 17379 h 20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84"/>
                  <a:gd name="T115" fmla="*/ 0 h 209"/>
                  <a:gd name="T116" fmla="*/ 284 w 284"/>
                  <a:gd name="T117" fmla="*/ 209 h 20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84" h="209">
                    <a:moveTo>
                      <a:pt x="196" y="88"/>
                    </a:moveTo>
                    <a:lnTo>
                      <a:pt x="213" y="88"/>
                    </a:lnTo>
                    <a:lnTo>
                      <a:pt x="213" y="71"/>
                    </a:lnTo>
                    <a:lnTo>
                      <a:pt x="230" y="71"/>
                    </a:lnTo>
                    <a:lnTo>
                      <a:pt x="230" y="88"/>
                    </a:lnTo>
                    <a:lnTo>
                      <a:pt x="230" y="106"/>
                    </a:lnTo>
                    <a:lnTo>
                      <a:pt x="250" y="106"/>
                    </a:lnTo>
                    <a:lnTo>
                      <a:pt x="267" y="106"/>
                    </a:lnTo>
                    <a:lnTo>
                      <a:pt x="284" y="123"/>
                    </a:lnTo>
                    <a:lnTo>
                      <a:pt x="284" y="138"/>
                    </a:lnTo>
                    <a:lnTo>
                      <a:pt x="250" y="156"/>
                    </a:lnTo>
                    <a:lnTo>
                      <a:pt x="230" y="173"/>
                    </a:lnTo>
                    <a:lnTo>
                      <a:pt x="213" y="173"/>
                    </a:lnTo>
                    <a:lnTo>
                      <a:pt x="213" y="156"/>
                    </a:lnTo>
                    <a:lnTo>
                      <a:pt x="213" y="173"/>
                    </a:lnTo>
                    <a:lnTo>
                      <a:pt x="196" y="173"/>
                    </a:lnTo>
                    <a:lnTo>
                      <a:pt x="213" y="173"/>
                    </a:lnTo>
                    <a:lnTo>
                      <a:pt x="213" y="190"/>
                    </a:lnTo>
                    <a:lnTo>
                      <a:pt x="196" y="190"/>
                    </a:lnTo>
                    <a:lnTo>
                      <a:pt x="196" y="209"/>
                    </a:lnTo>
                    <a:lnTo>
                      <a:pt x="177" y="190"/>
                    </a:lnTo>
                    <a:lnTo>
                      <a:pt x="177" y="173"/>
                    </a:lnTo>
                    <a:lnTo>
                      <a:pt x="159" y="190"/>
                    </a:lnTo>
                    <a:lnTo>
                      <a:pt x="159" y="209"/>
                    </a:lnTo>
                    <a:lnTo>
                      <a:pt x="140" y="209"/>
                    </a:lnTo>
                    <a:lnTo>
                      <a:pt x="123" y="209"/>
                    </a:lnTo>
                    <a:lnTo>
                      <a:pt x="106" y="190"/>
                    </a:lnTo>
                    <a:lnTo>
                      <a:pt x="106" y="173"/>
                    </a:lnTo>
                    <a:lnTo>
                      <a:pt x="71" y="173"/>
                    </a:lnTo>
                    <a:lnTo>
                      <a:pt x="71" y="156"/>
                    </a:lnTo>
                    <a:lnTo>
                      <a:pt x="88" y="138"/>
                    </a:lnTo>
                    <a:lnTo>
                      <a:pt x="106" y="138"/>
                    </a:lnTo>
                    <a:lnTo>
                      <a:pt x="140" y="138"/>
                    </a:lnTo>
                    <a:lnTo>
                      <a:pt x="123" y="138"/>
                    </a:lnTo>
                    <a:lnTo>
                      <a:pt x="106" y="123"/>
                    </a:lnTo>
                    <a:lnTo>
                      <a:pt x="88" y="123"/>
                    </a:lnTo>
                    <a:lnTo>
                      <a:pt x="88" y="138"/>
                    </a:lnTo>
                    <a:lnTo>
                      <a:pt x="71" y="138"/>
                    </a:lnTo>
                    <a:lnTo>
                      <a:pt x="54" y="123"/>
                    </a:lnTo>
                    <a:lnTo>
                      <a:pt x="54" y="138"/>
                    </a:lnTo>
                    <a:lnTo>
                      <a:pt x="35" y="123"/>
                    </a:lnTo>
                    <a:lnTo>
                      <a:pt x="54" y="123"/>
                    </a:lnTo>
                    <a:lnTo>
                      <a:pt x="54" y="106"/>
                    </a:lnTo>
                    <a:lnTo>
                      <a:pt x="35" y="106"/>
                    </a:lnTo>
                    <a:lnTo>
                      <a:pt x="0" y="106"/>
                    </a:lnTo>
                    <a:lnTo>
                      <a:pt x="0" y="88"/>
                    </a:lnTo>
                    <a:lnTo>
                      <a:pt x="17" y="88"/>
                    </a:lnTo>
                    <a:lnTo>
                      <a:pt x="35" y="88"/>
                    </a:lnTo>
                    <a:lnTo>
                      <a:pt x="54" y="88"/>
                    </a:lnTo>
                    <a:lnTo>
                      <a:pt x="35" y="71"/>
                    </a:lnTo>
                    <a:lnTo>
                      <a:pt x="17" y="71"/>
                    </a:lnTo>
                    <a:lnTo>
                      <a:pt x="0" y="54"/>
                    </a:lnTo>
                    <a:lnTo>
                      <a:pt x="17" y="54"/>
                    </a:lnTo>
                    <a:lnTo>
                      <a:pt x="35" y="54"/>
                    </a:lnTo>
                    <a:lnTo>
                      <a:pt x="54" y="54"/>
                    </a:lnTo>
                    <a:lnTo>
                      <a:pt x="71" y="54"/>
                    </a:lnTo>
                    <a:lnTo>
                      <a:pt x="54" y="54"/>
                    </a:lnTo>
                    <a:lnTo>
                      <a:pt x="35" y="54"/>
                    </a:lnTo>
                    <a:lnTo>
                      <a:pt x="35" y="35"/>
                    </a:lnTo>
                    <a:lnTo>
                      <a:pt x="54" y="17"/>
                    </a:lnTo>
                    <a:lnTo>
                      <a:pt x="54" y="35"/>
                    </a:lnTo>
                    <a:lnTo>
                      <a:pt x="71" y="35"/>
                    </a:lnTo>
                    <a:lnTo>
                      <a:pt x="88" y="35"/>
                    </a:lnTo>
                    <a:lnTo>
                      <a:pt x="71" y="17"/>
                    </a:lnTo>
                    <a:lnTo>
                      <a:pt x="54" y="17"/>
                    </a:lnTo>
                    <a:lnTo>
                      <a:pt x="54" y="0"/>
                    </a:lnTo>
                    <a:lnTo>
                      <a:pt x="71" y="0"/>
                    </a:lnTo>
                    <a:lnTo>
                      <a:pt x="106" y="0"/>
                    </a:lnTo>
                    <a:lnTo>
                      <a:pt x="106" y="17"/>
                    </a:lnTo>
                    <a:lnTo>
                      <a:pt x="123" y="35"/>
                    </a:lnTo>
                    <a:lnTo>
                      <a:pt x="123" y="54"/>
                    </a:lnTo>
                    <a:lnTo>
                      <a:pt x="140" y="54"/>
                    </a:lnTo>
                    <a:lnTo>
                      <a:pt x="159" y="54"/>
                    </a:lnTo>
                    <a:lnTo>
                      <a:pt x="177" y="54"/>
                    </a:lnTo>
                    <a:lnTo>
                      <a:pt x="196" y="71"/>
                    </a:lnTo>
                    <a:lnTo>
                      <a:pt x="196" y="8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87" name="Freeform 21">
                <a:extLst>
                  <a:ext uri="{FF2B5EF4-FFF2-40B4-BE49-F238E27FC236}">
                    <a16:creationId xmlns:a16="http://schemas.microsoft.com/office/drawing/2014/main" id="{41C0EA3B-1295-4F40-AC23-ECF502FE0538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709863" y="2033588"/>
                <a:ext cx="674688" cy="341313"/>
              </a:xfrm>
              <a:custGeom>
                <a:avLst/>
                <a:gdLst>
                  <a:gd name="T0" fmla="*/ 134460 w 848"/>
                  <a:gd name="T1" fmla="*/ 7144 h 430"/>
                  <a:gd name="T2" fmla="*/ 151964 w 848"/>
                  <a:gd name="T3" fmla="*/ 3969 h 430"/>
                  <a:gd name="T4" fmla="*/ 165490 w 848"/>
                  <a:gd name="T5" fmla="*/ 10319 h 430"/>
                  <a:gd name="T6" fmla="*/ 165490 w 848"/>
                  <a:gd name="T7" fmla="*/ 14288 h 430"/>
                  <a:gd name="T8" fmla="*/ 137643 w 848"/>
                  <a:gd name="T9" fmla="*/ 23813 h 430"/>
                  <a:gd name="T10" fmla="*/ 151964 w 848"/>
                  <a:gd name="T11" fmla="*/ 23813 h 430"/>
                  <a:gd name="T12" fmla="*/ 130482 w 848"/>
                  <a:gd name="T13" fmla="*/ 34925 h 430"/>
                  <a:gd name="T14" fmla="*/ 112978 w 848"/>
                  <a:gd name="T15" fmla="*/ 44450 h 430"/>
                  <a:gd name="T16" fmla="*/ 102635 w 848"/>
                  <a:gd name="T17" fmla="*/ 44450 h 430"/>
                  <a:gd name="T18" fmla="*/ 95475 w 848"/>
                  <a:gd name="T19" fmla="*/ 51594 h 430"/>
                  <a:gd name="T20" fmla="*/ 95475 w 848"/>
                  <a:gd name="T21" fmla="*/ 57944 h 430"/>
                  <a:gd name="T22" fmla="*/ 85132 w 848"/>
                  <a:gd name="T23" fmla="*/ 68263 h 430"/>
                  <a:gd name="T24" fmla="*/ 77971 w 848"/>
                  <a:gd name="T25" fmla="*/ 72231 h 430"/>
                  <a:gd name="T26" fmla="*/ 73993 w 848"/>
                  <a:gd name="T27" fmla="*/ 78581 h 430"/>
                  <a:gd name="T28" fmla="*/ 70810 w 848"/>
                  <a:gd name="T29" fmla="*/ 85725 h 430"/>
                  <a:gd name="T30" fmla="*/ 56489 w 848"/>
                  <a:gd name="T31" fmla="*/ 82550 h 430"/>
                  <a:gd name="T32" fmla="*/ 38986 w 848"/>
                  <a:gd name="T33" fmla="*/ 82550 h 430"/>
                  <a:gd name="T34" fmla="*/ 32621 w 848"/>
                  <a:gd name="T35" fmla="*/ 85725 h 430"/>
                  <a:gd name="T36" fmla="*/ 14321 w 848"/>
                  <a:gd name="T37" fmla="*/ 82550 h 430"/>
                  <a:gd name="T38" fmla="*/ 28642 w 848"/>
                  <a:gd name="T39" fmla="*/ 75406 h 430"/>
                  <a:gd name="T40" fmla="*/ 24664 w 848"/>
                  <a:gd name="T41" fmla="*/ 68263 h 430"/>
                  <a:gd name="T42" fmla="*/ 38986 w 848"/>
                  <a:gd name="T43" fmla="*/ 72231 h 430"/>
                  <a:gd name="T44" fmla="*/ 35803 w 848"/>
                  <a:gd name="T45" fmla="*/ 68263 h 430"/>
                  <a:gd name="T46" fmla="*/ 28642 w 848"/>
                  <a:gd name="T47" fmla="*/ 65088 h 430"/>
                  <a:gd name="T48" fmla="*/ 24664 w 848"/>
                  <a:gd name="T49" fmla="*/ 57944 h 430"/>
                  <a:gd name="T50" fmla="*/ 35803 w 848"/>
                  <a:gd name="T51" fmla="*/ 57944 h 430"/>
                  <a:gd name="T52" fmla="*/ 38986 w 848"/>
                  <a:gd name="T53" fmla="*/ 44450 h 430"/>
                  <a:gd name="T54" fmla="*/ 32621 w 848"/>
                  <a:gd name="T55" fmla="*/ 41275 h 430"/>
                  <a:gd name="T56" fmla="*/ 32621 w 848"/>
                  <a:gd name="T57" fmla="*/ 38100 h 430"/>
                  <a:gd name="T58" fmla="*/ 42964 w 848"/>
                  <a:gd name="T59" fmla="*/ 38100 h 430"/>
                  <a:gd name="T60" fmla="*/ 56489 w 848"/>
                  <a:gd name="T61" fmla="*/ 44450 h 430"/>
                  <a:gd name="T62" fmla="*/ 49329 w 848"/>
                  <a:gd name="T63" fmla="*/ 38100 h 430"/>
                  <a:gd name="T64" fmla="*/ 60467 w 848"/>
                  <a:gd name="T65" fmla="*/ 38100 h 430"/>
                  <a:gd name="T66" fmla="*/ 70810 w 848"/>
                  <a:gd name="T67" fmla="*/ 34925 h 430"/>
                  <a:gd name="T68" fmla="*/ 56489 w 848"/>
                  <a:gd name="T69" fmla="*/ 34925 h 430"/>
                  <a:gd name="T70" fmla="*/ 42964 w 848"/>
                  <a:gd name="T71" fmla="*/ 34925 h 430"/>
                  <a:gd name="T72" fmla="*/ 32621 w 848"/>
                  <a:gd name="T73" fmla="*/ 34925 h 430"/>
                  <a:gd name="T74" fmla="*/ 18299 w 848"/>
                  <a:gd name="T75" fmla="*/ 34925 h 430"/>
                  <a:gd name="T76" fmla="*/ 21482 w 848"/>
                  <a:gd name="T77" fmla="*/ 27781 h 430"/>
                  <a:gd name="T78" fmla="*/ 14321 w 848"/>
                  <a:gd name="T79" fmla="*/ 23813 h 430"/>
                  <a:gd name="T80" fmla="*/ 21482 w 848"/>
                  <a:gd name="T81" fmla="*/ 23813 h 430"/>
                  <a:gd name="T82" fmla="*/ 11139 w 848"/>
                  <a:gd name="T83" fmla="*/ 23813 h 430"/>
                  <a:gd name="T84" fmla="*/ 7161 w 848"/>
                  <a:gd name="T85" fmla="*/ 23813 h 430"/>
                  <a:gd name="T86" fmla="*/ 3978 w 848"/>
                  <a:gd name="T87" fmla="*/ 20638 h 430"/>
                  <a:gd name="T88" fmla="*/ 24664 w 848"/>
                  <a:gd name="T89" fmla="*/ 14288 h 430"/>
                  <a:gd name="T90" fmla="*/ 38986 w 848"/>
                  <a:gd name="T91" fmla="*/ 10319 h 430"/>
                  <a:gd name="T92" fmla="*/ 49329 w 848"/>
                  <a:gd name="T93" fmla="*/ 10319 h 430"/>
                  <a:gd name="T94" fmla="*/ 60467 w 848"/>
                  <a:gd name="T95" fmla="*/ 7144 h 430"/>
                  <a:gd name="T96" fmla="*/ 70810 w 848"/>
                  <a:gd name="T97" fmla="*/ 3969 h 430"/>
                  <a:gd name="T98" fmla="*/ 88314 w 848"/>
                  <a:gd name="T99" fmla="*/ 0 h 430"/>
                  <a:gd name="T100" fmla="*/ 98657 w 848"/>
                  <a:gd name="T101" fmla="*/ 3969 h 430"/>
                  <a:gd name="T102" fmla="*/ 105818 w 848"/>
                  <a:gd name="T103" fmla="*/ 0 h 430"/>
                  <a:gd name="T104" fmla="*/ 120139 w 848"/>
                  <a:gd name="T105" fmla="*/ 0 h 43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848"/>
                  <a:gd name="T160" fmla="*/ 0 h 430"/>
                  <a:gd name="T161" fmla="*/ 848 w 848"/>
                  <a:gd name="T162" fmla="*/ 430 h 43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848" h="430">
                    <a:moveTo>
                      <a:pt x="708" y="17"/>
                    </a:moveTo>
                    <a:lnTo>
                      <a:pt x="689" y="35"/>
                    </a:lnTo>
                    <a:lnTo>
                      <a:pt x="672" y="35"/>
                    </a:lnTo>
                    <a:lnTo>
                      <a:pt x="708" y="35"/>
                    </a:lnTo>
                    <a:lnTo>
                      <a:pt x="725" y="17"/>
                    </a:lnTo>
                    <a:lnTo>
                      <a:pt x="760" y="17"/>
                    </a:lnTo>
                    <a:lnTo>
                      <a:pt x="777" y="35"/>
                    </a:lnTo>
                    <a:lnTo>
                      <a:pt x="814" y="52"/>
                    </a:lnTo>
                    <a:lnTo>
                      <a:pt x="831" y="52"/>
                    </a:lnTo>
                    <a:lnTo>
                      <a:pt x="848" y="52"/>
                    </a:lnTo>
                    <a:lnTo>
                      <a:pt x="848" y="69"/>
                    </a:lnTo>
                    <a:lnTo>
                      <a:pt x="831" y="69"/>
                    </a:lnTo>
                    <a:lnTo>
                      <a:pt x="777" y="87"/>
                    </a:lnTo>
                    <a:lnTo>
                      <a:pt x="743" y="104"/>
                    </a:lnTo>
                    <a:lnTo>
                      <a:pt x="689" y="121"/>
                    </a:lnTo>
                    <a:lnTo>
                      <a:pt x="708" y="121"/>
                    </a:lnTo>
                    <a:lnTo>
                      <a:pt x="743" y="121"/>
                    </a:lnTo>
                    <a:lnTo>
                      <a:pt x="760" y="121"/>
                    </a:lnTo>
                    <a:lnTo>
                      <a:pt x="725" y="138"/>
                    </a:lnTo>
                    <a:lnTo>
                      <a:pt x="689" y="156"/>
                    </a:lnTo>
                    <a:lnTo>
                      <a:pt x="654" y="173"/>
                    </a:lnTo>
                    <a:lnTo>
                      <a:pt x="620" y="173"/>
                    </a:lnTo>
                    <a:lnTo>
                      <a:pt x="583" y="207"/>
                    </a:lnTo>
                    <a:lnTo>
                      <a:pt x="566" y="225"/>
                    </a:lnTo>
                    <a:lnTo>
                      <a:pt x="549" y="225"/>
                    </a:lnTo>
                    <a:lnTo>
                      <a:pt x="531" y="225"/>
                    </a:lnTo>
                    <a:lnTo>
                      <a:pt x="514" y="225"/>
                    </a:lnTo>
                    <a:lnTo>
                      <a:pt x="478" y="242"/>
                    </a:lnTo>
                    <a:lnTo>
                      <a:pt x="459" y="257"/>
                    </a:lnTo>
                    <a:lnTo>
                      <a:pt x="478" y="257"/>
                    </a:lnTo>
                    <a:lnTo>
                      <a:pt x="478" y="275"/>
                    </a:lnTo>
                    <a:lnTo>
                      <a:pt x="459" y="275"/>
                    </a:lnTo>
                    <a:lnTo>
                      <a:pt x="478" y="292"/>
                    </a:lnTo>
                    <a:lnTo>
                      <a:pt x="459" y="309"/>
                    </a:lnTo>
                    <a:lnTo>
                      <a:pt x="441" y="326"/>
                    </a:lnTo>
                    <a:lnTo>
                      <a:pt x="424" y="344"/>
                    </a:lnTo>
                    <a:lnTo>
                      <a:pt x="407" y="344"/>
                    </a:lnTo>
                    <a:lnTo>
                      <a:pt x="389" y="344"/>
                    </a:lnTo>
                    <a:lnTo>
                      <a:pt x="389" y="361"/>
                    </a:lnTo>
                    <a:lnTo>
                      <a:pt x="353" y="378"/>
                    </a:lnTo>
                    <a:lnTo>
                      <a:pt x="353" y="396"/>
                    </a:lnTo>
                    <a:lnTo>
                      <a:pt x="372" y="396"/>
                    </a:lnTo>
                    <a:lnTo>
                      <a:pt x="389" y="396"/>
                    </a:lnTo>
                    <a:lnTo>
                      <a:pt x="372" y="413"/>
                    </a:lnTo>
                    <a:lnTo>
                      <a:pt x="353" y="430"/>
                    </a:lnTo>
                    <a:lnTo>
                      <a:pt x="318" y="430"/>
                    </a:lnTo>
                    <a:lnTo>
                      <a:pt x="301" y="430"/>
                    </a:lnTo>
                    <a:lnTo>
                      <a:pt x="284" y="413"/>
                    </a:lnTo>
                    <a:lnTo>
                      <a:pt x="247" y="413"/>
                    </a:lnTo>
                    <a:lnTo>
                      <a:pt x="213" y="413"/>
                    </a:lnTo>
                    <a:lnTo>
                      <a:pt x="196" y="413"/>
                    </a:lnTo>
                    <a:lnTo>
                      <a:pt x="196" y="430"/>
                    </a:lnTo>
                    <a:lnTo>
                      <a:pt x="178" y="430"/>
                    </a:lnTo>
                    <a:lnTo>
                      <a:pt x="161" y="430"/>
                    </a:lnTo>
                    <a:lnTo>
                      <a:pt x="124" y="413"/>
                    </a:lnTo>
                    <a:lnTo>
                      <a:pt x="90" y="413"/>
                    </a:lnTo>
                    <a:lnTo>
                      <a:pt x="71" y="413"/>
                    </a:lnTo>
                    <a:lnTo>
                      <a:pt x="90" y="396"/>
                    </a:lnTo>
                    <a:lnTo>
                      <a:pt x="124" y="378"/>
                    </a:lnTo>
                    <a:lnTo>
                      <a:pt x="142" y="378"/>
                    </a:lnTo>
                    <a:lnTo>
                      <a:pt x="124" y="361"/>
                    </a:lnTo>
                    <a:lnTo>
                      <a:pt x="107" y="344"/>
                    </a:lnTo>
                    <a:lnTo>
                      <a:pt x="124" y="344"/>
                    </a:lnTo>
                    <a:lnTo>
                      <a:pt x="161" y="344"/>
                    </a:lnTo>
                    <a:lnTo>
                      <a:pt x="178" y="344"/>
                    </a:lnTo>
                    <a:lnTo>
                      <a:pt x="196" y="361"/>
                    </a:lnTo>
                    <a:lnTo>
                      <a:pt x="213" y="361"/>
                    </a:lnTo>
                    <a:lnTo>
                      <a:pt x="196" y="344"/>
                    </a:lnTo>
                    <a:lnTo>
                      <a:pt x="178" y="344"/>
                    </a:lnTo>
                    <a:lnTo>
                      <a:pt x="178" y="326"/>
                    </a:lnTo>
                    <a:lnTo>
                      <a:pt x="161" y="326"/>
                    </a:lnTo>
                    <a:lnTo>
                      <a:pt x="142" y="326"/>
                    </a:lnTo>
                    <a:lnTo>
                      <a:pt x="124" y="326"/>
                    </a:lnTo>
                    <a:lnTo>
                      <a:pt x="124" y="309"/>
                    </a:lnTo>
                    <a:lnTo>
                      <a:pt x="124" y="292"/>
                    </a:lnTo>
                    <a:lnTo>
                      <a:pt x="142" y="292"/>
                    </a:lnTo>
                    <a:lnTo>
                      <a:pt x="161" y="292"/>
                    </a:lnTo>
                    <a:lnTo>
                      <a:pt x="178" y="292"/>
                    </a:lnTo>
                    <a:lnTo>
                      <a:pt x="196" y="275"/>
                    </a:lnTo>
                    <a:lnTo>
                      <a:pt x="213" y="257"/>
                    </a:lnTo>
                    <a:lnTo>
                      <a:pt x="196" y="225"/>
                    </a:lnTo>
                    <a:lnTo>
                      <a:pt x="161" y="225"/>
                    </a:lnTo>
                    <a:lnTo>
                      <a:pt x="142" y="207"/>
                    </a:lnTo>
                    <a:lnTo>
                      <a:pt x="161" y="207"/>
                    </a:lnTo>
                    <a:lnTo>
                      <a:pt x="178" y="207"/>
                    </a:lnTo>
                    <a:lnTo>
                      <a:pt x="161" y="207"/>
                    </a:lnTo>
                    <a:lnTo>
                      <a:pt x="161" y="190"/>
                    </a:lnTo>
                    <a:lnTo>
                      <a:pt x="178" y="190"/>
                    </a:lnTo>
                    <a:lnTo>
                      <a:pt x="196" y="190"/>
                    </a:lnTo>
                    <a:lnTo>
                      <a:pt x="213" y="190"/>
                    </a:lnTo>
                    <a:lnTo>
                      <a:pt x="247" y="207"/>
                    </a:lnTo>
                    <a:lnTo>
                      <a:pt x="247" y="225"/>
                    </a:lnTo>
                    <a:lnTo>
                      <a:pt x="284" y="225"/>
                    </a:lnTo>
                    <a:lnTo>
                      <a:pt x="267" y="225"/>
                    </a:lnTo>
                    <a:lnTo>
                      <a:pt x="247" y="207"/>
                    </a:lnTo>
                    <a:lnTo>
                      <a:pt x="247" y="190"/>
                    </a:lnTo>
                    <a:lnTo>
                      <a:pt x="267" y="190"/>
                    </a:lnTo>
                    <a:lnTo>
                      <a:pt x="284" y="190"/>
                    </a:lnTo>
                    <a:lnTo>
                      <a:pt x="301" y="190"/>
                    </a:lnTo>
                    <a:lnTo>
                      <a:pt x="318" y="173"/>
                    </a:lnTo>
                    <a:lnTo>
                      <a:pt x="336" y="173"/>
                    </a:lnTo>
                    <a:lnTo>
                      <a:pt x="353" y="173"/>
                    </a:lnTo>
                    <a:lnTo>
                      <a:pt x="336" y="173"/>
                    </a:lnTo>
                    <a:lnTo>
                      <a:pt x="301" y="173"/>
                    </a:lnTo>
                    <a:lnTo>
                      <a:pt x="284" y="173"/>
                    </a:lnTo>
                    <a:lnTo>
                      <a:pt x="247" y="173"/>
                    </a:lnTo>
                    <a:lnTo>
                      <a:pt x="230" y="173"/>
                    </a:lnTo>
                    <a:lnTo>
                      <a:pt x="213" y="173"/>
                    </a:lnTo>
                    <a:lnTo>
                      <a:pt x="196" y="173"/>
                    </a:lnTo>
                    <a:lnTo>
                      <a:pt x="178" y="173"/>
                    </a:lnTo>
                    <a:lnTo>
                      <a:pt x="161" y="173"/>
                    </a:lnTo>
                    <a:lnTo>
                      <a:pt x="142" y="173"/>
                    </a:lnTo>
                    <a:lnTo>
                      <a:pt x="124" y="173"/>
                    </a:lnTo>
                    <a:lnTo>
                      <a:pt x="90" y="173"/>
                    </a:lnTo>
                    <a:lnTo>
                      <a:pt x="71" y="156"/>
                    </a:lnTo>
                    <a:lnTo>
                      <a:pt x="90" y="156"/>
                    </a:lnTo>
                    <a:lnTo>
                      <a:pt x="107" y="138"/>
                    </a:lnTo>
                    <a:lnTo>
                      <a:pt x="90" y="138"/>
                    </a:lnTo>
                    <a:lnTo>
                      <a:pt x="71" y="138"/>
                    </a:lnTo>
                    <a:lnTo>
                      <a:pt x="71" y="121"/>
                    </a:lnTo>
                    <a:lnTo>
                      <a:pt x="90" y="121"/>
                    </a:lnTo>
                    <a:lnTo>
                      <a:pt x="124" y="121"/>
                    </a:lnTo>
                    <a:lnTo>
                      <a:pt x="107" y="121"/>
                    </a:lnTo>
                    <a:lnTo>
                      <a:pt x="90" y="121"/>
                    </a:lnTo>
                    <a:lnTo>
                      <a:pt x="71" y="121"/>
                    </a:lnTo>
                    <a:lnTo>
                      <a:pt x="53" y="121"/>
                    </a:lnTo>
                    <a:lnTo>
                      <a:pt x="71" y="121"/>
                    </a:lnTo>
                    <a:lnTo>
                      <a:pt x="53" y="121"/>
                    </a:lnTo>
                    <a:lnTo>
                      <a:pt x="36" y="121"/>
                    </a:lnTo>
                    <a:lnTo>
                      <a:pt x="17" y="121"/>
                    </a:lnTo>
                    <a:lnTo>
                      <a:pt x="0" y="121"/>
                    </a:lnTo>
                    <a:lnTo>
                      <a:pt x="17" y="104"/>
                    </a:lnTo>
                    <a:lnTo>
                      <a:pt x="71" y="87"/>
                    </a:lnTo>
                    <a:lnTo>
                      <a:pt x="107" y="69"/>
                    </a:lnTo>
                    <a:lnTo>
                      <a:pt x="124" y="69"/>
                    </a:lnTo>
                    <a:lnTo>
                      <a:pt x="161" y="52"/>
                    </a:lnTo>
                    <a:lnTo>
                      <a:pt x="178" y="52"/>
                    </a:lnTo>
                    <a:lnTo>
                      <a:pt x="196" y="52"/>
                    </a:lnTo>
                    <a:lnTo>
                      <a:pt x="213" y="52"/>
                    </a:lnTo>
                    <a:lnTo>
                      <a:pt x="247" y="69"/>
                    </a:lnTo>
                    <a:lnTo>
                      <a:pt x="247" y="52"/>
                    </a:lnTo>
                    <a:lnTo>
                      <a:pt x="267" y="35"/>
                    </a:lnTo>
                    <a:lnTo>
                      <a:pt x="284" y="35"/>
                    </a:lnTo>
                    <a:lnTo>
                      <a:pt x="301" y="35"/>
                    </a:lnTo>
                    <a:lnTo>
                      <a:pt x="301" y="17"/>
                    </a:lnTo>
                    <a:lnTo>
                      <a:pt x="318" y="17"/>
                    </a:lnTo>
                    <a:lnTo>
                      <a:pt x="353" y="17"/>
                    </a:lnTo>
                    <a:lnTo>
                      <a:pt x="389" y="17"/>
                    </a:lnTo>
                    <a:lnTo>
                      <a:pt x="424" y="17"/>
                    </a:lnTo>
                    <a:lnTo>
                      <a:pt x="441" y="0"/>
                    </a:lnTo>
                    <a:lnTo>
                      <a:pt x="459" y="0"/>
                    </a:lnTo>
                    <a:lnTo>
                      <a:pt x="478" y="17"/>
                    </a:lnTo>
                    <a:lnTo>
                      <a:pt x="495" y="17"/>
                    </a:lnTo>
                    <a:lnTo>
                      <a:pt x="495" y="0"/>
                    </a:lnTo>
                    <a:lnTo>
                      <a:pt x="514" y="0"/>
                    </a:lnTo>
                    <a:lnTo>
                      <a:pt x="531" y="0"/>
                    </a:lnTo>
                    <a:lnTo>
                      <a:pt x="549" y="0"/>
                    </a:lnTo>
                    <a:lnTo>
                      <a:pt x="566" y="0"/>
                    </a:lnTo>
                    <a:lnTo>
                      <a:pt x="602" y="0"/>
                    </a:lnTo>
                    <a:lnTo>
                      <a:pt x="654" y="17"/>
                    </a:lnTo>
                    <a:lnTo>
                      <a:pt x="708" y="1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88" name="Freeform 22">
                <a:extLst>
                  <a:ext uri="{FF2B5EF4-FFF2-40B4-BE49-F238E27FC236}">
                    <a16:creationId xmlns:a16="http://schemas.microsoft.com/office/drawing/2014/main" id="{38023CCD-27BF-BF4F-87B0-7F76722D5A9F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487613" y="2486026"/>
                <a:ext cx="139700" cy="95250"/>
              </a:xfrm>
              <a:custGeom>
                <a:avLst/>
                <a:gdLst>
                  <a:gd name="T0" fmla="*/ 28738 w 175"/>
                  <a:gd name="T1" fmla="*/ 7204 h 119"/>
                  <a:gd name="T2" fmla="*/ 28738 w 175"/>
                  <a:gd name="T3" fmla="*/ 10405 h 119"/>
                  <a:gd name="T4" fmla="*/ 28738 w 175"/>
                  <a:gd name="T5" fmla="*/ 13607 h 119"/>
                  <a:gd name="T6" fmla="*/ 31931 w 175"/>
                  <a:gd name="T7" fmla="*/ 13607 h 119"/>
                  <a:gd name="T8" fmla="*/ 35125 w 175"/>
                  <a:gd name="T9" fmla="*/ 13607 h 119"/>
                  <a:gd name="T10" fmla="*/ 31931 w 175"/>
                  <a:gd name="T11" fmla="*/ 17609 h 119"/>
                  <a:gd name="T12" fmla="*/ 31931 w 175"/>
                  <a:gd name="T13" fmla="*/ 20811 h 119"/>
                  <a:gd name="T14" fmla="*/ 24747 w 175"/>
                  <a:gd name="T15" fmla="*/ 24013 h 119"/>
                  <a:gd name="T16" fmla="*/ 21554 w 175"/>
                  <a:gd name="T17" fmla="*/ 24013 h 119"/>
                  <a:gd name="T18" fmla="*/ 18361 w 175"/>
                  <a:gd name="T19" fmla="*/ 24013 h 119"/>
                  <a:gd name="T20" fmla="*/ 18361 w 175"/>
                  <a:gd name="T21" fmla="*/ 20811 h 119"/>
                  <a:gd name="T22" fmla="*/ 11176 w 175"/>
                  <a:gd name="T23" fmla="*/ 17609 h 119"/>
                  <a:gd name="T24" fmla="*/ 7185 w 175"/>
                  <a:gd name="T25" fmla="*/ 13607 h 119"/>
                  <a:gd name="T26" fmla="*/ 0 w 175"/>
                  <a:gd name="T27" fmla="*/ 13607 h 119"/>
                  <a:gd name="T28" fmla="*/ 0 w 175"/>
                  <a:gd name="T29" fmla="*/ 10405 h 119"/>
                  <a:gd name="T30" fmla="*/ 0 w 175"/>
                  <a:gd name="T31" fmla="*/ 7204 h 119"/>
                  <a:gd name="T32" fmla="*/ 3991 w 175"/>
                  <a:gd name="T33" fmla="*/ 10405 h 119"/>
                  <a:gd name="T34" fmla="*/ 7185 w 175"/>
                  <a:gd name="T35" fmla="*/ 10405 h 119"/>
                  <a:gd name="T36" fmla="*/ 11176 w 175"/>
                  <a:gd name="T37" fmla="*/ 10405 h 119"/>
                  <a:gd name="T38" fmla="*/ 11176 w 175"/>
                  <a:gd name="T39" fmla="*/ 7204 h 119"/>
                  <a:gd name="T40" fmla="*/ 11176 w 175"/>
                  <a:gd name="T41" fmla="*/ 3202 h 119"/>
                  <a:gd name="T42" fmla="*/ 7185 w 175"/>
                  <a:gd name="T43" fmla="*/ 3202 h 119"/>
                  <a:gd name="T44" fmla="*/ 7185 w 175"/>
                  <a:gd name="T45" fmla="*/ 0 h 119"/>
                  <a:gd name="T46" fmla="*/ 11176 w 175"/>
                  <a:gd name="T47" fmla="*/ 0 h 119"/>
                  <a:gd name="T48" fmla="*/ 14369 w 175"/>
                  <a:gd name="T49" fmla="*/ 0 h 119"/>
                  <a:gd name="T50" fmla="*/ 21554 w 175"/>
                  <a:gd name="T51" fmla="*/ 0 h 119"/>
                  <a:gd name="T52" fmla="*/ 24747 w 175"/>
                  <a:gd name="T53" fmla="*/ 0 h 119"/>
                  <a:gd name="T54" fmla="*/ 28738 w 175"/>
                  <a:gd name="T55" fmla="*/ 0 h 119"/>
                  <a:gd name="T56" fmla="*/ 28738 w 175"/>
                  <a:gd name="T57" fmla="*/ 3202 h 119"/>
                  <a:gd name="T58" fmla="*/ 24747 w 175"/>
                  <a:gd name="T59" fmla="*/ 7204 h 119"/>
                  <a:gd name="T60" fmla="*/ 21554 w 175"/>
                  <a:gd name="T61" fmla="*/ 7204 h 119"/>
                  <a:gd name="T62" fmla="*/ 24747 w 175"/>
                  <a:gd name="T63" fmla="*/ 7204 h 119"/>
                  <a:gd name="T64" fmla="*/ 28738 w 175"/>
                  <a:gd name="T65" fmla="*/ 7204 h 11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75"/>
                  <a:gd name="T100" fmla="*/ 0 h 119"/>
                  <a:gd name="T101" fmla="*/ 175 w 175"/>
                  <a:gd name="T102" fmla="*/ 119 h 11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75" h="119">
                    <a:moveTo>
                      <a:pt x="141" y="33"/>
                    </a:moveTo>
                    <a:lnTo>
                      <a:pt x="141" y="50"/>
                    </a:lnTo>
                    <a:lnTo>
                      <a:pt x="141" y="67"/>
                    </a:lnTo>
                    <a:lnTo>
                      <a:pt x="158" y="67"/>
                    </a:lnTo>
                    <a:lnTo>
                      <a:pt x="175" y="67"/>
                    </a:lnTo>
                    <a:lnTo>
                      <a:pt x="158" y="85"/>
                    </a:lnTo>
                    <a:lnTo>
                      <a:pt x="158" y="102"/>
                    </a:lnTo>
                    <a:lnTo>
                      <a:pt x="123" y="119"/>
                    </a:lnTo>
                    <a:lnTo>
                      <a:pt x="106" y="119"/>
                    </a:lnTo>
                    <a:lnTo>
                      <a:pt x="89" y="119"/>
                    </a:lnTo>
                    <a:lnTo>
                      <a:pt x="89" y="102"/>
                    </a:lnTo>
                    <a:lnTo>
                      <a:pt x="54" y="85"/>
                    </a:lnTo>
                    <a:lnTo>
                      <a:pt x="35" y="67"/>
                    </a:lnTo>
                    <a:lnTo>
                      <a:pt x="0" y="67"/>
                    </a:lnTo>
                    <a:lnTo>
                      <a:pt x="0" y="50"/>
                    </a:lnTo>
                    <a:lnTo>
                      <a:pt x="0" y="33"/>
                    </a:lnTo>
                    <a:lnTo>
                      <a:pt x="18" y="50"/>
                    </a:lnTo>
                    <a:lnTo>
                      <a:pt x="35" y="50"/>
                    </a:lnTo>
                    <a:lnTo>
                      <a:pt x="54" y="50"/>
                    </a:lnTo>
                    <a:lnTo>
                      <a:pt x="54" y="33"/>
                    </a:lnTo>
                    <a:lnTo>
                      <a:pt x="54" y="15"/>
                    </a:lnTo>
                    <a:lnTo>
                      <a:pt x="35" y="15"/>
                    </a:lnTo>
                    <a:lnTo>
                      <a:pt x="35" y="0"/>
                    </a:lnTo>
                    <a:lnTo>
                      <a:pt x="54" y="0"/>
                    </a:lnTo>
                    <a:lnTo>
                      <a:pt x="71" y="0"/>
                    </a:lnTo>
                    <a:lnTo>
                      <a:pt x="106" y="0"/>
                    </a:lnTo>
                    <a:lnTo>
                      <a:pt x="123" y="0"/>
                    </a:lnTo>
                    <a:lnTo>
                      <a:pt x="141" y="0"/>
                    </a:lnTo>
                    <a:lnTo>
                      <a:pt x="141" y="15"/>
                    </a:lnTo>
                    <a:lnTo>
                      <a:pt x="123" y="33"/>
                    </a:lnTo>
                    <a:lnTo>
                      <a:pt x="106" y="33"/>
                    </a:lnTo>
                    <a:lnTo>
                      <a:pt x="123" y="33"/>
                    </a:lnTo>
                    <a:lnTo>
                      <a:pt x="141" y="3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89" name="Freeform 23">
                <a:extLst>
                  <a:ext uri="{FF2B5EF4-FFF2-40B4-BE49-F238E27FC236}">
                    <a16:creationId xmlns:a16="http://schemas.microsoft.com/office/drawing/2014/main" id="{E81A59C6-3764-FD4D-92C7-9DA22C1F288A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557463" y="2633663"/>
                <a:ext cx="82550" cy="58738"/>
              </a:xfrm>
              <a:custGeom>
                <a:avLst/>
                <a:gdLst>
                  <a:gd name="T0" fmla="*/ 17632 w 103"/>
                  <a:gd name="T1" fmla="*/ 15288 h 73"/>
                  <a:gd name="T2" fmla="*/ 10419 w 103"/>
                  <a:gd name="T3" fmla="*/ 11265 h 73"/>
                  <a:gd name="T4" fmla="*/ 4007 w 103"/>
                  <a:gd name="T5" fmla="*/ 8046 h 73"/>
                  <a:gd name="T6" fmla="*/ 0 w 103"/>
                  <a:gd name="T7" fmla="*/ 8046 h 73"/>
                  <a:gd name="T8" fmla="*/ 4007 w 103"/>
                  <a:gd name="T9" fmla="*/ 8046 h 73"/>
                  <a:gd name="T10" fmla="*/ 4007 w 103"/>
                  <a:gd name="T11" fmla="*/ 4023 h 73"/>
                  <a:gd name="T12" fmla="*/ 7213 w 103"/>
                  <a:gd name="T13" fmla="*/ 0 h 73"/>
                  <a:gd name="T14" fmla="*/ 14426 w 103"/>
                  <a:gd name="T15" fmla="*/ 4023 h 73"/>
                  <a:gd name="T16" fmla="*/ 17632 w 103"/>
                  <a:gd name="T17" fmla="*/ 8046 h 73"/>
                  <a:gd name="T18" fmla="*/ 20838 w 103"/>
                  <a:gd name="T19" fmla="*/ 11265 h 73"/>
                  <a:gd name="T20" fmla="*/ 17632 w 103"/>
                  <a:gd name="T21" fmla="*/ 11265 h 73"/>
                  <a:gd name="T22" fmla="*/ 17632 w 103"/>
                  <a:gd name="T23" fmla="*/ 15288 h 7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03"/>
                  <a:gd name="T37" fmla="*/ 0 h 73"/>
                  <a:gd name="T38" fmla="*/ 103 w 103"/>
                  <a:gd name="T39" fmla="*/ 73 h 7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03" h="73">
                    <a:moveTo>
                      <a:pt x="86" y="73"/>
                    </a:moveTo>
                    <a:lnTo>
                      <a:pt x="52" y="56"/>
                    </a:lnTo>
                    <a:lnTo>
                      <a:pt x="17" y="37"/>
                    </a:lnTo>
                    <a:lnTo>
                      <a:pt x="0" y="37"/>
                    </a:lnTo>
                    <a:lnTo>
                      <a:pt x="17" y="37"/>
                    </a:lnTo>
                    <a:lnTo>
                      <a:pt x="17" y="19"/>
                    </a:lnTo>
                    <a:lnTo>
                      <a:pt x="34" y="0"/>
                    </a:lnTo>
                    <a:lnTo>
                      <a:pt x="69" y="19"/>
                    </a:lnTo>
                    <a:lnTo>
                      <a:pt x="86" y="37"/>
                    </a:lnTo>
                    <a:lnTo>
                      <a:pt x="103" y="56"/>
                    </a:lnTo>
                    <a:lnTo>
                      <a:pt x="86" y="56"/>
                    </a:lnTo>
                    <a:lnTo>
                      <a:pt x="86" y="7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90" name="Freeform 24">
                <a:extLst>
                  <a:ext uri="{FF2B5EF4-FFF2-40B4-BE49-F238E27FC236}">
                    <a16:creationId xmlns:a16="http://schemas.microsoft.com/office/drawing/2014/main" id="{6844F276-C099-F340-8B1F-FC5AA231979D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627313" y="2457451"/>
                <a:ext cx="125413" cy="95250"/>
              </a:xfrm>
              <a:custGeom>
                <a:avLst/>
                <a:gdLst>
                  <a:gd name="T0" fmla="*/ 30762 w 159"/>
                  <a:gd name="T1" fmla="*/ 6298 h 121"/>
                  <a:gd name="T2" fmla="*/ 27607 w 159"/>
                  <a:gd name="T3" fmla="*/ 6298 h 121"/>
                  <a:gd name="T4" fmla="*/ 24452 w 159"/>
                  <a:gd name="T5" fmla="*/ 6298 h 121"/>
                  <a:gd name="T6" fmla="*/ 21297 w 159"/>
                  <a:gd name="T7" fmla="*/ 13382 h 121"/>
                  <a:gd name="T8" fmla="*/ 21297 w 159"/>
                  <a:gd name="T9" fmla="*/ 16531 h 121"/>
                  <a:gd name="T10" fmla="*/ 13409 w 159"/>
                  <a:gd name="T11" fmla="*/ 16531 h 121"/>
                  <a:gd name="T12" fmla="*/ 10254 w 159"/>
                  <a:gd name="T13" fmla="*/ 16531 h 121"/>
                  <a:gd name="T14" fmla="*/ 10254 w 159"/>
                  <a:gd name="T15" fmla="*/ 19680 h 121"/>
                  <a:gd name="T16" fmla="*/ 10254 w 159"/>
                  <a:gd name="T17" fmla="*/ 23616 h 121"/>
                  <a:gd name="T18" fmla="*/ 6310 w 159"/>
                  <a:gd name="T19" fmla="*/ 23616 h 121"/>
                  <a:gd name="T20" fmla="*/ 3155 w 159"/>
                  <a:gd name="T21" fmla="*/ 23616 h 121"/>
                  <a:gd name="T22" fmla="*/ 3155 w 159"/>
                  <a:gd name="T23" fmla="*/ 19680 h 121"/>
                  <a:gd name="T24" fmla="*/ 3155 w 159"/>
                  <a:gd name="T25" fmla="*/ 16531 h 121"/>
                  <a:gd name="T26" fmla="*/ 3155 w 159"/>
                  <a:gd name="T27" fmla="*/ 13382 h 121"/>
                  <a:gd name="T28" fmla="*/ 0 w 159"/>
                  <a:gd name="T29" fmla="*/ 6298 h 121"/>
                  <a:gd name="T30" fmla="*/ 3155 w 159"/>
                  <a:gd name="T31" fmla="*/ 6298 h 121"/>
                  <a:gd name="T32" fmla="*/ 6310 w 159"/>
                  <a:gd name="T33" fmla="*/ 6298 h 121"/>
                  <a:gd name="T34" fmla="*/ 6310 w 159"/>
                  <a:gd name="T35" fmla="*/ 3149 h 121"/>
                  <a:gd name="T36" fmla="*/ 10254 w 159"/>
                  <a:gd name="T37" fmla="*/ 3149 h 121"/>
                  <a:gd name="T38" fmla="*/ 10254 w 159"/>
                  <a:gd name="T39" fmla="*/ 0 h 121"/>
                  <a:gd name="T40" fmla="*/ 17353 w 159"/>
                  <a:gd name="T41" fmla="*/ 3149 h 121"/>
                  <a:gd name="T42" fmla="*/ 21297 w 159"/>
                  <a:gd name="T43" fmla="*/ 3149 h 121"/>
                  <a:gd name="T44" fmla="*/ 30762 w 159"/>
                  <a:gd name="T45" fmla="*/ 3149 h 121"/>
                  <a:gd name="T46" fmla="*/ 30762 w 159"/>
                  <a:gd name="T47" fmla="*/ 6298 h 12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59"/>
                  <a:gd name="T73" fmla="*/ 0 h 121"/>
                  <a:gd name="T74" fmla="*/ 159 w 159"/>
                  <a:gd name="T75" fmla="*/ 121 h 12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59" h="121">
                    <a:moveTo>
                      <a:pt x="159" y="34"/>
                    </a:moveTo>
                    <a:lnTo>
                      <a:pt x="142" y="34"/>
                    </a:lnTo>
                    <a:lnTo>
                      <a:pt x="125" y="34"/>
                    </a:lnTo>
                    <a:lnTo>
                      <a:pt x="108" y="69"/>
                    </a:lnTo>
                    <a:lnTo>
                      <a:pt x="108" y="86"/>
                    </a:lnTo>
                    <a:lnTo>
                      <a:pt x="71" y="86"/>
                    </a:lnTo>
                    <a:lnTo>
                      <a:pt x="54" y="86"/>
                    </a:lnTo>
                    <a:lnTo>
                      <a:pt x="54" y="103"/>
                    </a:lnTo>
                    <a:lnTo>
                      <a:pt x="54" y="121"/>
                    </a:lnTo>
                    <a:lnTo>
                      <a:pt x="35" y="121"/>
                    </a:lnTo>
                    <a:lnTo>
                      <a:pt x="17" y="121"/>
                    </a:lnTo>
                    <a:lnTo>
                      <a:pt x="17" y="103"/>
                    </a:lnTo>
                    <a:lnTo>
                      <a:pt x="17" y="86"/>
                    </a:lnTo>
                    <a:lnTo>
                      <a:pt x="17" y="69"/>
                    </a:lnTo>
                    <a:lnTo>
                      <a:pt x="0" y="34"/>
                    </a:lnTo>
                    <a:lnTo>
                      <a:pt x="17" y="34"/>
                    </a:lnTo>
                    <a:lnTo>
                      <a:pt x="35" y="34"/>
                    </a:lnTo>
                    <a:lnTo>
                      <a:pt x="35" y="17"/>
                    </a:lnTo>
                    <a:lnTo>
                      <a:pt x="54" y="17"/>
                    </a:lnTo>
                    <a:lnTo>
                      <a:pt x="54" y="0"/>
                    </a:lnTo>
                    <a:lnTo>
                      <a:pt x="88" y="17"/>
                    </a:lnTo>
                    <a:lnTo>
                      <a:pt x="108" y="17"/>
                    </a:lnTo>
                    <a:lnTo>
                      <a:pt x="159" y="17"/>
                    </a:lnTo>
                    <a:lnTo>
                      <a:pt x="159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91" name="Freeform 25">
                <a:extLst>
                  <a:ext uri="{FF2B5EF4-FFF2-40B4-BE49-F238E27FC236}">
                    <a16:creationId xmlns:a16="http://schemas.microsoft.com/office/drawing/2014/main" id="{AB4D3166-4ECF-6842-A46C-9DCCA669A6DE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3046413" y="2703513"/>
                <a:ext cx="41275" cy="28575"/>
              </a:xfrm>
              <a:custGeom>
                <a:avLst/>
                <a:gdLst>
                  <a:gd name="T0" fmla="*/ 10319 w 52"/>
                  <a:gd name="T1" fmla="*/ 3969 h 36"/>
                  <a:gd name="T2" fmla="*/ 3969 w 52"/>
                  <a:gd name="T3" fmla="*/ 7144 h 36"/>
                  <a:gd name="T4" fmla="*/ 0 w 52"/>
                  <a:gd name="T5" fmla="*/ 7144 h 36"/>
                  <a:gd name="T6" fmla="*/ 0 w 52"/>
                  <a:gd name="T7" fmla="*/ 3969 h 36"/>
                  <a:gd name="T8" fmla="*/ 0 w 52"/>
                  <a:gd name="T9" fmla="*/ 0 h 36"/>
                  <a:gd name="T10" fmla="*/ 7144 w 52"/>
                  <a:gd name="T11" fmla="*/ 0 h 36"/>
                  <a:gd name="T12" fmla="*/ 10319 w 52"/>
                  <a:gd name="T13" fmla="*/ 3969 h 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"/>
                  <a:gd name="T22" fmla="*/ 0 h 36"/>
                  <a:gd name="T23" fmla="*/ 52 w 52"/>
                  <a:gd name="T24" fmla="*/ 36 h 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" h="36">
                    <a:moveTo>
                      <a:pt x="52" y="19"/>
                    </a:moveTo>
                    <a:lnTo>
                      <a:pt x="17" y="36"/>
                    </a:lnTo>
                    <a:lnTo>
                      <a:pt x="0" y="36"/>
                    </a:lnTo>
                    <a:lnTo>
                      <a:pt x="0" y="19"/>
                    </a:lnTo>
                    <a:lnTo>
                      <a:pt x="0" y="0"/>
                    </a:lnTo>
                    <a:lnTo>
                      <a:pt x="35" y="0"/>
                    </a:lnTo>
                    <a:lnTo>
                      <a:pt x="52" y="19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92" name="Freeform 26">
                <a:extLst>
                  <a:ext uri="{FF2B5EF4-FFF2-40B4-BE49-F238E27FC236}">
                    <a16:creationId xmlns:a16="http://schemas.microsoft.com/office/drawing/2014/main" id="{6A61BCB4-1028-D643-98EF-E946467EDDB6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947988" y="2486026"/>
                <a:ext cx="112713" cy="39688"/>
              </a:xfrm>
              <a:custGeom>
                <a:avLst/>
                <a:gdLst>
                  <a:gd name="T0" fmla="*/ 10319 w 142"/>
                  <a:gd name="T1" fmla="*/ 10319 h 50"/>
                  <a:gd name="T2" fmla="*/ 7144 w 142"/>
                  <a:gd name="T3" fmla="*/ 10319 h 50"/>
                  <a:gd name="T4" fmla="*/ 7144 w 142"/>
                  <a:gd name="T5" fmla="*/ 7144 h 50"/>
                  <a:gd name="T6" fmla="*/ 3175 w 142"/>
                  <a:gd name="T7" fmla="*/ 2381 h 50"/>
                  <a:gd name="T8" fmla="*/ 0 w 142"/>
                  <a:gd name="T9" fmla="*/ 2381 h 50"/>
                  <a:gd name="T10" fmla="*/ 0 w 142"/>
                  <a:gd name="T11" fmla="*/ 0 h 50"/>
                  <a:gd name="T12" fmla="*/ 3175 w 142"/>
                  <a:gd name="T13" fmla="*/ 0 h 50"/>
                  <a:gd name="T14" fmla="*/ 10319 w 142"/>
                  <a:gd name="T15" fmla="*/ 0 h 50"/>
                  <a:gd name="T16" fmla="*/ 14288 w 142"/>
                  <a:gd name="T17" fmla="*/ 0 h 50"/>
                  <a:gd name="T18" fmla="*/ 21431 w 142"/>
                  <a:gd name="T19" fmla="*/ 0 h 50"/>
                  <a:gd name="T20" fmla="*/ 24606 w 142"/>
                  <a:gd name="T21" fmla="*/ 2381 h 50"/>
                  <a:gd name="T22" fmla="*/ 28575 w 142"/>
                  <a:gd name="T23" fmla="*/ 7144 h 50"/>
                  <a:gd name="T24" fmla="*/ 24606 w 142"/>
                  <a:gd name="T25" fmla="*/ 7144 h 50"/>
                  <a:gd name="T26" fmla="*/ 24606 w 142"/>
                  <a:gd name="T27" fmla="*/ 10319 h 50"/>
                  <a:gd name="T28" fmla="*/ 21431 w 142"/>
                  <a:gd name="T29" fmla="*/ 10319 h 50"/>
                  <a:gd name="T30" fmla="*/ 17463 w 142"/>
                  <a:gd name="T31" fmla="*/ 7144 h 50"/>
                  <a:gd name="T32" fmla="*/ 17463 w 142"/>
                  <a:gd name="T33" fmla="*/ 10319 h 50"/>
                  <a:gd name="T34" fmla="*/ 14288 w 142"/>
                  <a:gd name="T35" fmla="*/ 10319 h 50"/>
                  <a:gd name="T36" fmla="*/ 10319 w 142"/>
                  <a:gd name="T37" fmla="*/ 10319 h 5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42"/>
                  <a:gd name="T58" fmla="*/ 0 h 50"/>
                  <a:gd name="T59" fmla="*/ 142 w 142"/>
                  <a:gd name="T60" fmla="*/ 50 h 5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42" h="50">
                    <a:moveTo>
                      <a:pt x="54" y="50"/>
                    </a:moveTo>
                    <a:lnTo>
                      <a:pt x="37" y="50"/>
                    </a:lnTo>
                    <a:lnTo>
                      <a:pt x="37" y="33"/>
                    </a:lnTo>
                    <a:lnTo>
                      <a:pt x="19" y="1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9" y="0"/>
                    </a:lnTo>
                    <a:lnTo>
                      <a:pt x="54" y="0"/>
                    </a:lnTo>
                    <a:lnTo>
                      <a:pt x="71" y="0"/>
                    </a:lnTo>
                    <a:lnTo>
                      <a:pt x="108" y="0"/>
                    </a:lnTo>
                    <a:lnTo>
                      <a:pt x="125" y="15"/>
                    </a:lnTo>
                    <a:lnTo>
                      <a:pt x="142" y="33"/>
                    </a:lnTo>
                    <a:lnTo>
                      <a:pt x="125" y="33"/>
                    </a:lnTo>
                    <a:lnTo>
                      <a:pt x="125" y="50"/>
                    </a:lnTo>
                    <a:lnTo>
                      <a:pt x="108" y="50"/>
                    </a:lnTo>
                    <a:lnTo>
                      <a:pt x="90" y="33"/>
                    </a:lnTo>
                    <a:lnTo>
                      <a:pt x="90" y="50"/>
                    </a:lnTo>
                    <a:lnTo>
                      <a:pt x="71" y="50"/>
                    </a:lnTo>
                    <a:lnTo>
                      <a:pt x="54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93" name="Freeform 27">
                <a:extLst>
                  <a:ext uri="{FF2B5EF4-FFF2-40B4-BE49-F238E27FC236}">
                    <a16:creationId xmlns:a16="http://schemas.microsoft.com/office/drawing/2014/main" id="{51139EAC-3565-1C4E-8572-7A488B0B6115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2992438" y="2662238"/>
                <a:ext cx="11113" cy="0"/>
              </a:xfrm>
              <a:custGeom>
                <a:avLst/>
                <a:gdLst>
                  <a:gd name="T0" fmla="*/ 0 w 13"/>
                  <a:gd name="T1" fmla="*/ 3419 w 13"/>
                  <a:gd name="T2" fmla="*/ 0 w 13"/>
                  <a:gd name="T3" fmla="*/ 0 60000 65536"/>
                  <a:gd name="T4" fmla="*/ 0 60000 65536"/>
                  <a:gd name="T5" fmla="*/ 0 60000 65536"/>
                  <a:gd name="T6" fmla="*/ 0 w 13"/>
                  <a:gd name="T7" fmla="*/ 13 w 13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T6" t="0" r="T7" b="0"/>
                <a:pathLst>
                  <a:path w="13">
                    <a:moveTo>
                      <a:pt x="0" y="0"/>
                    </a:moveTo>
                    <a:lnTo>
                      <a:pt x="1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94" name="Freeform 28">
                <a:extLst>
                  <a:ext uri="{FF2B5EF4-FFF2-40B4-BE49-F238E27FC236}">
                    <a16:creationId xmlns:a16="http://schemas.microsoft.com/office/drawing/2014/main" id="{330DF780-0359-7548-B290-91161A783E56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2752725" y="2486026"/>
                <a:ext cx="631825" cy="425450"/>
              </a:xfrm>
              <a:custGeom>
                <a:avLst/>
                <a:gdLst>
                  <a:gd name="T0" fmla="*/ 143849 w 795"/>
                  <a:gd name="T1" fmla="*/ 78728 h 535"/>
                  <a:gd name="T2" fmla="*/ 127160 w 795"/>
                  <a:gd name="T3" fmla="*/ 69185 h 535"/>
                  <a:gd name="T4" fmla="*/ 127160 w 795"/>
                  <a:gd name="T5" fmla="*/ 72366 h 535"/>
                  <a:gd name="T6" fmla="*/ 127160 w 795"/>
                  <a:gd name="T7" fmla="*/ 75547 h 535"/>
                  <a:gd name="T8" fmla="*/ 133518 w 795"/>
                  <a:gd name="T9" fmla="*/ 78728 h 535"/>
                  <a:gd name="T10" fmla="*/ 140670 w 795"/>
                  <a:gd name="T11" fmla="*/ 82704 h 535"/>
                  <a:gd name="T12" fmla="*/ 140670 w 795"/>
                  <a:gd name="T13" fmla="*/ 93042 h 535"/>
                  <a:gd name="T14" fmla="*/ 133518 w 795"/>
                  <a:gd name="T15" fmla="*/ 96223 h 535"/>
                  <a:gd name="T16" fmla="*/ 123186 w 795"/>
                  <a:gd name="T17" fmla="*/ 96223 h 535"/>
                  <a:gd name="T18" fmla="*/ 130339 w 795"/>
                  <a:gd name="T19" fmla="*/ 106561 h 535"/>
                  <a:gd name="T20" fmla="*/ 120007 w 795"/>
                  <a:gd name="T21" fmla="*/ 100199 h 535"/>
                  <a:gd name="T22" fmla="*/ 102523 w 795"/>
                  <a:gd name="T23" fmla="*/ 96223 h 535"/>
                  <a:gd name="T24" fmla="*/ 92191 w 795"/>
                  <a:gd name="T25" fmla="*/ 85885 h 535"/>
                  <a:gd name="T26" fmla="*/ 81064 w 795"/>
                  <a:gd name="T27" fmla="*/ 82704 h 535"/>
                  <a:gd name="T28" fmla="*/ 66759 w 795"/>
                  <a:gd name="T29" fmla="*/ 82704 h 535"/>
                  <a:gd name="T30" fmla="*/ 73912 w 795"/>
                  <a:gd name="T31" fmla="*/ 78728 h 535"/>
                  <a:gd name="T32" fmla="*/ 85038 w 795"/>
                  <a:gd name="T33" fmla="*/ 78728 h 535"/>
                  <a:gd name="T34" fmla="*/ 88217 w 795"/>
                  <a:gd name="T35" fmla="*/ 75547 h 535"/>
                  <a:gd name="T36" fmla="*/ 88217 w 795"/>
                  <a:gd name="T37" fmla="*/ 69185 h 535"/>
                  <a:gd name="T38" fmla="*/ 95370 w 795"/>
                  <a:gd name="T39" fmla="*/ 65209 h 535"/>
                  <a:gd name="T40" fmla="*/ 88217 w 795"/>
                  <a:gd name="T41" fmla="*/ 48509 h 535"/>
                  <a:gd name="T42" fmla="*/ 77885 w 795"/>
                  <a:gd name="T43" fmla="*/ 48509 h 535"/>
                  <a:gd name="T44" fmla="*/ 77885 w 795"/>
                  <a:gd name="T45" fmla="*/ 45328 h 535"/>
                  <a:gd name="T46" fmla="*/ 63580 w 795"/>
                  <a:gd name="T47" fmla="*/ 34195 h 535"/>
                  <a:gd name="T48" fmla="*/ 57222 w 795"/>
                  <a:gd name="T49" fmla="*/ 41352 h 535"/>
                  <a:gd name="T50" fmla="*/ 46095 w 795"/>
                  <a:gd name="T51" fmla="*/ 34195 h 535"/>
                  <a:gd name="T52" fmla="*/ 25432 w 795"/>
                  <a:gd name="T53" fmla="*/ 34195 h 535"/>
                  <a:gd name="T54" fmla="*/ 15100 w 795"/>
                  <a:gd name="T55" fmla="*/ 34195 h 535"/>
                  <a:gd name="T56" fmla="*/ 3974 w 795"/>
                  <a:gd name="T57" fmla="*/ 27038 h 535"/>
                  <a:gd name="T58" fmla="*/ 15100 w 795"/>
                  <a:gd name="T59" fmla="*/ 27038 h 535"/>
                  <a:gd name="T60" fmla="*/ 3974 w 795"/>
                  <a:gd name="T61" fmla="*/ 23857 h 535"/>
                  <a:gd name="T62" fmla="*/ 3974 w 795"/>
                  <a:gd name="T63" fmla="*/ 13519 h 535"/>
                  <a:gd name="T64" fmla="*/ 11126 w 795"/>
                  <a:gd name="T65" fmla="*/ 0 h 535"/>
                  <a:gd name="T66" fmla="*/ 25432 w 795"/>
                  <a:gd name="T67" fmla="*/ 0 h 535"/>
                  <a:gd name="T68" fmla="*/ 18279 w 795"/>
                  <a:gd name="T69" fmla="*/ 10338 h 535"/>
                  <a:gd name="T70" fmla="*/ 21458 w 795"/>
                  <a:gd name="T71" fmla="*/ 17495 h 535"/>
                  <a:gd name="T72" fmla="*/ 25432 w 795"/>
                  <a:gd name="T73" fmla="*/ 10338 h 535"/>
                  <a:gd name="T74" fmla="*/ 46095 w 795"/>
                  <a:gd name="T75" fmla="*/ 0 h 535"/>
                  <a:gd name="T76" fmla="*/ 53248 w 795"/>
                  <a:gd name="T77" fmla="*/ 13519 h 535"/>
                  <a:gd name="T78" fmla="*/ 63580 w 795"/>
                  <a:gd name="T79" fmla="*/ 13519 h 535"/>
                  <a:gd name="T80" fmla="*/ 73912 w 795"/>
                  <a:gd name="T81" fmla="*/ 10338 h 535"/>
                  <a:gd name="T82" fmla="*/ 85038 w 795"/>
                  <a:gd name="T83" fmla="*/ 17495 h 535"/>
                  <a:gd name="T84" fmla="*/ 98549 w 795"/>
                  <a:gd name="T85" fmla="*/ 23857 h 535"/>
                  <a:gd name="T86" fmla="*/ 109675 w 795"/>
                  <a:gd name="T87" fmla="*/ 27038 h 535"/>
                  <a:gd name="T88" fmla="*/ 120007 w 795"/>
                  <a:gd name="T89" fmla="*/ 34195 h 535"/>
                  <a:gd name="T90" fmla="*/ 130339 w 795"/>
                  <a:gd name="T91" fmla="*/ 37376 h 535"/>
                  <a:gd name="T92" fmla="*/ 120007 w 795"/>
                  <a:gd name="T93" fmla="*/ 41352 h 535"/>
                  <a:gd name="T94" fmla="*/ 130339 w 795"/>
                  <a:gd name="T95" fmla="*/ 41352 h 535"/>
                  <a:gd name="T96" fmla="*/ 123186 w 795"/>
                  <a:gd name="T97" fmla="*/ 48509 h 535"/>
                  <a:gd name="T98" fmla="*/ 130339 w 795"/>
                  <a:gd name="T99" fmla="*/ 51690 h 535"/>
                  <a:gd name="T100" fmla="*/ 140670 w 795"/>
                  <a:gd name="T101" fmla="*/ 58847 h 535"/>
                  <a:gd name="T102" fmla="*/ 147823 w 795"/>
                  <a:gd name="T103" fmla="*/ 62028 h 535"/>
                  <a:gd name="T104" fmla="*/ 154976 w 795"/>
                  <a:gd name="T105" fmla="*/ 69185 h 535"/>
                  <a:gd name="T106" fmla="*/ 154976 w 795"/>
                  <a:gd name="T107" fmla="*/ 72366 h 535"/>
                  <a:gd name="T108" fmla="*/ 147823 w 795"/>
                  <a:gd name="T109" fmla="*/ 75547 h 53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795"/>
                  <a:gd name="T166" fmla="*/ 0 h 535"/>
                  <a:gd name="T167" fmla="*/ 795 w 795"/>
                  <a:gd name="T168" fmla="*/ 535 h 53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795" h="535">
                    <a:moveTo>
                      <a:pt x="741" y="378"/>
                    </a:moveTo>
                    <a:lnTo>
                      <a:pt x="741" y="395"/>
                    </a:lnTo>
                    <a:lnTo>
                      <a:pt x="724" y="395"/>
                    </a:lnTo>
                    <a:lnTo>
                      <a:pt x="690" y="395"/>
                    </a:lnTo>
                    <a:lnTo>
                      <a:pt x="672" y="361"/>
                    </a:lnTo>
                    <a:lnTo>
                      <a:pt x="638" y="346"/>
                    </a:lnTo>
                    <a:lnTo>
                      <a:pt x="619" y="346"/>
                    </a:lnTo>
                    <a:lnTo>
                      <a:pt x="619" y="361"/>
                    </a:lnTo>
                    <a:lnTo>
                      <a:pt x="638" y="361"/>
                    </a:lnTo>
                    <a:lnTo>
                      <a:pt x="619" y="361"/>
                    </a:lnTo>
                    <a:lnTo>
                      <a:pt x="619" y="378"/>
                    </a:lnTo>
                    <a:lnTo>
                      <a:pt x="638" y="378"/>
                    </a:lnTo>
                    <a:lnTo>
                      <a:pt x="638" y="395"/>
                    </a:lnTo>
                    <a:lnTo>
                      <a:pt x="655" y="395"/>
                    </a:lnTo>
                    <a:lnTo>
                      <a:pt x="672" y="395"/>
                    </a:lnTo>
                    <a:lnTo>
                      <a:pt x="672" y="413"/>
                    </a:lnTo>
                    <a:lnTo>
                      <a:pt x="690" y="413"/>
                    </a:lnTo>
                    <a:lnTo>
                      <a:pt x="707" y="413"/>
                    </a:lnTo>
                    <a:lnTo>
                      <a:pt x="707" y="430"/>
                    </a:lnTo>
                    <a:lnTo>
                      <a:pt x="707" y="447"/>
                    </a:lnTo>
                    <a:lnTo>
                      <a:pt x="707" y="466"/>
                    </a:lnTo>
                    <a:lnTo>
                      <a:pt x="707" y="484"/>
                    </a:lnTo>
                    <a:lnTo>
                      <a:pt x="707" y="501"/>
                    </a:lnTo>
                    <a:lnTo>
                      <a:pt x="672" y="484"/>
                    </a:lnTo>
                    <a:lnTo>
                      <a:pt x="638" y="466"/>
                    </a:lnTo>
                    <a:lnTo>
                      <a:pt x="601" y="447"/>
                    </a:lnTo>
                    <a:lnTo>
                      <a:pt x="619" y="484"/>
                    </a:lnTo>
                    <a:lnTo>
                      <a:pt x="655" y="501"/>
                    </a:lnTo>
                    <a:lnTo>
                      <a:pt x="655" y="518"/>
                    </a:lnTo>
                    <a:lnTo>
                      <a:pt x="655" y="535"/>
                    </a:lnTo>
                    <a:lnTo>
                      <a:pt x="655" y="518"/>
                    </a:lnTo>
                    <a:lnTo>
                      <a:pt x="619" y="501"/>
                    </a:lnTo>
                    <a:lnTo>
                      <a:pt x="601" y="501"/>
                    </a:lnTo>
                    <a:lnTo>
                      <a:pt x="584" y="501"/>
                    </a:lnTo>
                    <a:lnTo>
                      <a:pt x="532" y="501"/>
                    </a:lnTo>
                    <a:lnTo>
                      <a:pt x="515" y="484"/>
                    </a:lnTo>
                    <a:lnTo>
                      <a:pt x="515" y="447"/>
                    </a:lnTo>
                    <a:lnTo>
                      <a:pt x="478" y="447"/>
                    </a:lnTo>
                    <a:lnTo>
                      <a:pt x="461" y="430"/>
                    </a:lnTo>
                    <a:lnTo>
                      <a:pt x="425" y="413"/>
                    </a:lnTo>
                    <a:lnTo>
                      <a:pt x="425" y="430"/>
                    </a:lnTo>
                    <a:lnTo>
                      <a:pt x="407" y="413"/>
                    </a:lnTo>
                    <a:lnTo>
                      <a:pt x="390" y="413"/>
                    </a:lnTo>
                    <a:lnTo>
                      <a:pt x="371" y="430"/>
                    </a:lnTo>
                    <a:lnTo>
                      <a:pt x="336" y="413"/>
                    </a:lnTo>
                    <a:lnTo>
                      <a:pt x="336" y="395"/>
                    </a:lnTo>
                    <a:lnTo>
                      <a:pt x="354" y="395"/>
                    </a:lnTo>
                    <a:lnTo>
                      <a:pt x="371" y="395"/>
                    </a:lnTo>
                    <a:lnTo>
                      <a:pt x="390" y="395"/>
                    </a:lnTo>
                    <a:lnTo>
                      <a:pt x="407" y="395"/>
                    </a:lnTo>
                    <a:lnTo>
                      <a:pt x="425" y="395"/>
                    </a:lnTo>
                    <a:lnTo>
                      <a:pt x="442" y="395"/>
                    </a:lnTo>
                    <a:lnTo>
                      <a:pt x="461" y="378"/>
                    </a:lnTo>
                    <a:lnTo>
                      <a:pt x="442" y="378"/>
                    </a:lnTo>
                    <a:lnTo>
                      <a:pt x="442" y="361"/>
                    </a:lnTo>
                    <a:lnTo>
                      <a:pt x="425" y="361"/>
                    </a:lnTo>
                    <a:lnTo>
                      <a:pt x="442" y="346"/>
                    </a:lnTo>
                    <a:lnTo>
                      <a:pt x="461" y="346"/>
                    </a:lnTo>
                    <a:lnTo>
                      <a:pt x="478" y="346"/>
                    </a:lnTo>
                    <a:lnTo>
                      <a:pt x="478" y="328"/>
                    </a:lnTo>
                    <a:lnTo>
                      <a:pt x="478" y="311"/>
                    </a:lnTo>
                    <a:lnTo>
                      <a:pt x="478" y="276"/>
                    </a:lnTo>
                    <a:lnTo>
                      <a:pt x="442" y="242"/>
                    </a:lnTo>
                    <a:lnTo>
                      <a:pt x="407" y="225"/>
                    </a:lnTo>
                    <a:lnTo>
                      <a:pt x="407" y="242"/>
                    </a:lnTo>
                    <a:lnTo>
                      <a:pt x="390" y="242"/>
                    </a:lnTo>
                    <a:lnTo>
                      <a:pt x="371" y="242"/>
                    </a:lnTo>
                    <a:lnTo>
                      <a:pt x="371" y="225"/>
                    </a:lnTo>
                    <a:lnTo>
                      <a:pt x="390" y="225"/>
                    </a:lnTo>
                    <a:lnTo>
                      <a:pt x="371" y="205"/>
                    </a:lnTo>
                    <a:lnTo>
                      <a:pt x="354" y="171"/>
                    </a:lnTo>
                    <a:lnTo>
                      <a:pt x="319" y="171"/>
                    </a:lnTo>
                    <a:lnTo>
                      <a:pt x="302" y="171"/>
                    </a:lnTo>
                    <a:lnTo>
                      <a:pt x="302" y="188"/>
                    </a:lnTo>
                    <a:lnTo>
                      <a:pt x="285" y="205"/>
                    </a:lnTo>
                    <a:lnTo>
                      <a:pt x="267" y="205"/>
                    </a:lnTo>
                    <a:lnTo>
                      <a:pt x="267" y="188"/>
                    </a:lnTo>
                    <a:lnTo>
                      <a:pt x="231" y="171"/>
                    </a:lnTo>
                    <a:lnTo>
                      <a:pt x="179" y="188"/>
                    </a:lnTo>
                    <a:lnTo>
                      <a:pt x="125" y="188"/>
                    </a:lnTo>
                    <a:lnTo>
                      <a:pt x="125" y="171"/>
                    </a:lnTo>
                    <a:lnTo>
                      <a:pt x="108" y="171"/>
                    </a:lnTo>
                    <a:lnTo>
                      <a:pt x="91" y="171"/>
                    </a:lnTo>
                    <a:lnTo>
                      <a:pt x="73" y="171"/>
                    </a:lnTo>
                    <a:lnTo>
                      <a:pt x="56" y="171"/>
                    </a:lnTo>
                    <a:lnTo>
                      <a:pt x="39" y="154"/>
                    </a:lnTo>
                    <a:lnTo>
                      <a:pt x="20" y="136"/>
                    </a:lnTo>
                    <a:lnTo>
                      <a:pt x="39" y="136"/>
                    </a:lnTo>
                    <a:lnTo>
                      <a:pt x="56" y="136"/>
                    </a:lnTo>
                    <a:lnTo>
                      <a:pt x="73" y="136"/>
                    </a:lnTo>
                    <a:lnTo>
                      <a:pt x="73" y="119"/>
                    </a:lnTo>
                    <a:lnTo>
                      <a:pt x="56" y="119"/>
                    </a:lnTo>
                    <a:lnTo>
                      <a:pt x="20" y="119"/>
                    </a:lnTo>
                    <a:lnTo>
                      <a:pt x="20" y="102"/>
                    </a:lnTo>
                    <a:lnTo>
                      <a:pt x="0" y="102"/>
                    </a:lnTo>
                    <a:lnTo>
                      <a:pt x="20" y="67"/>
                    </a:lnTo>
                    <a:lnTo>
                      <a:pt x="20" y="50"/>
                    </a:lnTo>
                    <a:lnTo>
                      <a:pt x="20" y="33"/>
                    </a:lnTo>
                    <a:lnTo>
                      <a:pt x="56" y="0"/>
                    </a:lnTo>
                    <a:lnTo>
                      <a:pt x="73" y="0"/>
                    </a:lnTo>
                    <a:lnTo>
                      <a:pt x="108" y="0"/>
                    </a:lnTo>
                    <a:lnTo>
                      <a:pt x="125" y="0"/>
                    </a:lnTo>
                    <a:lnTo>
                      <a:pt x="125" y="15"/>
                    </a:lnTo>
                    <a:lnTo>
                      <a:pt x="108" y="33"/>
                    </a:lnTo>
                    <a:lnTo>
                      <a:pt x="91" y="50"/>
                    </a:lnTo>
                    <a:lnTo>
                      <a:pt x="91" y="67"/>
                    </a:lnTo>
                    <a:lnTo>
                      <a:pt x="108" y="67"/>
                    </a:lnTo>
                    <a:lnTo>
                      <a:pt x="108" y="85"/>
                    </a:lnTo>
                    <a:lnTo>
                      <a:pt x="125" y="85"/>
                    </a:lnTo>
                    <a:lnTo>
                      <a:pt x="125" y="67"/>
                    </a:lnTo>
                    <a:lnTo>
                      <a:pt x="125" y="50"/>
                    </a:lnTo>
                    <a:lnTo>
                      <a:pt x="143" y="15"/>
                    </a:lnTo>
                    <a:lnTo>
                      <a:pt x="196" y="0"/>
                    </a:lnTo>
                    <a:lnTo>
                      <a:pt x="231" y="0"/>
                    </a:lnTo>
                    <a:lnTo>
                      <a:pt x="248" y="0"/>
                    </a:lnTo>
                    <a:lnTo>
                      <a:pt x="248" y="33"/>
                    </a:lnTo>
                    <a:lnTo>
                      <a:pt x="267" y="67"/>
                    </a:lnTo>
                    <a:lnTo>
                      <a:pt x="285" y="67"/>
                    </a:lnTo>
                    <a:lnTo>
                      <a:pt x="302" y="67"/>
                    </a:lnTo>
                    <a:lnTo>
                      <a:pt x="319" y="67"/>
                    </a:lnTo>
                    <a:lnTo>
                      <a:pt x="336" y="67"/>
                    </a:lnTo>
                    <a:lnTo>
                      <a:pt x="354" y="50"/>
                    </a:lnTo>
                    <a:lnTo>
                      <a:pt x="371" y="50"/>
                    </a:lnTo>
                    <a:lnTo>
                      <a:pt x="390" y="67"/>
                    </a:lnTo>
                    <a:lnTo>
                      <a:pt x="425" y="67"/>
                    </a:lnTo>
                    <a:lnTo>
                      <a:pt x="425" y="85"/>
                    </a:lnTo>
                    <a:lnTo>
                      <a:pt x="442" y="102"/>
                    </a:lnTo>
                    <a:lnTo>
                      <a:pt x="478" y="119"/>
                    </a:lnTo>
                    <a:lnTo>
                      <a:pt x="496" y="119"/>
                    </a:lnTo>
                    <a:lnTo>
                      <a:pt x="515" y="119"/>
                    </a:lnTo>
                    <a:lnTo>
                      <a:pt x="532" y="119"/>
                    </a:lnTo>
                    <a:lnTo>
                      <a:pt x="549" y="136"/>
                    </a:lnTo>
                    <a:lnTo>
                      <a:pt x="584" y="154"/>
                    </a:lnTo>
                    <a:lnTo>
                      <a:pt x="601" y="154"/>
                    </a:lnTo>
                    <a:lnTo>
                      <a:pt x="601" y="171"/>
                    </a:lnTo>
                    <a:lnTo>
                      <a:pt x="619" y="171"/>
                    </a:lnTo>
                    <a:lnTo>
                      <a:pt x="638" y="171"/>
                    </a:lnTo>
                    <a:lnTo>
                      <a:pt x="655" y="188"/>
                    </a:lnTo>
                    <a:lnTo>
                      <a:pt x="638" y="188"/>
                    </a:lnTo>
                    <a:lnTo>
                      <a:pt x="619" y="205"/>
                    </a:lnTo>
                    <a:lnTo>
                      <a:pt x="601" y="205"/>
                    </a:lnTo>
                    <a:lnTo>
                      <a:pt x="619" y="205"/>
                    </a:lnTo>
                    <a:lnTo>
                      <a:pt x="638" y="205"/>
                    </a:lnTo>
                    <a:lnTo>
                      <a:pt x="655" y="205"/>
                    </a:lnTo>
                    <a:lnTo>
                      <a:pt x="655" y="225"/>
                    </a:lnTo>
                    <a:lnTo>
                      <a:pt x="638" y="225"/>
                    </a:lnTo>
                    <a:lnTo>
                      <a:pt x="619" y="242"/>
                    </a:lnTo>
                    <a:lnTo>
                      <a:pt x="638" y="242"/>
                    </a:lnTo>
                    <a:lnTo>
                      <a:pt x="655" y="242"/>
                    </a:lnTo>
                    <a:lnTo>
                      <a:pt x="655" y="259"/>
                    </a:lnTo>
                    <a:lnTo>
                      <a:pt x="672" y="276"/>
                    </a:lnTo>
                    <a:lnTo>
                      <a:pt x="690" y="294"/>
                    </a:lnTo>
                    <a:lnTo>
                      <a:pt x="707" y="294"/>
                    </a:lnTo>
                    <a:lnTo>
                      <a:pt x="707" y="311"/>
                    </a:lnTo>
                    <a:lnTo>
                      <a:pt x="724" y="311"/>
                    </a:lnTo>
                    <a:lnTo>
                      <a:pt x="741" y="311"/>
                    </a:lnTo>
                    <a:lnTo>
                      <a:pt x="761" y="328"/>
                    </a:lnTo>
                    <a:lnTo>
                      <a:pt x="778" y="328"/>
                    </a:lnTo>
                    <a:lnTo>
                      <a:pt x="778" y="346"/>
                    </a:lnTo>
                    <a:lnTo>
                      <a:pt x="795" y="346"/>
                    </a:lnTo>
                    <a:lnTo>
                      <a:pt x="778" y="346"/>
                    </a:lnTo>
                    <a:lnTo>
                      <a:pt x="778" y="361"/>
                    </a:lnTo>
                    <a:lnTo>
                      <a:pt x="778" y="378"/>
                    </a:lnTo>
                    <a:lnTo>
                      <a:pt x="761" y="378"/>
                    </a:lnTo>
                    <a:lnTo>
                      <a:pt x="741" y="37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95" name="Freeform 29">
                <a:extLst>
                  <a:ext uri="{FF2B5EF4-FFF2-40B4-BE49-F238E27FC236}">
                    <a16:creationId xmlns:a16="http://schemas.microsoft.com/office/drawing/2014/main" id="{A097C3A5-0F2F-DC4A-BA17-1671AD130881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130550" y="2005013"/>
                <a:ext cx="1284288" cy="958850"/>
              </a:xfrm>
              <a:custGeom>
                <a:avLst/>
                <a:gdLst>
                  <a:gd name="T0" fmla="*/ 119063 w 1618"/>
                  <a:gd name="T1" fmla="*/ 153860 h 1209"/>
                  <a:gd name="T2" fmla="*/ 104775 w 1618"/>
                  <a:gd name="T3" fmla="*/ 150688 h 1209"/>
                  <a:gd name="T4" fmla="*/ 104775 w 1618"/>
                  <a:gd name="T5" fmla="*/ 140378 h 1209"/>
                  <a:gd name="T6" fmla="*/ 90488 w 1618"/>
                  <a:gd name="T7" fmla="*/ 140378 h 1209"/>
                  <a:gd name="T8" fmla="*/ 90488 w 1618"/>
                  <a:gd name="T9" fmla="*/ 126102 h 1209"/>
                  <a:gd name="T10" fmla="*/ 69850 w 1618"/>
                  <a:gd name="T11" fmla="*/ 99137 h 1209"/>
                  <a:gd name="T12" fmla="*/ 41275 w 1618"/>
                  <a:gd name="T13" fmla="*/ 95171 h 1209"/>
                  <a:gd name="T14" fmla="*/ 31750 w 1618"/>
                  <a:gd name="T15" fmla="*/ 95171 h 1209"/>
                  <a:gd name="T16" fmla="*/ 23813 w 1618"/>
                  <a:gd name="T17" fmla="*/ 88826 h 1209"/>
                  <a:gd name="T18" fmla="*/ 10319 w 1618"/>
                  <a:gd name="T19" fmla="*/ 85654 h 1209"/>
                  <a:gd name="T20" fmla="*/ 23813 w 1618"/>
                  <a:gd name="T21" fmla="*/ 81689 h 1209"/>
                  <a:gd name="T22" fmla="*/ 31750 w 1618"/>
                  <a:gd name="T23" fmla="*/ 75344 h 1209"/>
                  <a:gd name="T24" fmla="*/ 7144 w 1618"/>
                  <a:gd name="T25" fmla="*/ 75344 h 1209"/>
                  <a:gd name="T26" fmla="*/ 14288 w 1618"/>
                  <a:gd name="T27" fmla="*/ 65034 h 1209"/>
                  <a:gd name="T28" fmla="*/ 34925 w 1618"/>
                  <a:gd name="T29" fmla="*/ 57896 h 1209"/>
                  <a:gd name="T30" fmla="*/ 27781 w 1618"/>
                  <a:gd name="T31" fmla="*/ 44413 h 1209"/>
                  <a:gd name="T32" fmla="*/ 52388 w 1618"/>
                  <a:gd name="T33" fmla="*/ 30138 h 1209"/>
                  <a:gd name="T34" fmla="*/ 69850 w 1618"/>
                  <a:gd name="T35" fmla="*/ 23793 h 1209"/>
                  <a:gd name="T36" fmla="*/ 94456 w 1618"/>
                  <a:gd name="T37" fmla="*/ 16655 h 1209"/>
                  <a:gd name="T38" fmla="*/ 104775 w 1618"/>
                  <a:gd name="T39" fmla="*/ 19827 h 1209"/>
                  <a:gd name="T40" fmla="*/ 129381 w 1618"/>
                  <a:gd name="T41" fmla="*/ 16655 h 1209"/>
                  <a:gd name="T42" fmla="*/ 132556 w 1618"/>
                  <a:gd name="T43" fmla="*/ 16655 h 1209"/>
                  <a:gd name="T44" fmla="*/ 139700 w 1618"/>
                  <a:gd name="T45" fmla="*/ 6345 h 1209"/>
                  <a:gd name="T46" fmla="*/ 163513 w 1618"/>
                  <a:gd name="T47" fmla="*/ 6345 h 1209"/>
                  <a:gd name="T48" fmla="*/ 191294 w 1618"/>
                  <a:gd name="T49" fmla="*/ 0 h 1209"/>
                  <a:gd name="T50" fmla="*/ 237331 w 1618"/>
                  <a:gd name="T51" fmla="*/ 3172 h 1209"/>
                  <a:gd name="T52" fmla="*/ 272256 w 1618"/>
                  <a:gd name="T53" fmla="*/ 13483 h 1209"/>
                  <a:gd name="T54" fmla="*/ 234156 w 1618"/>
                  <a:gd name="T55" fmla="*/ 19827 h 1209"/>
                  <a:gd name="T56" fmla="*/ 241300 w 1618"/>
                  <a:gd name="T57" fmla="*/ 19827 h 1209"/>
                  <a:gd name="T58" fmla="*/ 251619 w 1618"/>
                  <a:gd name="T59" fmla="*/ 30138 h 1209"/>
                  <a:gd name="T60" fmla="*/ 272256 w 1618"/>
                  <a:gd name="T61" fmla="*/ 26965 h 1209"/>
                  <a:gd name="T62" fmla="*/ 272256 w 1618"/>
                  <a:gd name="T63" fmla="*/ 30138 h 1209"/>
                  <a:gd name="T64" fmla="*/ 293688 w 1618"/>
                  <a:gd name="T65" fmla="*/ 26965 h 1209"/>
                  <a:gd name="T66" fmla="*/ 311150 w 1618"/>
                  <a:gd name="T67" fmla="*/ 23793 h 1209"/>
                  <a:gd name="T68" fmla="*/ 321469 w 1618"/>
                  <a:gd name="T69" fmla="*/ 30138 h 1209"/>
                  <a:gd name="T70" fmla="*/ 300038 w 1618"/>
                  <a:gd name="T71" fmla="*/ 44413 h 1209"/>
                  <a:gd name="T72" fmla="*/ 286544 w 1618"/>
                  <a:gd name="T73" fmla="*/ 51551 h 1209"/>
                  <a:gd name="T74" fmla="*/ 276225 w 1618"/>
                  <a:gd name="T75" fmla="*/ 65034 h 1209"/>
                  <a:gd name="T76" fmla="*/ 286544 w 1618"/>
                  <a:gd name="T77" fmla="*/ 71378 h 1209"/>
                  <a:gd name="T78" fmla="*/ 293688 w 1618"/>
                  <a:gd name="T79" fmla="*/ 81689 h 1209"/>
                  <a:gd name="T80" fmla="*/ 276225 w 1618"/>
                  <a:gd name="T81" fmla="*/ 88826 h 1209"/>
                  <a:gd name="T82" fmla="*/ 286544 w 1618"/>
                  <a:gd name="T83" fmla="*/ 102309 h 1209"/>
                  <a:gd name="T84" fmla="*/ 286544 w 1618"/>
                  <a:gd name="T85" fmla="*/ 109447 h 1209"/>
                  <a:gd name="T86" fmla="*/ 272256 w 1618"/>
                  <a:gd name="T87" fmla="*/ 122929 h 1209"/>
                  <a:gd name="T88" fmla="*/ 269081 w 1618"/>
                  <a:gd name="T89" fmla="*/ 122929 h 1209"/>
                  <a:gd name="T90" fmla="*/ 261938 w 1618"/>
                  <a:gd name="T91" fmla="*/ 130067 h 1209"/>
                  <a:gd name="T92" fmla="*/ 272256 w 1618"/>
                  <a:gd name="T93" fmla="*/ 140378 h 1209"/>
                  <a:gd name="T94" fmla="*/ 261938 w 1618"/>
                  <a:gd name="T95" fmla="*/ 143550 h 1209"/>
                  <a:gd name="T96" fmla="*/ 255588 w 1618"/>
                  <a:gd name="T97" fmla="*/ 153860 h 1209"/>
                  <a:gd name="T98" fmla="*/ 258763 w 1618"/>
                  <a:gd name="T99" fmla="*/ 160205 h 1209"/>
                  <a:gd name="T100" fmla="*/ 223838 w 1618"/>
                  <a:gd name="T101" fmla="*/ 170515 h 1209"/>
                  <a:gd name="T102" fmla="*/ 213519 w 1618"/>
                  <a:gd name="T103" fmla="*/ 177653 h 1209"/>
                  <a:gd name="T104" fmla="*/ 195263 w 1618"/>
                  <a:gd name="T105" fmla="*/ 191135 h 1209"/>
                  <a:gd name="T106" fmla="*/ 184944 w 1618"/>
                  <a:gd name="T107" fmla="*/ 191135 h 1209"/>
                  <a:gd name="T108" fmla="*/ 170656 w 1618"/>
                  <a:gd name="T109" fmla="*/ 205411 h 1209"/>
                  <a:gd name="T110" fmla="*/ 160338 w 1618"/>
                  <a:gd name="T111" fmla="*/ 218894 h 1209"/>
                  <a:gd name="T112" fmla="*/ 157163 w 1618"/>
                  <a:gd name="T113" fmla="*/ 239514 h 1209"/>
                  <a:gd name="T114" fmla="*/ 146844 w 1618"/>
                  <a:gd name="T115" fmla="*/ 235549 h 1209"/>
                  <a:gd name="T116" fmla="*/ 129381 w 1618"/>
                  <a:gd name="T117" fmla="*/ 229204 h 1209"/>
                  <a:gd name="T118" fmla="*/ 115094 w 1618"/>
                  <a:gd name="T119" fmla="*/ 211756 h 1209"/>
                  <a:gd name="T120" fmla="*/ 111919 w 1618"/>
                  <a:gd name="T121" fmla="*/ 201446 h 1209"/>
                  <a:gd name="T122" fmla="*/ 100806 w 1618"/>
                  <a:gd name="T123" fmla="*/ 188756 h 1209"/>
                  <a:gd name="T124" fmla="*/ 108744 w 1618"/>
                  <a:gd name="T125" fmla="*/ 170515 h 12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618"/>
                  <a:gd name="T190" fmla="*/ 0 h 1209"/>
                  <a:gd name="T191" fmla="*/ 1618 w 1618"/>
                  <a:gd name="T192" fmla="*/ 1209 h 12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618" h="1209">
                    <a:moveTo>
                      <a:pt x="545" y="846"/>
                    </a:moveTo>
                    <a:lnTo>
                      <a:pt x="562" y="846"/>
                    </a:lnTo>
                    <a:lnTo>
                      <a:pt x="562" y="829"/>
                    </a:lnTo>
                    <a:lnTo>
                      <a:pt x="579" y="811"/>
                    </a:lnTo>
                    <a:lnTo>
                      <a:pt x="599" y="777"/>
                    </a:lnTo>
                    <a:lnTo>
                      <a:pt x="562" y="777"/>
                    </a:lnTo>
                    <a:lnTo>
                      <a:pt x="510" y="777"/>
                    </a:lnTo>
                    <a:lnTo>
                      <a:pt x="493" y="742"/>
                    </a:lnTo>
                    <a:lnTo>
                      <a:pt x="510" y="742"/>
                    </a:lnTo>
                    <a:lnTo>
                      <a:pt x="527" y="760"/>
                    </a:lnTo>
                    <a:lnTo>
                      <a:pt x="545" y="760"/>
                    </a:lnTo>
                    <a:lnTo>
                      <a:pt x="562" y="760"/>
                    </a:lnTo>
                    <a:lnTo>
                      <a:pt x="562" y="742"/>
                    </a:lnTo>
                    <a:lnTo>
                      <a:pt x="562" y="725"/>
                    </a:lnTo>
                    <a:lnTo>
                      <a:pt x="527" y="708"/>
                    </a:lnTo>
                    <a:lnTo>
                      <a:pt x="510" y="691"/>
                    </a:lnTo>
                    <a:lnTo>
                      <a:pt x="510" y="708"/>
                    </a:lnTo>
                    <a:lnTo>
                      <a:pt x="493" y="708"/>
                    </a:lnTo>
                    <a:lnTo>
                      <a:pt x="476" y="725"/>
                    </a:lnTo>
                    <a:lnTo>
                      <a:pt x="458" y="708"/>
                    </a:lnTo>
                    <a:lnTo>
                      <a:pt x="458" y="691"/>
                    </a:lnTo>
                    <a:lnTo>
                      <a:pt x="458" y="673"/>
                    </a:lnTo>
                    <a:lnTo>
                      <a:pt x="476" y="673"/>
                    </a:lnTo>
                    <a:lnTo>
                      <a:pt x="476" y="656"/>
                    </a:lnTo>
                    <a:lnTo>
                      <a:pt x="458" y="639"/>
                    </a:lnTo>
                    <a:lnTo>
                      <a:pt x="458" y="621"/>
                    </a:lnTo>
                    <a:lnTo>
                      <a:pt x="458" y="589"/>
                    </a:lnTo>
                    <a:lnTo>
                      <a:pt x="422" y="552"/>
                    </a:lnTo>
                    <a:lnTo>
                      <a:pt x="405" y="518"/>
                    </a:lnTo>
                    <a:lnTo>
                      <a:pt x="351" y="501"/>
                    </a:lnTo>
                    <a:lnTo>
                      <a:pt x="316" y="466"/>
                    </a:lnTo>
                    <a:lnTo>
                      <a:pt x="263" y="466"/>
                    </a:lnTo>
                    <a:lnTo>
                      <a:pt x="245" y="466"/>
                    </a:lnTo>
                    <a:lnTo>
                      <a:pt x="228" y="466"/>
                    </a:lnTo>
                    <a:lnTo>
                      <a:pt x="211" y="483"/>
                    </a:lnTo>
                    <a:lnTo>
                      <a:pt x="193" y="483"/>
                    </a:lnTo>
                    <a:lnTo>
                      <a:pt x="193" y="466"/>
                    </a:lnTo>
                    <a:lnTo>
                      <a:pt x="176" y="466"/>
                    </a:lnTo>
                    <a:lnTo>
                      <a:pt x="176" y="483"/>
                    </a:lnTo>
                    <a:lnTo>
                      <a:pt x="157" y="483"/>
                    </a:lnTo>
                    <a:lnTo>
                      <a:pt x="140" y="483"/>
                    </a:lnTo>
                    <a:lnTo>
                      <a:pt x="122" y="466"/>
                    </a:lnTo>
                    <a:lnTo>
                      <a:pt x="105" y="466"/>
                    </a:lnTo>
                    <a:lnTo>
                      <a:pt x="105" y="449"/>
                    </a:lnTo>
                    <a:lnTo>
                      <a:pt x="122" y="449"/>
                    </a:lnTo>
                    <a:lnTo>
                      <a:pt x="122" y="432"/>
                    </a:lnTo>
                    <a:lnTo>
                      <a:pt x="105" y="432"/>
                    </a:lnTo>
                    <a:lnTo>
                      <a:pt x="88" y="432"/>
                    </a:lnTo>
                    <a:lnTo>
                      <a:pt x="71" y="432"/>
                    </a:lnTo>
                    <a:lnTo>
                      <a:pt x="53" y="432"/>
                    </a:lnTo>
                    <a:lnTo>
                      <a:pt x="53" y="414"/>
                    </a:lnTo>
                    <a:lnTo>
                      <a:pt x="71" y="414"/>
                    </a:lnTo>
                    <a:lnTo>
                      <a:pt x="88" y="414"/>
                    </a:lnTo>
                    <a:lnTo>
                      <a:pt x="105" y="414"/>
                    </a:lnTo>
                    <a:lnTo>
                      <a:pt x="122" y="414"/>
                    </a:lnTo>
                    <a:lnTo>
                      <a:pt x="122" y="397"/>
                    </a:lnTo>
                    <a:lnTo>
                      <a:pt x="157" y="397"/>
                    </a:lnTo>
                    <a:lnTo>
                      <a:pt x="176" y="397"/>
                    </a:lnTo>
                    <a:lnTo>
                      <a:pt x="176" y="380"/>
                    </a:lnTo>
                    <a:lnTo>
                      <a:pt x="157" y="380"/>
                    </a:lnTo>
                    <a:lnTo>
                      <a:pt x="140" y="380"/>
                    </a:lnTo>
                    <a:lnTo>
                      <a:pt x="122" y="380"/>
                    </a:lnTo>
                    <a:lnTo>
                      <a:pt x="105" y="380"/>
                    </a:lnTo>
                    <a:lnTo>
                      <a:pt x="71" y="380"/>
                    </a:lnTo>
                    <a:lnTo>
                      <a:pt x="36" y="380"/>
                    </a:lnTo>
                    <a:lnTo>
                      <a:pt x="0" y="345"/>
                    </a:lnTo>
                    <a:lnTo>
                      <a:pt x="17" y="328"/>
                    </a:lnTo>
                    <a:lnTo>
                      <a:pt x="36" y="328"/>
                    </a:lnTo>
                    <a:lnTo>
                      <a:pt x="53" y="328"/>
                    </a:lnTo>
                    <a:lnTo>
                      <a:pt x="71" y="328"/>
                    </a:lnTo>
                    <a:lnTo>
                      <a:pt x="88" y="311"/>
                    </a:lnTo>
                    <a:lnTo>
                      <a:pt x="105" y="311"/>
                    </a:lnTo>
                    <a:lnTo>
                      <a:pt x="122" y="311"/>
                    </a:lnTo>
                    <a:lnTo>
                      <a:pt x="157" y="311"/>
                    </a:lnTo>
                    <a:lnTo>
                      <a:pt x="176" y="293"/>
                    </a:lnTo>
                    <a:lnTo>
                      <a:pt x="193" y="278"/>
                    </a:lnTo>
                    <a:lnTo>
                      <a:pt x="211" y="261"/>
                    </a:lnTo>
                    <a:lnTo>
                      <a:pt x="176" y="243"/>
                    </a:lnTo>
                    <a:lnTo>
                      <a:pt x="157" y="243"/>
                    </a:lnTo>
                    <a:lnTo>
                      <a:pt x="140" y="226"/>
                    </a:lnTo>
                    <a:lnTo>
                      <a:pt x="157" y="209"/>
                    </a:lnTo>
                    <a:lnTo>
                      <a:pt x="193" y="209"/>
                    </a:lnTo>
                    <a:lnTo>
                      <a:pt x="228" y="192"/>
                    </a:lnTo>
                    <a:lnTo>
                      <a:pt x="245" y="155"/>
                    </a:lnTo>
                    <a:lnTo>
                      <a:pt x="263" y="155"/>
                    </a:lnTo>
                    <a:lnTo>
                      <a:pt x="280" y="172"/>
                    </a:lnTo>
                    <a:lnTo>
                      <a:pt x="297" y="155"/>
                    </a:lnTo>
                    <a:lnTo>
                      <a:pt x="297" y="138"/>
                    </a:lnTo>
                    <a:lnTo>
                      <a:pt x="316" y="121"/>
                    </a:lnTo>
                    <a:lnTo>
                      <a:pt x="351" y="121"/>
                    </a:lnTo>
                    <a:lnTo>
                      <a:pt x="368" y="103"/>
                    </a:lnTo>
                    <a:lnTo>
                      <a:pt x="405" y="103"/>
                    </a:lnTo>
                    <a:lnTo>
                      <a:pt x="422" y="86"/>
                    </a:lnTo>
                    <a:lnTo>
                      <a:pt x="458" y="86"/>
                    </a:lnTo>
                    <a:lnTo>
                      <a:pt x="476" y="86"/>
                    </a:lnTo>
                    <a:lnTo>
                      <a:pt x="493" y="103"/>
                    </a:lnTo>
                    <a:lnTo>
                      <a:pt x="510" y="121"/>
                    </a:lnTo>
                    <a:lnTo>
                      <a:pt x="510" y="103"/>
                    </a:lnTo>
                    <a:lnTo>
                      <a:pt x="510" y="86"/>
                    </a:lnTo>
                    <a:lnTo>
                      <a:pt x="527" y="103"/>
                    </a:lnTo>
                    <a:lnTo>
                      <a:pt x="562" y="103"/>
                    </a:lnTo>
                    <a:lnTo>
                      <a:pt x="562" y="86"/>
                    </a:lnTo>
                    <a:lnTo>
                      <a:pt x="579" y="86"/>
                    </a:lnTo>
                    <a:lnTo>
                      <a:pt x="616" y="86"/>
                    </a:lnTo>
                    <a:lnTo>
                      <a:pt x="650" y="86"/>
                    </a:lnTo>
                    <a:lnTo>
                      <a:pt x="668" y="103"/>
                    </a:lnTo>
                    <a:lnTo>
                      <a:pt x="685" y="103"/>
                    </a:lnTo>
                    <a:lnTo>
                      <a:pt x="702" y="103"/>
                    </a:lnTo>
                    <a:lnTo>
                      <a:pt x="685" y="103"/>
                    </a:lnTo>
                    <a:lnTo>
                      <a:pt x="668" y="86"/>
                    </a:lnTo>
                    <a:lnTo>
                      <a:pt x="650" y="69"/>
                    </a:lnTo>
                    <a:lnTo>
                      <a:pt x="668" y="69"/>
                    </a:lnTo>
                    <a:lnTo>
                      <a:pt x="685" y="69"/>
                    </a:lnTo>
                    <a:lnTo>
                      <a:pt x="685" y="52"/>
                    </a:lnTo>
                    <a:lnTo>
                      <a:pt x="702" y="34"/>
                    </a:lnTo>
                    <a:lnTo>
                      <a:pt x="739" y="34"/>
                    </a:lnTo>
                    <a:lnTo>
                      <a:pt x="756" y="34"/>
                    </a:lnTo>
                    <a:lnTo>
                      <a:pt x="773" y="34"/>
                    </a:lnTo>
                    <a:lnTo>
                      <a:pt x="808" y="34"/>
                    </a:lnTo>
                    <a:lnTo>
                      <a:pt x="827" y="34"/>
                    </a:lnTo>
                    <a:lnTo>
                      <a:pt x="844" y="34"/>
                    </a:lnTo>
                    <a:lnTo>
                      <a:pt x="862" y="34"/>
                    </a:lnTo>
                    <a:lnTo>
                      <a:pt x="881" y="34"/>
                    </a:lnTo>
                    <a:lnTo>
                      <a:pt x="915" y="17"/>
                    </a:lnTo>
                    <a:lnTo>
                      <a:pt x="967" y="0"/>
                    </a:lnTo>
                    <a:lnTo>
                      <a:pt x="1004" y="0"/>
                    </a:lnTo>
                    <a:lnTo>
                      <a:pt x="1055" y="0"/>
                    </a:lnTo>
                    <a:lnTo>
                      <a:pt x="1090" y="0"/>
                    </a:lnTo>
                    <a:lnTo>
                      <a:pt x="1161" y="0"/>
                    </a:lnTo>
                    <a:lnTo>
                      <a:pt x="1196" y="17"/>
                    </a:lnTo>
                    <a:lnTo>
                      <a:pt x="1249" y="34"/>
                    </a:lnTo>
                    <a:lnTo>
                      <a:pt x="1286" y="52"/>
                    </a:lnTo>
                    <a:lnTo>
                      <a:pt x="1320" y="52"/>
                    </a:lnTo>
                    <a:lnTo>
                      <a:pt x="1338" y="52"/>
                    </a:lnTo>
                    <a:lnTo>
                      <a:pt x="1372" y="69"/>
                    </a:lnTo>
                    <a:lnTo>
                      <a:pt x="1355" y="86"/>
                    </a:lnTo>
                    <a:lnTo>
                      <a:pt x="1320" y="86"/>
                    </a:lnTo>
                    <a:lnTo>
                      <a:pt x="1267" y="86"/>
                    </a:lnTo>
                    <a:lnTo>
                      <a:pt x="1249" y="103"/>
                    </a:lnTo>
                    <a:lnTo>
                      <a:pt x="1178" y="103"/>
                    </a:lnTo>
                    <a:lnTo>
                      <a:pt x="1090" y="103"/>
                    </a:lnTo>
                    <a:lnTo>
                      <a:pt x="1073" y="103"/>
                    </a:lnTo>
                    <a:lnTo>
                      <a:pt x="1090" y="121"/>
                    </a:lnTo>
                    <a:lnTo>
                      <a:pt x="1161" y="103"/>
                    </a:lnTo>
                    <a:lnTo>
                      <a:pt x="1213" y="103"/>
                    </a:lnTo>
                    <a:lnTo>
                      <a:pt x="1267" y="103"/>
                    </a:lnTo>
                    <a:lnTo>
                      <a:pt x="1249" y="121"/>
                    </a:lnTo>
                    <a:lnTo>
                      <a:pt x="1230" y="155"/>
                    </a:lnTo>
                    <a:lnTo>
                      <a:pt x="1213" y="155"/>
                    </a:lnTo>
                    <a:lnTo>
                      <a:pt x="1267" y="155"/>
                    </a:lnTo>
                    <a:lnTo>
                      <a:pt x="1303" y="121"/>
                    </a:lnTo>
                    <a:lnTo>
                      <a:pt x="1338" y="103"/>
                    </a:lnTo>
                    <a:lnTo>
                      <a:pt x="1355" y="103"/>
                    </a:lnTo>
                    <a:lnTo>
                      <a:pt x="1355" y="121"/>
                    </a:lnTo>
                    <a:lnTo>
                      <a:pt x="1372" y="138"/>
                    </a:lnTo>
                    <a:lnTo>
                      <a:pt x="1338" y="155"/>
                    </a:lnTo>
                    <a:lnTo>
                      <a:pt x="1320" y="192"/>
                    </a:lnTo>
                    <a:lnTo>
                      <a:pt x="1303" y="209"/>
                    </a:lnTo>
                    <a:lnTo>
                      <a:pt x="1338" y="192"/>
                    </a:lnTo>
                    <a:lnTo>
                      <a:pt x="1372" y="155"/>
                    </a:lnTo>
                    <a:lnTo>
                      <a:pt x="1389" y="138"/>
                    </a:lnTo>
                    <a:lnTo>
                      <a:pt x="1407" y="138"/>
                    </a:lnTo>
                    <a:lnTo>
                      <a:pt x="1443" y="138"/>
                    </a:lnTo>
                    <a:lnTo>
                      <a:pt x="1460" y="138"/>
                    </a:lnTo>
                    <a:lnTo>
                      <a:pt x="1478" y="138"/>
                    </a:lnTo>
                    <a:lnTo>
                      <a:pt x="1495" y="138"/>
                    </a:lnTo>
                    <a:lnTo>
                      <a:pt x="1495" y="121"/>
                    </a:lnTo>
                    <a:lnTo>
                      <a:pt x="1512" y="121"/>
                    </a:lnTo>
                    <a:lnTo>
                      <a:pt x="1547" y="121"/>
                    </a:lnTo>
                    <a:lnTo>
                      <a:pt x="1566" y="121"/>
                    </a:lnTo>
                    <a:lnTo>
                      <a:pt x="1566" y="103"/>
                    </a:lnTo>
                    <a:lnTo>
                      <a:pt x="1601" y="103"/>
                    </a:lnTo>
                    <a:lnTo>
                      <a:pt x="1618" y="121"/>
                    </a:lnTo>
                    <a:lnTo>
                      <a:pt x="1618" y="138"/>
                    </a:lnTo>
                    <a:lnTo>
                      <a:pt x="1618" y="155"/>
                    </a:lnTo>
                    <a:lnTo>
                      <a:pt x="1566" y="172"/>
                    </a:lnTo>
                    <a:lnTo>
                      <a:pt x="1547" y="192"/>
                    </a:lnTo>
                    <a:lnTo>
                      <a:pt x="1512" y="209"/>
                    </a:lnTo>
                    <a:lnTo>
                      <a:pt x="1530" y="209"/>
                    </a:lnTo>
                    <a:lnTo>
                      <a:pt x="1512" y="226"/>
                    </a:lnTo>
                    <a:lnTo>
                      <a:pt x="1495" y="226"/>
                    </a:lnTo>
                    <a:lnTo>
                      <a:pt x="1495" y="243"/>
                    </a:lnTo>
                    <a:lnTo>
                      <a:pt x="1478" y="261"/>
                    </a:lnTo>
                    <a:lnTo>
                      <a:pt x="1460" y="261"/>
                    </a:lnTo>
                    <a:lnTo>
                      <a:pt x="1443" y="261"/>
                    </a:lnTo>
                    <a:lnTo>
                      <a:pt x="1443" y="278"/>
                    </a:lnTo>
                    <a:lnTo>
                      <a:pt x="1443" y="293"/>
                    </a:lnTo>
                    <a:lnTo>
                      <a:pt x="1426" y="311"/>
                    </a:lnTo>
                    <a:lnTo>
                      <a:pt x="1407" y="328"/>
                    </a:lnTo>
                    <a:lnTo>
                      <a:pt x="1389" y="328"/>
                    </a:lnTo>
                    <a:lnTo>
                      <a:pt x="1389" y="345"/>
                    </a:lnTo>
                    <a:lnTo>
                      <a:pt x="1389" y="362"/>
                    </a:lnTo>
                    <a:lnTo>
                      <a:pt x="1407" y="362"/>
                    </a:lnTo>
                    <a:lnTo>
                      <a:pt x="1426" y="362"/>
                    </a:lnTo>
                    <a:lnTo>
                      <a:pt x="1443" y="362"/>
                    </a:lnTo>
                    <a:lnTo>
                      <a:pt x="1443" y="380"/>
                    </a:lnTo>
                    <a:lnTo>
                      <a:pt x="1460" y="380"/>
                    </a:lnTo>
                    <a:lnTo>
                      <a:pt x="1443" y="380"/>
                    </a:lnTo>
                    <a:lnTo>
                      <a:pt x="1478" y="397"/>
                    </a:lnTo>
                    <a:lnTo>
                      <a:pt x="1478" y="414"/>
                    </a:lnTo>
                    <a:lnTo>
                      <a:pt x="1460" y="432"/>
                    </a:lnTo>
                    <a:lnTo>
                      <a:pt x="1443" y="432"/>
                    </a:lnTo>
                    <a:lnTo>
                      <a:pt x="1407" y="432"/>
                    </a:lnTo>
                    <a:lnTo>
                      <a:pt x="1389" y="432"/>
                    </a:lnTo>
                    <a:lnTo>
                      <a:pt x="1389" y="449"/>
                    </a:lnTo>
                    <a:lnTo>
                      <a:pt x="1407" y="449"/>
                    </a:lnTo>
                    <a:lnTo>
                      <a:pt x="1426" y="449"/>
                    </a:lnTo>
                    <a:lnTo>
                      <a:pt x="1443" y="483"/>
                    </a:lnTo>
                    <a:lnTo>
                      <a:pt x="1443" y="501"/>
                    </a:lnTo>
                    <a:lnTo>
                      <a:pt x="1443" y="518"/>
                    </a:lnTo>
                    <a:lnTo>
                      <a:pt x="1426" y="518"/>
                    </a:lnTo>
                    <a:lnTo>
                      <a:pt x="1407" y="518"/>
                    </a:lnTo>
                    <a:lnTo>
                      <a:pt x="1407" y="535"/>
                    </a:lnTo>
                    <a:lnTo>
                      <a:pt x="1426" y="552"/>
                    </a:lnTo>
                    <a:lnTo>
                      <a:pt x="1443" y="552"/>
                    </a:lnTo>
                    <a:lnTo>
                      <a:pt x="1426" y="572"/>
                    </a:lnTo>
                    <a:lnTo>
                      <a:pt x="1407" y="572"/>
                    </a:lnTo>
                    <a:lnTo>
                      <a:pt x="1407" y="589"/>
                    </a:lnTo>
                    <a:lnTo>
                      <a:pt x="1389" y="606"/>
                    </a:lnTo>
                    <a:lnTo>
                      <a:pt x="1372" y="621"/>
                    </a:lnTo>
                    <a:lnTo>
                      <a:pt x="1355" y="621"/>
                    </a:lnTo>
                    <a:lnTo>
                      <a:pt x="1338" y="606"/>
                    </a:lnTo>
                    <a:lnTo>
                      <a:pt x="1320" y="606"/>
                    </a:lnTo>
                    <a:lnTo>
                      <a:pt x="1338" y="621"/>
                    </a:lnTo>
                    <a:lnTo>
                      <a:pt x="1355" y="621"/>
                    </a:lnTo>
                    <a:lnTo>
                      <a:pt x="1372" y="656"/>
                    </a:lnTo>
                    <a:lnTo>
                      <a:pt x="1372" y="673"/>
                    </a:lnTo>
                    <a:lnTo>
                      <a:pt x="1355" y="673"/>
                    </a:lnTo>
                    <a:lnTo>
                      <a:pt x="1338" y="673"/>
                    </a:lnTo>
                    <a:lnTo>
                      <a:pt x="1320" y="656"/>
                    </a:lnTo>
                    <a:lnTo>
                      <a:pt x="1303" y="621"/>
                    </a:lnTo>
                    <a:lnTo>
                      <a:pt x="1286" y="621"/>
                    </a:lnTo>
                    <a:lnTo>
                      <a:pt x="1286" y="639"/>
                    </a:lnTo>
                    <a:lnTo>
                      <a:pt x="1338" y="673"/>
                    </a:lnTo>
                    <a:lnTo>
                      <a:pt x="1372" y="708"/>
                    </a:lnTo>
                    <a:lnTo>
                      <a:pt x="1389" y="742"/>
                    </a:lnTo>
                    <a:lnTo>
                      <a:pt x="1389" y="760"/>
                    </a:lnTo>
                    <a:lnTo>
                      <a:pt x="1372" y="760"/>
                    </a:lnTo>
                    <a:lnTo>
                      <a:pt x="1338" y="742"/>
                    </a:lnTo>
                    <a:lnTo>
                      <a:pt x="1320" y="725"/>
                    </a:lnTo>
                    <a:lnTo>
                      <a:pt x="1286" y="725"/>
                    </a:lnTo>
                    <a:lnTo>
                      <a:pt x="1267" y="725"/>
                    </a:lnTo>
                    <a:lnTo>
                      <a:pt x="1286" y="725"/>
                    </a:lnTo>
                    <a:lnTo>
                      <a:pt x="1267" y="742"/>
                    </a:lnTo>
                    <a:lnTo>
                      <a:pt x="1286" y="777"/>
                    </a:lnTo>
                    <a:lnTo>
                      <a:pt x="1338" y="777"/>
                    </a:lnTo>
                    <a:lnTo>
                      <a:pt x="1372" y="777"/>
                    </a:lnTo>
                    <a:lnTo>
                      <a:pt x="1355" y="777"/>
                    </a:lnTo>
                    <a:lnTo>
                      <a:pt x="1338" y="794"/>
                    </a:lnTo>
                    <a:lnTo>
                      <a:pt x="1303" y="811"/>
                    </a:lnTo>
                    <a:lnTo>
                      <a:pt x="1267" y="829"/>
                    </a:lnTo>
                    <a:lnTo>
                      <a:pt x="1213" y="846"/>
                    </a:lnTo>
                    <a:lnTo>
                      <a:pt x="1196" y="846"/>
                    </a:lnTo>
                    <a:lnTo>
                      <a:pt x="1161" y="863"/>
                    </a:lnTo>
                    <a:lnTo>
                      <a:pt x="1125" y="863"/>
                    </a:lnTo>
                    <a:lnTo>
                      <a:pt x="1107" y="863"/>
                    </a:lnTo>
                    <a:lnTo>
                      <a:pt x="1090" y="863"/>
                    </a:lnTo>
                    <a:lnTo>
                      <a:pt x="1090" y="881"/>
                    </a:lnTo>
                    <a:lnTo>
                      <a:pt x="1090" y="898"/>
                    </a:lnTo>
                    <a:lnTo>
                      <a:pt x="1073" y="898"/>
                    </a:lnTo>
                    <a:lnTo>
                      <a:pt x="1055" y="915"/>
                    </a:lnTo>
                    <a:lnTo>
                      <a:pt x="1038" y="932"/>
                    </a:lnTo>
                    <a:lnTo>
                      <a:pt x="1038" y="952"/>
                    </a:lnTo>
                    <a:lnTo>
                      <a:pt x="1021" y="952"/>
                    </a:lnTo>
                    <a:lnTo>
                      <a:pt x="984" y="967"/>
                    </a:lnTo>
                    <a:lnTo>
                      <a:pt x="967" y="967"/>
                    </a:lnTo>
                    <a:lnTo>
                      <a:pt x="950" y="967"/>
                    </a:lnTo>
                    <a:lnTo>
                      <a:pt x="950" y="952"/>
                    </a:lnTo>
                    <a:lnTo>
                      <a:pt x="933" y="952"/>
                    </a:lnTo>
                    <a:lnTo>
                      <a:pt x="933" y="967"/>
                    </a:lnTo>
                    <a:lnTo>
                      <a:pt x="933" y="984"/>
                    </a:lnTo>
                    <a:lnTo>
                      <a:pt x="915" y="1001"/>
                    </a:lnTo>
                    <a:lnTo>
                      <a:pt x="862" y="1001"/>
                    </a:lnTo>
                    <a:lnTo>
                      <a:pt x="862" y="1019"/>
                    </a:lnTo>
                    <a:lnTo>
                      <a:pt x="862" y="1036"/>
                    </a:lnTo>
                    <a:lnTo>
                      <a:pt x="862" y="1053"/>
                    </a:lnTo>
                    <a:lnTo>
                      <a:pt x="862" y="1070"/>
                    </a:lnTo>
                    <a:lnTo>
                      <a:pt x="827" y="1070"/>
                    </a:lnTo>
                    <a:lnTo>
                      <a:pt x="827" y="1105"/>
                    </a:lnTo>
                    <a:lnTo>
                      <a:pt x="808" y="1105"/>
                    </a:lnTo>
                    <a:lnTo>
                      <a:pt x="808" y="1122"/>
                    </a:lnTo>
                    <a:lnTo>
                      <a:pt x="827" y="1157"/>
                    </a:lnTo>
                    <a:lnTo>
                      <a:pt x="808" y="1157"/>
                    </a:lnTo>
                    <a:lnTo>
                      <a:pt x="808" y="1191"/>
                    </a:lnTo>
                    <a:lnTo>
                      <a:pt x="790" y="1209"/>
                    </a:lnTo>
                    <a:lnTo>
                      <a:pt x="773" y="1209"/>
                    </a:lnTo>
                    <a:lnTo>
                      <a:pt x="773" y="1191"/>
                    </a:lnTo>
                    <a:lnTo>
                      <a:pt x="756" y="1191"/>
                    </a:lnTo>
                    <a:lnTo>
                      <a:pt x="756" y="1209"/>
                    </a:lnTo>
                    <a:lnTo>
                      <a:pt x="739" y="1191"/>
                    </a:lnTo>
                    <a:lnTo>
                      <a:pt x="721" y="1157"/>
                    </a:lnTo>
                    <a:lnTo>
                      <a:pt x="702" y="1157"/>
                    </a:lnTo>
                    <a:lnTo>
                      <a:pt x="685" y="1157"/>
                    </a:lnTo>
                    <a:lnTo>
                      <a:pt x="668" y="1157"/>
                    </a:lnTo>
                    <a:lnTo>
                      <a:pt x="650" y="1157"/>
                    </a:lnTo>
                    <a:lnTo>
                      <a:pt x="633" y="1157"/>
                    </a:lnTo>
                    <a:lnTo>
                      <a:pt x="633" y="1140"/>
                    </a:lnTo>
                    <a:lnTo>
                      <a:pt x="633" y="1122"/>
                    </a:lnTo>
                    <a:lnTo>
                      <a:pt x="616" y="1105"/>
                    </a:lnTo>
                    <a:lnTo>
                      <a:pt x="579" y="1070"/>
                    </a:lnTo>
                    <a:lnTo>
                      <a:pt x="562" y="1053"/>
                    </a:lnTo>
                    <a:lnTo>
                      <a:pt x="562" y="1036"/>
                    </a:lnTo>
                    <a:lnTo>
                      <a:pt x="579" y="1036"/>
                    </a:lnTo>
                    <a:lnTo>
                      <a:pt x="579" y="1019"/>
                    </a:lnTo>
                    <a:lnTo>
                      <a:pt x="562" y="1019"/>
                    </a:lnTo>
                    <a:lnTo>
                      <a:pt x="545" y="1019"/>
                    </a:lnTo>
                    <a:lnTo>
                      <a:pt x="545" y="1001"/>
                    </a:lnTo>
                    <a:lnTo>
                      <a:pt x="527" y="1001"/>
                    </a:lnTo>
                    <a:lnTo>
                      <a:pt x="510" y="967"/>
                    </a:lnTo>
                    <a:lnTo>
                      <a:pt x="510" y="952"/>
                    </a:lnTo>
                    <a:lnTo>
                      <a:pt x="510" y="932"/>
                    </a:lnTo>
                    <a:lnTo>
                      <a:pt x="510" y="915"/>
                    </a:lnTo>
                    <a:lnTo>
                      <a:pt x="510" y="898"/>
                    </a:lnTo>
                    <a:lnTo>
                      <a:pt x="527" y="881"/>
                    </a:lnTo>
                    <a:lnTo>
                      <a:pt x="545" y="863"/>
                    </a:lnTo>
                    <a:lnTo>
                      <a:pt x="545" y="84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96" name="Freeform 30">
                <a:extLst>
                  <a:ext uri="{FF2B5EF4-FFF2-40B4-BE49-F238E27FC236}">
                    <a16:creationId xmlns:a16="http://schemas.microsoft.com/office/drawing/2014/main" id="{5BFBF798-0F09-C147-BC43-8373C87CA322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3508375" y="2620963"/>
                <a:ext cx="69850" cy="41275"/>
              </a:xfrm>
              <a:custGeom>
                <a:avLst/>
                <a:gdLst>
                  <a:gd name="T0" fmla="*/ 4061 w 86"/>
                  <a:gd name="T1" fmla="*/ 10319 h 52"/>
                  <a:gd name="T2" fmla="*/ 4061 w 86"/>
                  <a:gd name="T3" fmla="*/ 7144 h 52"/>
                  <a:gd name="T4" fmla="*/ 0 w 86"/>
                  <a:gd name="T5" fmla="*/ 3969 h 52"/>
                  <a:gd name="T6" fmla="*/ 0 w 86"/>
                  <a:gd name="T7" fmla="*/ 0 h 52"/>
                  <a:gd name="T8" fmla="*/ 4061 w 86"/>
                  <a:gd name="T9" fmla="*/ 0 h 52"/>
                  <a:gd name="T10" fmla="*/ 7310 w 86"/>
                  <a:gd name="T11" fmla="*/ 0 h 52"/>
                  <a:gd name="T12" fmla="*/ 10559 w 86"/>
                  <a:gd name="T13" fmla="*/ 0 h 52"/>
                  <a:gd name="T14" fmla="*/ 18681 w 86"/>
                  <a:gd name="T15" fmla="*/ 3969 h 52"/>
                  <a:gd name="T16" fmla="*/ 14620 w 86"/>
                  <a:gd name="T17" fmla="*/ 7144 h 52"/>
                  <a:gd name="T18" fmla="*/ 10559 w 86"/>
                  <a:gd name="T19" fmla="*/ 10319 h 52"/>
                  <a:gd name="T20" fmla="*/ 7310 w 86"/>
                  <a:gd name="T21" fmla="*/ 10319 h 52"/>
                  <a:gd name="T22" fmla="*/ 4061 w 86"/>
                  <a:gd name="T23" fmla="*/ 10319 h 5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6"/>
                  <a:gd name="T37" fmla="*/ 0 h 52"/>
                  <a:gd name="T38" fmla="*/ 86 w 86"/>
                  <a:gd name="T39" fmla="*/ 52 h 5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6" h="52">
                    <a:moveTo>
                      <a:pt x="17" y="52"/>
                    </a:moveTo>
                    <a:lnTo>
                      <a:pt x="17" y="34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34" y="0"/>
                    </a:lnTo>
                    <a:lnTo>
                      <a:pt x="51" y="0"/>
                    </a:lnTo>
                    <a:lnTo>
                      <a:pt x="86" y="17"/>
                    </a:lnTo>
                    <a:lnTo>
                      <a:pt x="69" y="34"/>
                    </a:lnTo>
                    <a:lnTo>
                      <a:pt x="51" y="52"/>
                    </a:lnTo>
                    <a:lnTo>
                      <a:pt x="34" y="52"/>
                    </a:lnTo>
                    <a:lnTo>
                      <a:pt x="17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97" name="Freeform 31">
                <a:extLst>
                  <a:ext uri="{FF2B5EF4-FFF2-40B4-BE49-F238E27FC236}">
                    <a16:creationId xmlns:a16="http://schemas.microsoft.com/office/drawing/2014/main" id="{575560A7-7AD6-0348-B4C5-05F0B9EF6869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2992438" y="2662238"/>
                <a:ext cx="11113" cy="0"/>
              </a:xfrm>
              <a:custGeom>
                <a:avLst/>
                <a:gdLst>
                  <a:gd name="T0" fmla="*/ 0 w 13"/>
                  <a:gd name="T1" fmla="*/ 3419 w 13"/>
                  <a:gd name="T2" fmla="*/ 0 w 13"/>
                  <a:gd name="T3" fmla="*/ 0 60000 65536"/>
                  <a:gd name="T4" fmla="*/ 0 60000 65536"/>
                  <a:gd name="T5" fmla="*/ 0 60000 65536"/>
                  <a:gd name="T6" fmla="*/ 0 w 13"/>
                  <a:gd name="T7" fmla="*/ 13 w 13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T6" t="0" r="T7" b="0"/>
                <a:pathLst>
                  <a:path w="13">
                    <a:moveTo>
                      <a:pt x="0" y="0"/>
                    </a:moveTo>
                    <a:lnTo>
                      <a:pt x="1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98" name="Freeform 32">
                <a:extLst>
                  <a:ext uri="{FF2B5EF4-FFF2-40B4-BE49-F238E27FC236}">
                    <a16:creationId xmlns:a16="http://schemas.microsoft.com/office/drawing/2014/main" id="{CB429CF0-3378-BE4B-B7E3-1FE365209843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4191000" y="2759076"/>
                <a:ext cx="211138" cy="82550"/>
              </a:xfrm>
              <a:custGeom>
                <a:avLst/>
                <a:gdLst>
                  <a:gd name="T0" fmla="*/ 53382 w 265"/>
                  <a:gd name="T1" fmla="*/ 10419 h 103"/>
                  <a:gd name="T2" fmla="*/ 49398 w 265"/>
                  <a:gd name="T3" fmla="*/ 10419 h 103"/>
                  <a:gd name="T4" fmla="*/ 45415 w 265"/>
                  <a:gd name="T5" fmla="*/ 14426 h 103"/>
                  <a:gd name="T6" fmla="*/ 45415 w 265"/>
                  <a:gd name="T7" fmla="*/ 17632 h 103"/>
                  <a:gd name="T8" fmla="*/ 39041 w 265"/>
                  <a:gd name="T9" fmla="*/ 17632 h 103"/>
                  <a:gd name="T10" fmla="*/ 35057 w 265"/>
                  <a:gd name="T11" fmla="*/ 20838 h 103"/>
                  <a:gd name="T12" fmla="*/ 27886 w 265"/>
                  <a:gd name="T13" fmla="*/ 20838 h 103"/>
                  <a:gd name="T14" fmla="*/ 21512 w 265"/>
                  <a:gd name="T15" fmla="*/ 20838 h 103"/>
                  <a:gd name="T16" fmla="*/ 17528 w 265"/>
                  <a:gd name="T17" fmla="*/ 20838 h 103"/>
                  <a:gd name="T18" fmla="*/ 11154 w 265"/>
                  <a:gd name="T19" fmla="*/ 17632 h 103"/>
                  <a:gd name="T20" fmla="*/ 7171 w 265"/>
                  <a:gd name="T21" fmla="*/ 14426 h 103"/>
                  <a:gd name="T22" fmla="*/ 3984 w 265"/>
                  <a:gd name="T23" fmla="*/ 14426 h 103"/>
                  <a:gd name="T24" fmla="*/ 7171 w 265"/>
                  <a:gd name="T25" fmla="*/ 14426 h 103"/>
                  <a:gd name="T26" fmla="*/ 7171 w 265"/>
                  <a:gd name="T27" fmla="*/ 10419 h 103"/>
                  <a:gd name="T28" fmla="*/ 3984 w 265"/>
                  <a:gd name="T29" fmla="*/ 10419 h 103"/>
                  <a:gd name="T30" fmla="*/ 0 w 265"/>
                  <a:gd name="T31" fmla="*/ 10419 h 103"/>
                  <a:gd name="T32" fmla="*/ 7171 w 265"/>
                  <a:gd name="T33" fmla="*/ 10419 h 103"/>
                  <a:gd name="T34" fmla="*/ 11154 w 265"/>
                  <a:gd name="T35" fmla="*/ 6412 h 103"/>
                  <a:gd name="T36" fmla="*/ 7171 w 265"/>
                  <a:gd name="T37" fmla="*/ 6412 h 103"/>
                  <a:gd name="T38" fmla="*/ 3984 w 265"/>
                  <a:gd name="T39" fmla="*/ 6412 h 103"/>
                  <a:gd name="T40" fmla="*/ 0 w 265"/>
                  <a:gd name="T41" fmla="*/ 3206 h 103"/>
                  <a:gd name="T42" fmla="*/ 0 w 265"/>
                  <a:gd name="T43" fmla="*/ 0 h 103"/>
                  <a:gd name="T44" fmla="*/ 0 w 265"/>
                  <a:gd name="T45" fmla="*/ 3206 h 103"/>
                  <a:gd name="T46" fmla="*/ 0 w 265"/>
                  <a:gd name="T47" fmla="*/ 0 h 103"/>
                  <a:gd name="T48" fmla="*/ 3984 w 265"/>
                  <a:gd name="T49" fmla="*/ 0 h 103"/>
                  <a:gd name="T50" fmla="*/ 7171 w 265"/>
                  <a:gd name="T51" fmla="*/ 0 h 103"/>
                  <a:gd name="T52" fmla="*/ 11154 w 265"/>
                  <a:gd name="T53" fmla="*/ 3206 h 103"/>
                  <a:gd name="T54" fmla="*/ 11154 w 265"/>
                  <a:gd name="T55" fmla="*/ 6412 h 103"/>
                  <a:gd name="T56" fmla="*/ 11154 w 265"/>
                  <a:gd name="T57" fmla="*/ 3206 h 103"/>
                  <a:gd name="T58" fmla="*/ 14341 w 265"/>
                  <a:gd name="T59" fmla="*/ 3206 h 103"/>
                  <a:gd name="T60" fmla="*/ 14341 w 265"/>
                  <a:gd name="T61" fmla="*/ 0 h 103"/>
                  <a:gd name="T62" fmla="*/ 14341 w 265"/>
                  <a:gd name="T63" fmla="*/ 3206 h 103"/>
                  <a:gd name="T64" fmla="*/ 17528 w 265"/>
                  <a:gd name="T65" fmla="*/ 3206 h 103"/>
                  <a:gd name="T66" fmla="*/ 21512 w 265"/>
                  <a:gd name="T67" fmla="*/ 3206 h 103"/>
                  <a:gd name="T68" fmla="*/ 21512 w 265"/>
                  <a:gd name="T69" fmla="*/ 0 h 103"/>
                  <a:gd name="T70" fmla="*/ 24699 w 265"/>
                  <a:gd name="T71" fmla="*/ 0 h 103"/>
                  <a:gd name="T72" fmla="*/ 27886 w 265"/>
                  <a:gd name="T73" fmla="*/ 0 h 103"/>
                  <a:gd name="T74" fmla="*/ 31870 w 265"/>
                  <a:gd name="T75" fmla="*/ 3206 h 103"/>
                  <a:gd name="T76" fmla="*/ 31870 w 265"/>
                  <a:gd name="T77" fmla="*/ 0 h 103"/>
                  <a:gd name="T78" fmla="*/ 35057 w 265"/>
                  <a:gd name="T79" fmla="*/ 0 h 103"/>
                  <a:gd name="T80" fmla="*/ 39041 w 265"/>
                  <a:gd name="T81" fmla="*/ 0 h 103"/>
                  <a:gd name="T82" fmla="*/ 42228 w 265"/>
                  <a:gd name="T83" fmla="*/ 0 h 103"/>
                  <a:gd name="T84" fmla="*/ 45415 w 265"/>
                  <a:gd name="T85" fmla="*/ 0 h 103"/>
                  <a:gd name="T86" fmla="*/ 45415 w 265"/>
                  <a:gd name="T87" fmla="*/ 6412 h 103"/>
                  <a:gd name="T88" fmla="*/ 53382 w 265"/>
                  <a:gd name="T89" fmla="*/ 10419 h 10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65"/>
                  <a:gd name="T136" fmla="*/ 0 h 103"/>
                  <a:gd name="T137" fmla="*/ 265 w 265"/>
                  <a:gd name="T138" fmla="*/ 103 h 10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65" h="103">
                    <a:moveTo>
                      <a:pt x="265" y="49"/>
                    </a:moveTo>
                    <a:lnTo>
                      <a:pt x="245" y="49"/>
                    </a:lnTo>
                    <a:lnTo>
                      <a:pt x="228" y="69"/>
                    </a:lnTo>
                    <a:lnTo>
                      <a:pt x="228" y="86"/>
                    </a:lnTo>
                    <a:lnTo>
                      <a:pt x="194" y="86"/>
                    </a:lnTo>
                    <a:lnTo>
                      <a:pt x="176" y="103"/>
                    </a:lnTo>
                    <a:lnTo>
                      <a:pt x="140" y="103"/>
                    </a:lnTo>
                    <a:lnTo>
                      <a:pt x="105" y="103"/>
                    </a:lnTo>
                    <a:lnTo>
                      <a:pt x="88" y="103"/>
                    </a:lnTo>
                    <a:lnTo>
                      <a:pt x="53" y="86"/>
                    </a:lnTo>
                    <a:lnTo>
                      <a:pt x="34" y="69"/>
                    </a:lnTo>
                    <a:lnTo>
                      <a:pt x="17" y="69"/>
                    </a:lnTo>
                    <a:lnTo>
                      <a:pt x="34" y="69"/>
                    </a:lnTo>
                    <a:lnTo>
                      <a:pt x="34" y="49"/>
                    </a:lnTo>
                    <a:lnTo>
                      <a:pt x="17" y="49"/>
                    </a:lnTo>
                    <a:lnTo>
                      <a:pt x="0" y="49"/>
                    </a:lnTo>
                    <a:lnTo>
                      <a:pt x="34" y="49"/>
                    </a:lnTo>
                    <a:lnTo>
                      <a:pt x="53" y="32"/>
                    </a:lnTo>
                    <a:lnTo>
                      <a:pt x="34" y="32"/>
                    </a:lnTo>
                    <a:lnTo>
                      <a:pt x="17" y="32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34" y="0"/>
                    </a:lnTo>
                    <a:lnTo>
                      <a:pt x="53" y="15"/>
                    </a:lnTo>
                    <a:lnTo>
                      <a:pt x="53" y="32"/>
                    </a:lnTo>
                    <a:lnTo>
                      <a:pt x="53" y="15"/>
                    </a:lnTo>
                    <a:lnTo>
                      <a:pt x="71" y="15"/>
                    </a:lnTo>
                    <a:lnTo>
                      <a:pt x="71" y="0"/>
                    </a:lnTo>
                    <a:lnTo>
                      <a:pt x="71" y="15"/>
                    </a:lnTo>
                    <a:lnTo>
                      <a:pt x="88" y="15"/>
                    </a:lnTo>
                    <a:lnTo>
                      <a:pt x="105" y="15"/>
                    </a:lnTo>
                    <a:lnTo>
                      <a:pt x="105" y="0"/>
                    </a:lnTo>
                    <a:lnTo>
                      <a:pt x="123" y="0"/>
                    </a:lnTo>
                    <a:lnTo>
                      <a:pt x="140" y="0"/>
                    </a:lnTo>
                    <a:lnTo>
                      <a:pt x="159" y="15"/>
                    </a:lnTo>
                    <a:lnTo>
                      <a:pt x="159" y="0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211" y="0"/>
                    </a:lnTo>
                    <a:lnTo>
                      <a:pt x="228" y="0"/>
                    </a:lnTo>
                    <a:lnTo>
                      <a:pt x="228" y="32"/>
                    </a:lnTo>
                    <a:lnTo>
                      <a:pt x="265" y="49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999" name="Freeform 33">
                <a:extLst>
                  <a:ext uri="{FF2B5EF4-FFF2-40B4-BE49-F238E27FC236}">
                    <a16:creationId xmlns:a16="http://schemas.microsoft.com/office/drawing/2014/main" id="{86486A17-0D2D-8A44-BA5A-9D4555D0E5C0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3087688" y="2703513"/>
                <a:ext cx="30163" cy="14288"/>
              </a:xfrm>
              <a:custGeom>
                <a:avLst/>
                <a:gdLst>
                  <a:gd name="T0" fmla="*/ 4189 w 36"/>
                  <a:gd name="T1" fmla="*/ 4202 h 17"/>
                  <a:gd name="T2" fmla="*/ 0 w 36"/>
                  <a:gd name="T3" fmla="*/ 4202 h 17"/>
                  <a:gd name="T4" fmla="*/ 0 w 36"/>
                  <a:gd name="T5" fmla="*/ 0 h 17"/>
                  <a:gd name="T6" fmla="*/ 4189 w 36"/>
                  <a:gd name="T7" fmla="*/ 0 h 17"/>
                  <a:gd name="T8" fmla="*/ 8379 w 36"/>
                  <a:gd name="T9" fmla="*/ 4202 h 17"/>
                  <a:gd name="T10" fmla="*/ 4189 w 36"/>
                  <a:gd name="T11" fmla="*/ 4202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6"/>
                  <a:gd name="T19" fmla="*/ 0 h 17"/>
                  <a:gd name="T20" fmla="*/ 36 w 36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6" h="17">
                    <a:moveTo>
                      <a:pt x="17" y="17"/>
                    </a:moveTo>
                    <a:lnTo>
                      <a:pt x="0" y="17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36" y="17"/>
                    </a:lnTo>
                    <a:lnTo>
                      <a:pt x="17" y="1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00" name="Freeform 34">
                <a:extLst>
                  <a:ext uri="{FF2B5EF4-FFF2-40B4-BE49-F238E27FC236}">
                    <a16:creationId xmlns:a16="http://schemas.microsoft.com/office/drawing/2014/main" id="{7B244720-06F8-E842-B887-CF431D92F994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276725" y="2401888"/>
                <a:ext cx="55563" cy="30163"/>
              </a:xfrm>
              <a:custGeom>
                <a:avLst/>
                <a:gdLst>
                  <a:gd name="T0" fmla="*/ 4026 w 69"/>
                  <a:gd name="T1" fmla="*/ 8379 h 36"/>
                  <a:gd name="T2" fmla="*/ 4026 w 69"/>
                  <a:gd name="T3" fmla="*/ 4189 h 36"/>
                  <a:gd name="T4" fmla="*/ 0 w 69"/>
                  <a:gd name="T5" fmla="*/ 4189 h 36"/>
                  <a:gd name="T6" fmla="*/ 4026 w 69"/>
                  <a:gd name="T7" fmla="*/ 4189 h 36"/>
                  <a:gd name="T8" fmla="*/ 4026 w 69"/>
                  <a:gd name="T9" fmla="*/ 0 h 36"/>
                  <a:gd name="T10" fmla="*/ 7247 w 69"/>
                  <a:gd name="T11" fmla="*/ 0 h 36"/>
                  <a:gd name="T12" fmla="*/ 7247 w 69"/>
                  <a:gd name="T13" fmla="*/ 4189 h 36"/>
                  <a:gd name="T14" fmla="*/ 10468 w 69"/>
                  <a:gd name="T15" fmla="*/ 4189 h 36"/>
                  <a:gd name="T16" fmla="*/ 14495 w 69"/>
                  <a:gd name="T17" fmla="*/ 4189 h 36"/>
                  <a:gd name="T18" fmla="*/ 10468 w 69"/>
                  <a:gd name="T19" fmla="*/ 4189 h 36"/>
                  <a:gd name="T20" fmla="*/ 7247 w 69"/>
                  <a:gd name="T21" fmla="*/ 8379 h 36"/>
                  <a:gd name="T22" fmla="*/ 4026 w 69"/>
                  <a:gd name="T23" fmla="*/ 8379 h 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9"/>
                  <a:gd name="T37" fmla="*/ 0 h 36"/>
                  <a:gd name="T38" fmla="*/ 69 w 69"/>
                  <a:gd name="T39" fmla="*/ 36 h 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9" h="36">
                    <a:moveTo>
                      <a:pt x="17" y="36"/>
                    </a:moveTo>
                    <a:lnTo>
                      <a:pt x="17" y="19"/>
                    </a:lnTo>
                    <a:lnTo>
                      <a:pt x="0" y="19"/>
                    </a:lnTo>
                    <a:lnTo>
                      <a:pt x="17" y="19"/>
                    </a:lnTo>
                    <a:lnTo>
                      <a:pt x="17" y="0"/>
                    </a:lnTo>
                    <a:lnTo>
                      <a:pt x="35" y="0"/>
                    </a:lnTo>
                    <a:lnTo>
                      <a:pt x="35" y="19"/>
                    </a:lnTo>
                    <a:lnTo>
                      <a:pt x="52" y="19"/>
                    </a:lnTo>
                    <a:lnTo>
                      <a:pt x="69" y="19"/>
                    </a:lnTo>
                    <a:lnTo>
                      <a:pt x="52" y="19"/>
                    </a:lnTo>
                    <a:lnTo>
                      <a:pt x="35" y="36"/>
                    </a:lnTo>
                    <a:lnTo>
                      <a:pt x="17" y="3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01" name="Freeform 35">
                <a:extLst>
                  <a:ext uri="{FF2B5EF4-FFF2-40B4-BE49-F238E27FC236}">
                    <a16:creationId xmlns:a16="http://schemas.microsoft.com/office/drawing/2014/main" id="{D48796A6-DABB-2C4C-9F9E-623F659A360D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1076325" y="2574926"/>
                <a:ext cx="812800" cy="773113"/>
              </a:xfrm>
              <a:custGeom>
                <a:avLst/>
                <a:gdLst>
                  <a:gd name="T0" fmla="*/ 203399 w 1023"/>
                  <a:gd name="T1" fmla="*/ 187133 h 975"/>
                  <a:gd name="T2" fmla="*/ 193070 w 1023"/>
                  <a:gd name="T3" fmla="*/ 171274 h 975"/>
                  <a:gd name="T4" fmla="*/ 178768 w 1023"/>
                  <a:gd name="T5" fmla="*/ 152244 h 975"/>
                  <a:gd name="T6" fmla="*/ 168439 w 1023"/>
                  <a:gd name="T7" fmla="*/ 145107 h 975"/>
                  <a:gd name="T8" fmla="*/ 154933 w 1023"/>
                  <a:gd name="T9" fmla="*/ 139557 h 975"/>
                  <a:gd name="T10" fmla="*/ 144604 w 1023"/>
                  <a:gd name="T11" fmla="*/ 139557 h 975"/>
                  <a:gd name="T12" fmla="*/ 144604 w 1023"/>
                  <a:gd name="T13" fmla="*/ 25374 h 975"/>
                  <a:gd name="T14" fmla="*/ 123946 w 1023"/>
                  <a:gd name="T15" fmla="*/ 22202 h 975"/>
                  <a:gd name="T16" fmla="*/ 110439 w 1023"/>
                  <a:gd name="T17" fmla="*/ 19030 h 975"/>
                  <a:gd name="T18" fmla="*/ 86603 w 1023"/>
                  <a:gd name="T19" fmla="*/ 12687 h 975"/>
                  <a:gd name="T20" fmla="*/ 72302 w 1023"/>
                  <a:gd name="T21" fmla="*/ 6343 h 975"/>
                  <a:gd name="T22" fmla="*/ 62768 w 1023"/>
                  <a:gd name="T23" fmla="*/ 0 h 975"/>
                  <a:gd name="T24" fmla="*/ 48466 w 1023"/>
                  <a:gd name="T25" fmla="*/ 9515 h 975"/>
                  <a:gd name="T26" fmla="*/ 34959 w 1023"/>
                  <a:gd name="T27" fmla="*/ 15859 h 975"/>
                  <a:gd name="T28" fmla="*/ 24630 w 1023"/>
                  <a:gd name="T29" fmla="*/ 34889 h 975"/>
                  <a:gd name="T30" fmla="*/ 7151 w 1023"/>
                  <a:gd name="T31" fmla="*/ 44404 h 975"/>
                  <a:gd name="T32" fmla="*/ 24630 w 1023"/>
                  <a:gd name="T33" fmla="*/ 60263 h 975"/>
                  <a:gd name="T34" fmla="*/ 31781 w 1023"/>
                  <a:gd name="T35" fmla="*/ 72950 h 975"/>
                  <a:gd name="T36" fmla="*/ 20658 w 1023"/>
                  <a:gd name="T37" fmla="*/ 66607 h 975"/>
                  <a:gd name="T38" fmla="*/ 3973 w 1023"/>
                  <a:gd name="T39" fmla="*/ 72950 h 975"/>
                  <a:gd name="T40" fmla="*/ 7151 w 1023"/>
                  <a:gd name="T41" fmla="*/ 82465 h 975"/>
                  <a:gd name="T42" fmla="*/ 7151 w 1023"/>
                  <a:gd name="T43" fmla="*/ 88809 h 975"/>
                  <a:gd name="T44" fmla="*/ 20658 w 1023"/>
                  <a:gd name="T45" fmla="*/ 91981 h 975"/>
                  <a:gd name="T46" fmla="*/ 34959 w 1023"/>
                  <a:gd name="T47" fmla="*/ 88809 h 975"/>
                  <a:gd name="T48" fmla="*/ 38137 w 1023"/>
                  <a:gd name="T49" fmla="*/ 97531 h 975"/>
                  <a:gd name="T50" fmla="*/ 27808 w 1023"/>
                  <a:gd name="T51" fmla="*/ 104668 h 975"/>
                  <a:gd name="T52" fmla="*/ 20658 w 1023"/>
                  <a:gd name="T53" fmla="*/ 107046 h 975"/>
                  <a:gd name="T54" fmla="*/ 10329 w 1023"/>
                  <a:gd name="T55" fmla="*/ 123698 h 975"/>
                  <a:gd name="T56" fmla="*/ 24630 w 1023"/>
                  <a:gd name="T57" fmla="*/ 142729 h 975"/>
                  <a:gd name="T58" fmla="*/ 31781 w 1023"/>
                  <a:gd name="T59" fmla="*/ 145107 h 975"/>
                  <a:gd name="T60" fmla="*/ 34959 w 1023"/>
                  <a:gd name="T61" fmla="*/ 152244 h 975"/>
                  <a:gd name="T62" fmla="*/ 48466 w 1023"/>
                  <a:gd name="T63" fmla="*/ 154623 h 975"/>
                  <a:gd name="T64" fmla="*/ 55617 w 1023"/>
                  <a:gd name="T65" fmla="*/ 152244 h 975"/>
                  <a:gd name="T66" fmla="*/ 55617 w 1023"/>
                  <a:gd name="T67" fmla="*/ 164138 h 975"/>
                  <a:gd name="T68" fmla="*/ 27808 w 1023"/>
                  <a:gd name="T69" fmla="*/ 180790 h 975"/>
                  <a:gd name="T70" fmla="*/ 14301 w 1023"/>
                  <a:gd name="T71" fmla="*/ 190305 h 975"/>
                  <a:gd name="T72" fmla="*/ 34959 w 1023"/>
                  <a:gd name="T73" fmla="*/ 183168 h 975"/>
                  <a:gd name="T74" fmla="*/ 52439 w 1023"/>
                  <a:gd name="T75" fmla="*/ 173653 h 975"/>
                  <a:gd name="T76" fmla="*/ 76274 w 1023"/>
                  <a:gd name="T77" fmla="*/ 154623 h 975"/>
                  <a:gd name="T78" fmla="*/ 72302 w 1023"/>
                  <a:gd name="T79" fmla="*/ 149072 h 975"/>
                  <a:gd name="T80" fmla="*/ 82631 w 1023"/>
                  <a:gd name="T81" fmla="*/ 139557 h 975"/>
                  <a:gd name="T82" fmla="*/ 92960 w 1023"/>
                  <a:gd name="T83" fmla="*/ 126077 h 975"/>
                  <a:gd name="T84" fmla="*/ 92960 w 1023"/>
                  <a:gd name="T85" fmla="*/ 130042 h 975"/>
                  <a:gd name="T86" fmla="*/ 86603 w 1023"/>
                  <a:gd name="T87" fmla="*/ 142729 h 975"/>
                  <a:gd name="T88" fmla="*/ 86603 w 1023"/>
                  <a:gd name="T89" fmla="*/ 149072 h 975"/>
                  <a:gd name="T90" fmla="*/ 100110 w 1023"/>
                  <a:gd name="T91" fmla="*/ 142729 h 975"/>
                  <a:gd name="T92" fmla="*/ 107261 w 1023"/>
                  <a:gd name="T93" fmla="*/ 135592 h 975"/>
                  <a:gd name="T94" fmla="*/ 113617 w 1023"/>
                  <a:gd name="T95" fmla="*/ 133213 h 975"/>
                  <a:gd name="T96" fmla="*/ 138248 w 1023"/>
                  <a:gd name="T97" fmla="*/ 139557 h 975"/>
                  <a:gd name="T98" fmla="*/ 151754 w 1023"/>
                  <a:gd name="T99" fmla="*/ 142729 h 975"/>
                  <a:gd name="T100" fmla="*/ 168439 w 1023"/>
                  <a:gd name="T101" fmla="*/ 158587 h 975"/>
                  <a:gd name="T102" fmla="*/ 175590 w 1023"/>
                  <a:gd name="T103" fmla="*/ 161759 h 975"/>
                  <a:gd name="T104" fmla="*/ 175590 w 1023"/>
                  <a:gd name="T105" fmla="*/ 158587 h 975"/>
                  <a:gd name="T106" fmla="*/ 178768 w 1023"/>
                  <a:gd name="T107" fmla="*/ 168103 h 975"/>
                  <a:gd name="T108" fmla="*/ 189097 w 1023"/>
                  <a:gd name="T109" fmla="*/ 171274 h 975"/>
                  <a:gd name="T110" fmla="*/ 182741 w 1023"/>
                  <a:gd name="T111" fmla="*/ 171274 h 975"/>
                  <a:gd name="T112" fmla="*/ 185919 w 1023"/>
                  <a:gd name="T113" fmla="*/ 173653 h 975"/>
                  <a:gd name="T114" fmla="*/ 193070 w 1023"/>
                  <a:gd name="T115" fmla="*/ 190305 h 975"/>
                  <a:gd name="T116" fmla="*/ 189097 w 1023"/>
                  <a:gd name="T117" fmla="*/ 177618 h 975"/>
                  <a:gd name="T118" fmla="*/ 193070 w 1023"/>
                  <a:gd name="T119" fmla="*/ 180790 h 975"/>
                  <a:gd name="T120" fmla="*/ 200221 w 1023"/>
                  <a:gd name="T121" fmla="*/ 190305 h 97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023"/>
                  <a:gd name="T184" fmla="*/ 0 h 975"/>
                  <a:gd name="T185" fmla="*/ 1023 w 1023"/>
                  <a:gd name="T186" fmla="*/ 975 h 97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023" h="975">
                    <a:moveTo>
                      <a:pt x="1023" y="945"/>
                    </a:moveTo>
                    <a:lnTo>
                      <a:pt x="1023" y="945"/>
                    </a:lnTo>
                    <a:lnTo>
                      <a:pt x="1023" y="897"/>
                    </a:lnTo>
                    <a:lnTo>
                      <a:pt x="971" y="864"/>
                    </a:lnTo>
                    <a:lnTo>
                      <a:pt x="917" y="768"/>
                    </a:lnTo>
                    <a:lnTo>
                      <a:pt x="900" y="768"/>
                    </a:lnTo>
                    <a:lnTo>
                      <a:pt x="883" y="720"/>
                    </a:lnTo>
                    <a:lnTo>
                      <a:pt x="848" y="735"/>
                    </a:lnTo>
                    <a:lnTo>
                      <a:pt x="831" y="753"/>
                    </a:lnTo>
                    <a:lnTo>
                      <a:pt x="779" y="705"/>
                    </a:lnTo>
                    <a:lnTo>
                      <a:pt x="779" y="687"/>
                    </a:lnTo>
                    <a:lnTo>
                      <a:pt x="727" y="705"/>
                    </a:lnTo>
                    <a:lnTo>
                      <a:pt x="727" y="687"/>
                    </a:lnTo>
                    <a:lnTo>
                      <a:pt x="727" y="129"/>
                    </a:lnTo>
                    <a:lnTo>
                      <a:pt x="675" y="96"/>
                    </a:lnTo>
                    <a:lnTo>
                      <a:pt x="624" y="112"/>
                    </a:lnTo>
                    <a:lnTo>
                      <a:pt x="589" y="96"/>
                    </a:lnTo>
                    <a:lnTo>
                      <a:pt x="555" y="96"/>
                    </a:lnTo>
                    <a:lnTo>
                      <a:pt x="503" y="64"/>
                    </a:lnTo>
                    <a:lnTo>
                      <a:pt x="434" y="64"/>
                    </a:lnTo>
                    <a:lnTo>
                      <a:pt x="416" y="33"/>
                    </a:lnTo>
                    <a:lnTo>
                      <a:pt x="364" y="33"/>
                    </a:lnTo>
                    <a:lnTo>
                      <a:pt x="347" y="16"/>
                    </a:lnTo>
                    <a:lnTo>
                      <a:pt x="313" y="0"/>
                    </a:lnTo>
                    <a:lnTo>
                      <a:pt x="278" y="33"/>
                    </a:lnTo>
                    <a:lnTo>
                      <a:pt x="244" y="48"/>
                    </a:lnTo>
                    <a:lnTo>
                      <a:pt x="192" y="81"/>
                    </a:lnTo>
                    <a:lnTo>
                      <a:pt x="174" y="81"/>
                    </a:lnTo>
                    <a:lnTo>
                      <a:pt x="140" y="112"/>
                    </a:lnTo>
                    <a:lnTo>
                      <a:pt x="123" y="177"/>
                    </a:lnTo>
                    <a:lnTo>
                      <a:pt x="52" y="192"/>
                    </a:lnTo>
                    <a:lnTo>
                      <a:pt x="34" y="225"/>
                    </a:lnTo>
                    <a:lnTo>
                      <a:pt x="103" y="273"/>
                    </a:lnTo>
                    <a:lnTo>
                      <a:pt x="123" y="304"/>
                    </a:lnTo>
                    <a:lnTo>
                      <a:pt x="157" y="352"/>
                    </a:lnTo>
                    <a:lnTo>
                      <a:pt x="157" y="369"/>
                    </a:lnTo>
                    <a:lnTo>
                      <a:pt x="103" y="369"/>
                    </a:lnTo>
                    <a:lnTo>
                      <a:pt x="103" y="336"/>
                    </a:lnTo>
                    <a:lnTo>
                      <a:pt x="86" y="336"/>
                    </a:lnTo>
                    <a:lnTo>
                      <a:pt x="17" y="369"/>
                    </a:lnTo>
                    <a:lnTo>
                      <a:pt x="0" y="400"/>
                    </a:lnTo>
                    <a:lnTo>
                      <a:pt x="34" y="417"/>
                    </a:lnTo>
                    <a:lnTo>
                      <a:pt x="34" y="432"/>
                    </a:lnTo>
                    <a:lnTo>
                      <a:pt x="34" y="448"/>
                    </a:lnTo>
                    <a:lnTo>
                      <a:pt x="69" y="465"/>
                    </a:lnTo>
                    <a:lnTo>
                      <a:pt x="103" y="465"/>
                    </a:lnTo>
                    <a:lnTo>
                      <a:pt x="140" y="465"/>
                    </a:lnTo>
                    <a:lnTo>
                      <a:pt x="174" y="448"/>
                    </a:lnTo>
                    <a:lnTo>
                      <a:pt x="174" y="465"/>
                    </a:lnTo>
                    <a:lnTo>
                      <a:pt x="192" y="495"/>
                    </a:lnTo>
                    <a:lnTo>
                      <a:pt x="174" y="528"/>
                    </a:lnTo>
                    <a:lnTo>
                      <a:pt x="140" y="528"/>
                    </a:lnTo>
                    <a:lnTo>
                      <a:pt x="123" y="543"/>
                    </a:lnTo>
                    <a:lnTo>
                      <a:pt x="103" y="543"/>
                    </a:lnTo>
                    <a:lnTo>
                      <a:pt x="86" y="543"/>
                    </a:lnTo>
                    <a:lnTo>
                      <a:pt x="52" y="624"/>
                    </a:lnTo>
                    <a:lnTo>
                      <a:pt x="103" y="720"/>
                    </a:lnTo>
                    <a:lnTo>
                      <a:pt x="123" y="720"/>
                    </a:lnTo>
                    <a:lnTo>
                      <a:pt x="157" y="705"/>
                    </a:lnTo>
                    <a:lnTo>
                      <a:pt x="157" y="735"/>
                    </a:lnTo>
                    <a:lnTo>
                      <a:pt x="157" y="753"/>
                    </a:lnTo>
                    <a:lnTo>
                      <a:pt x="174" y="768"/>
                    </a:lnTo>
                    <a:lnTo>
                      <a:pt x="226" y="768"/>
                    </a:lnTo>
                    <a:lnTo>
                      <a:pt x="244" y="783"/>
                    </a:lnTo>
                    <a:lnTo>
                      <a:pt x="244" y="768"/>
                    </a:lnTo>
                    <a:lnTo>
                      <a:pt x="278" y="768"/>
                    </a:lnTo>
                    <a:lnTo>
                      <a:pt x="278" y="801"/>
                    </a:lnTo>
                    <a:lnTo>
                      <a:pt x="278" y="831"/>
                    </a:lnTo>
                    <a:lnTo>
                      <a:pt x="192" y="897"/>
                    </a:lnTo>
                    <a:lnTo>
                      <a:pt x="140" y="912"/>
                    </a:lnTo>
                    <a:lnTo>
                      <a:pt x="123" y="927"/>
                    </a:lnTo>
                    <a:lnTo>
                      <a:pt x="69" y="960"/>
                    </a:lnTo>
                    <a:lnTo>
                      <a:pt x="86" y="975"/>
                    </a:lnTo>
                    <a:lnTo>
                      <a:pt x="174" y="927"/>
                    </a:lnTo>
                    <a:lnTo>
                      <a:pt x="244" y="897"/>
                    </a:lnTo>
                    <a:lnTo>
                      <a:pt x="261" y="879"/>
                    </a:lnTo>
                    <a:lnTo>
                      <a:pt x="295" y="849"/>
                    </a:lnTo>
                    <a:lnTo>
                      <a:pt x="382" y="783"/>
                    </a:lnTo>
                    <a:lnTo>
                      <a:pt x="399" y="768"/>
                    </a:lnTo>
                    <a:lnTo>
                      <a:pt x="364" y="753"/>
                    </a:lnTo>
                    <a:lnTo>
                      <a:pt x="382" y="735"/>
                    </a:lnTo>
                    <a:lnTo>
                      <a:pt x="416" y="705"/>
                    </a:lnTo>
                    <a:lnTo>
                      <a:pt x="416" y="672"/>
                    </a:lnTo>
                    <a:lnTo>
                      <a:pt x="468" y="639"/>
                    </a:lnTo>
                    <a:lnTo>
                      <a:pt x="485" y="639"/>
                    </a:lnTo>
                    <a:lnTo>
                      <a:pt x="468" y="657"/>
                    </a:lnTo>
                    <a:lnTo>
                      <a:pt x="451" y="672"/>
                    </a:lnTo>
                    <a:lnTo>
                      <a:pt x="434" y="720"/>
                    </a:lnTo>
                    <a:lnTo>
                      <a:pt x="451" y="735"/>
                    </a:lnTo>
                    <a:lnTo>
                      <a:pt x="434" y="753"/>
                    </a:lnTo>
                    <a:lnTo>
                      <a:pt x="451" y="753"/>
                    </a:lnTo>
                    <a:lnTo>
                      <a:pt x="503" y="720"/>
                    </a:lnTo>
                    <a:lnTo>
                      <a:pt x="520" y="720"/>
                    </a:lnTo>
                    <a:lnTo>
                      <a:pt x="537" y="687"/>
                    </a:lnTo>
                    <a:lnTo>
                      <a:pt x="520" y="657"/>
                    </a:lnTo>
                    <a:lnTo>
                      <a:pt x="572" y="672"/>
                    </a:lnTo>
                    <a:lnTo>
                      <a:pt x="641" y="705"/>
                    </a:lnTo>
                    <a:lnTo>
                      <a:pt x="693" y="705"/>
                    </a:lnTo>
                    <a:lnTo>
                      <a:pt x="745" y="720"/>
                    </a:lnTo>
                    <a:lnTo>
                      <a:pt x="762" y="720"/>
                    </a:lnTo>
                    <a:lnTo>
                      <a:pt x="762" y="735"/>
                    </a:lnTo>
                    <a:lnTo>
                      <a:pt x="848" y="801"/>
                    </a:lnTo>
                    <a:lnTo>
                      <a:pt x="900" y="897"/>
                    </a:lnTo>
                    <a:lnTo>
                      <a:pt x="883" y="816"/>
                    </a:lnTo>
                    <a:lnTo>
                      <a:pt x="866" y="801"/>
                    </a:lnTo>
                    <a:lnTo>
                      <a:pt x="883" y="801"/>
                    </a:lnTo>
                    <a:lnTo>
                      <a:pt x="883" y="768"/>
                    </a:lnTo>
                    <a:lnTo>
                      <a:pt x="900" y="849"/>
                    </a:lnTo>
                    <a:lnTo>
                      <a:pt x="917" y="831"/>
                    </a:lnTo>
                    <a:lnTo>
                      <a:pt x="952" y="864"/>
                    </a:lnTo>
                    <a:lnTo>
                      <a:pt x="917" y="849"/>
                    </a:lnTo>
                    <a:lnTo>
                      <a:pt x="917" y="864"/>
                    </a:lnTo>
                    <a:lnTo>
                      <a:pt x="917" y="897"/>
                    </a:lnTo>
                    <a:lnTo>
                      <a:pt x="935" y="879"/>
                    </a:lnTo>
                    <a:lnTo>
                      <a:pt x="935" y="912"/>
                    </a:lnTo>
                    <a:lnTo>
                      <a:pt x="971" y="960"/>
                    </a:lnTo>
                    <a:lnTo>
                      <a:pt x="971" y="927"/>
                    </a:lnTo>
                    <a:lnTo>
                      <a:pt x="952" y="897"/>
                    </a:lnTo>
                    <a:lnTo>
                      <a:pt x="971" y="897"/>
                    </a:lnTo>
                    <a:lnTo>
                      <a:pt x="971" y="912"/>
                    </a:lnTo>
                    <a:lnTo>
                      <a:pt x="988" y="945"/>
                    </a:lnTo>
                    <a:lnTo>
                      <a:pt x="1006" y="960"/>
                    </a:lnTo>
                    <a:lnTo>
                      <a:pt x="1023" y="94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02" name="Freeform 36">
                <a:extLst>
                  <a:ext uri="{FF2B5EF4-FFF2-40B4-BE49-F238E27FC236}">
                    <a16:creationId xmlns:a16="http://schemas.microsoft.com/office/drawing/2014/main" id="{3B9CE8FF-4BF3-1846-BE31-015B5BE72829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2974975" y="3271838"/>
                <a:ext cx="28575" cy="25400"/>
              </a:xfrm>
              <a:custGeom>
                <a:avLst/>
                <a:gdLst>
                  <a:gd name="T0" fmla="*/ 0 w 34"/>
                  <a:gd name="T1" fmla="*/ 3079 h 33"/>
                  <a:gd name="T2" fmla="*/ 0 w 34"/>
                  <a:gd name="T3" fmla="*/ 3079 h 33"/>
                  <a:gd name="T4" fmla="*/ 8404 w 34"/>
                  <a:gd name="T5" fmla="*/ 6158 h 33"/>
                  <a:gd name="T6" fmla="*/ 8404 w 34"/>
                  <a:gd name="T7" fmla="*/ 0 h 33"/>
                  <a:gd name="T8" fmla="*/ 0 w 34"/>
                  <a:gd name="T9" fmla="*/ 3079 h 3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33"/>
                  <a:gd name="T17" fmla="*/ 34 w 34"/>
                  <a:gd name="T18" fmla="*/ 33 h 3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33">
                    <a:moveTo>
                      <a:pt x="0" y="18"/>
                    </a:moveTo>
                    <a:lnTo>
                      <a:pt x="0" y="18"/>
                    </a:lnTo>
                    <a:lnTo>
                      <a:pt x="34" y="33"/>
                    </a:lnTo>
                    <a:lnTo>
                      <a:pt x="34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03" name="Freeform 37">
                <a:extLst>
                  <a:ext uri="{FF2B5EF4-FFF2-40B4-BE49-F238E27FC236}">
                    <a16:creationId xmlns:a16="http://schemas.microsoft.com/office/drawing/2014/main" id="{CC708E44-59C6-0E43-A606-066E55A4EFDD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2933700" y="3386138"/>
                <a:ext cx="28575" cy="14288"/>
              </a:xfrm>
              <a:custGeom>
                <a:avLst/>
                <a:gdLst>
                  <a:gd name="T0" fmla="*/ 0 w 34"/>
                  <a:gd name="T1" fmla="*/ 0 h 17"/>
                  <a:gd name="T2" fmla="*/ 0 w 34"/>
                  <a:gd name="T3" fmla="*/ 0 h 17"/>
                  <a:gd name="T4" fmla="*/ 8404 w 34"/>
                  <a:gd name="T5" fmla="*/ 4202 h 17"/>
                  <a:gd name="T6" fmla="*/ 8404 w 34"/>
                  <a:gd name="T7" fmla="*/ 0 h 17"/>
                  <a:gd name="T8" fmla="*/ 0 w 34"/>
                  <a:gd name="T9" fmla="*/ 0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17"/>
                  <a:gd name="T17" fmla="*/ 34 w 34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17">
                    <a:moveTo>
                      <a:pt x="0" y="0"/>
                    </a:moveTo>
                    <a:lnTo>
                      <a:pt x="0" y="0"/>
                    </a:lnTo>
                    <a:lnTo>
                      <a:pt x="34" y="17"/>
                    </a:lnTo>
                    <a:lnTo>
                      <a:pt x="34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04" name="Freeform 38">
                <a:extLst>
                  <a:ext uri="{FF2B5EF4-FFF2-40B4-BE49-F238E27FC236}">
                    <a16:creationId xmlns:a16="http://schemas.microsoft.com/office/drawing/2014/main" id="{E51363DC-09FA-2F44-957F-D905FFC1AFB8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1076325" y="3119438"/>
                <a:ext cx="41275" cy="25400"/>
              </a:xfrm>
              <a:custGeom>
                <a:avLst/>
                <a:gdLst>
                  <a:gd name="T0" fmla="*/ 0 w 52"/>
                  <a:gd name="T1" fmla="*/ 3079 h 33"/>
                  <a:gd name="T2" fmla="*/ 0 w 52"/>
                  <a:gd name="T3" fmla="*/ 3079 h 33"/>
                  <a:gd name="T4" fmla="*/ 7144 w 52"/>
                  <a:gd name="T5" fmla="*/ 6158 h 33"/>
                  <a:gd name="T6" fmla="*/ 10319 w 52"/>
                  <a:gd name="T7" fmla="*/ 3079 h 33"/>
                  <a:gd name="T8" fmla="*/ 7144 w 52"/>
                  <a:gd name="T9" fmla="*/ 0 h 33"/>
                  <a:gd name="T10" fmla="*/ 0 w 52"/>
                  <a:gd name="T11" fmla="*/ 3079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"/>
                  <a:gd name="T19" fmla="*/ 0 h 33"/>
                  <a:gd name="T20" fmla="*/ 52 w 52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" h="33">
                    <a:moveTo>
                      <a:pt x="0" y="18"/>
                    </a:moveTo>
                    <a:lnTo>
                      <a:pt x="0" y="18"/>
                    </a:lnTo>
                    <a:lnTo>
                      <a:pt x="34" y="33"/>
                    </a:lnTo>
                    <a:lnTo>
                      <a:pt x="52" y="18"/>
                    </a:lnTo>
                    <a:lnTo>
                      <a:pt x="34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05" name="Freeform 39">
                <a:extLst>
                  <a:ext uri="{FF2B5EF4-FFF2-40B4-BE49-F238E27FC236}">
                    <a16:creationId xmlns:a16="http://schemas.microsoft.com/office/drawing/2014/main" id="{E363176E-28B0-A847-8756-3BEB61153D3D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1352550" y="3195638"/>
                <a:ext cx="68263" cy="63500"/>
              </a:xfrm>
              <a:custGeom>
                <a:avLst/>
                <a:gdLst>
                  <a:gd name="T0" fmla="*/ 0 w 87"/>
                  <a:gd name="T1" fmla="*/ 12543 h 81"/>
                  <a:gd name="T2" fmla="*/ 0 w 87"/>
                  <a:gd name="T3" fmla="*/ 12543 h 81"/>
                  <a:gd name="T4" fmla="*/ 3139 w 87"/>
                  <a:gd name="T5" fmla="*/ 15679 h 81"/>
                  <a:gd name="T6" fmla="*/ 10200 w 87"/>
                  <a:gd name="T7" fmla="*/ 9407 h 81"/>
                  <a:gd name="T8" fmla="*/ 13339 w 87"/>
                  <a:gd name="T9" fmla="*/ 9407 h 81"/>
                  <a:gd name="T10" fmla="*/ 13339 w 87"/>
                  <a:gd name="T11" fmla="*/ 6272 h 81"/>
                  <a:gd name="T12" fmla="*/ 10200 w 87"/>
                  <a:gd name="T13" fmla="*/ 6272 h 81"/>
                  <a:gd name="T14" fmla="*/ 16477 w 87"/>
                  <a:gd name="T15" fmla="*/ 3136 h 81"/>
                  <a:gd name="T16" fmla="*/ 13339 w 87"/>
                  <a:gd name="T17" fmla="*/ 0 h 81"/>
                  <a:gd name="T18" fmla="*/ 0 w 87"/>
                  <a:gd name="T19" fmla="*/ 12543 h 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87"/>
                  <a:gd name="T31" fmla="*/ 0 h 81"/>
                  <a:gd name="T32" fmla="*/ 87 w 87"/>
                  <a:gd name="T33" fmla="*/ 81 h 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87" h="81">
                    <a:moveTo>
                      <a:pt x="0" y="66"/>
                    </a:moveTo>
                    <a:lnTo>
                      <a:pt x="0" y="66"/>
                    </a:lnTo>
                    <a:lnTo>
                      <a:pt x="17" y="81"/>
                    </a:lnTo>
                    <a:lnTo>
                      <a:pt x="52" y="48"/>
                    </a:lnTo>
                    <a:lnTo>
                      <a:pt x="69" y="48"/>
                    </a:lnTo>
                    <a:lnTo>
                      <a:pt x="69" y="33"/>
                    </a:lnTo>
                    <a:lnTo>
                      <a:pt x="52" y="33"/>
                    </a:lnTo>
                    <a:lnTo>
                      <a:pt x="87" y="18"/>
                    </a:lnTo>
                    <a:lnTo>
                      <a:pt x="69" y="0"/>
                    </a:lnTo>
                    <a:lnTo>
                      <a:pt x="0" y="6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06" name="Freeform 40">
                <a:extLst>
                  <a:ext uri="{FF2B5EF4-FFF2-40B4-BE49-F238E27FC236}">
                    <a16:creationId xmlns:a16="http://schemas.microsoft.com/office/drawing/2014/main" id="{6E014337-1050-D743-8A4B-AA973828CACC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1831975" y="3348038"/>
                <a:ext cx="42863" cy="76200"/>
              </a:xfrm>
              <a:custGeom>
                <a:avLst/>
                <a:gdLst>
                  <a:gd name="T0" fmla="*/ 0 w 54"/>
                  <a:gd name="T1" fmla="*/ 0 h 96"/>
                  <a:gd name="T2" fmla="*/ 0 w 54"/>
                  <a:gd name="T3" fmla="*/ 0 h 96"/>
                  <a:gd name="T4" fmla="*/ 0 w 54"/>
                  <a:gd name="T5" fmla="*/ 7144 h 96"/>
                  <a:gd name="T6" fmla="*/ 3969 w 54"/>
                  <a:gd name="T7" fmla="*/ 16669 h 96"/>
                  <a:gd name="T8" fmla="*/ 11113 w 54"/>
                  <a:gd name="T9" fmla="*/ 19050 h 96"/>
                  <a:gd name="T10" fmla="*/ 3969 w 54"/>
                  <a:gd name="T11" fmla="*/ 13494 h 96"/>
                  <a:gd name="T12" fmla="*/ 7144 w 54"/>
                  <a:gd name="T13" fmla="*/ 9525 h 96"/>
                  <a:gd name="T14" fmla="*/ 3969 w 54"/>
                  <a:gd name="T15" fmla="*/ 7144 h 96"/>
                  <a:gd name="T16" fmla="*/ 7144 w 54"/>
                  <a:gd name="T17" fmla="*/ 0 h 96"/>
                  <a:gd name="T18" fmla="*/ 0 w 54"/>
                  <a:gd name="T19" fmla="*/ 0 h 9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4"/>
                  <a:gd name="T31" fmla="*/ 0 h 96"/>
                  <a:gd name="T32" fmla="*/ 54 w 54"/>
                  <a:gd name="T33" fmla="*/ 96 h 9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4" h="96">
                    <a:moveTo>
                      <a:pt x="0" y="0"/>
                    </a:moveTo>
                    <a:lnTo>
                      <a:pt x="0" y="0"/>
                    </a:lnTo>
                    <a:lnTo>
                      <a:pt x="0" y="33"/>
                    </a:lnTo>
                    <a:lnTo>
                      <a:pt x="19" y="81"/>
                    </a:lnTo>
                    <a:lnTo>
                      <a:pt x="54" y="96"/>
                    </a:lnTo>
                    <a:lnTo>
                      <a:pt x="19" y="65"/>
                    </a:lnTo>
                    <a:lnTo>
                      <a:pt x="36" y="48"/>
                    </a:lnTo>
                    <a:lnTo>
                      <a:pt x="19" y="33"/>
                    </a:lnTo>
                    <a:lnTo>
                      <a:pt x="36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07" name="Freeform 41">
                <a:extLst>
                  <a:ext uri="{FF2B5EF4-FFF2-40B4-BE49-F238E27FC236}">
                    <a16:creationId xmlns:a16="http://schemas.microsoft.com/office/drawing/2014/main" id="{C6ABB0E5-3679-E64B-BF8E-31226503B2C7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1930400" y="3462338"/>
                <a:ext cx="111125" cy="76200"/>
              </a:xfrm>
              <a:custGeom>
                <a:avLst/>
                <a:gdLst>
                  <a:gd name="T0" fmla="*/ 0 w 140"/>
                  <a:gd name="T1" fmla="*/ 0 h 96"/>
                  <a:gd name="T2" fmla="*/ 0 w 140"/>
                  <a:gd name="T3" fmla="*/ 0 h 96"/>
                  <a:gd name="T4" fmla="*/ 3175 w 140"/>
                  <a:gd name="T5" fmla="*/ 7144 h 96"/>
                  <a:gd name="T6" fmla="*/ 10319 w 140"/>
                  <a:gd name="T7" fmla="*/ 9525 h 96"/>
                  <a:gd name="T8" fmla="*/ 16669 w 140"/>
                  <a:gd name="T9" fmla="*/ 13494 h 96"/>
                  <a:gd name="T10" fmla="*/ 16669 w 140"/>
                  <a:gd name="T11" fmla="*/ 16669 h 96"/>
                  <a:gd name="T12" fmla="*/ 23812 w 140"/>
                  <a:gd name="T13" fmla="*/ 19050 h 96"/>
                  <a:gd name="T14" fmla="*/ 27781 w 140"/>
                  <a:gd name="T15" fmla="*/ 19050 h 96"/>
                  <a:gd name="T16" fmla="*/ 14287 w 140"/>
                  <a:gd name="T17" fmla="*/ 3969 h 96"/>
                  <a:gd name="T18" fmla="*/ 3175 w 140"/>
                  <a:gd name="T19" fmla="*/ 0 h 96"/>
                  <a:gd name="T20" fmla="*/ 0 w 140"/>
                  <a:gd name="T21" fmla="*/ 0 h 9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0"/>
                  <a:gd name="T34" fmla="*/ 0 h 96"/>
                  <a:gd name="T35" fmla="*/ 140 w 140"/>
                  <a:gd name="T36" fmla="*/ 96 h 9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0" h="96">
                    <a:moveTo>
                      <a:pt x="0" y="0"/>
                    </a:moveTo>
                    <a:lnTo>
                      <a:pt x="0" y="0"/>
                    </a:lnTo>
                    <a:lnTo>
                      <a:pt x="17" y="33"/>
                    </a:lnTo>
                    <a:lnTo>
                      <a:pt x="52" y="48"/>
                    </a:lnTo>
                    <a:lnTo>
                      <a:pt x="86" y="65"/>
                    </a:lnTo>
                    <a:lnTo>
                      <a:pt x="86" y="81"/>
                    </a:lnTo>
                    <a:lnTo>
                      <a:pt x="121" y="96"/>
                    </a:lnTo>
                    <a:lnTo>
                      <a:pt x="140" y="96"/>
                    </a:lnTo>
                    <a:lnTo>
                      <a:pt x="69" y="17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08" name="Line 42">
                <a:extLst>
                  <a:ext uri="{FF2B5EF4-FFF2-40B4-BE49-F238E27FC236}">
                    <a16:creationId xmlns:a16="http://schemas.microsoft.com/office/drawing/2014/main" id="{6C3EB2BB-F68E-BE44-B1C6-70D8EA9D33F4}"/>
                  </a:ext>
                </a:extLst>
              </p:cNvPr>
              <p:cNvSpPr>
                <a:spLocks noChangeShapeType="1"/>
              </p:cNvSpPr>
              <p:nvPr>
                <p:custDataLst>
                  <p:tags r:id="rId70"/>
                </p:custDataLst>
              </p:nvPr>
            </p:nvSpPr>
            <p:spPr bwMode="auto">
              <a:xfrm flipV="1">
                <a:off x="1057275" y="3379788"/>
                <a:ext cx="14288" cy="508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09" name="Freeform 43">
                <a:extLst>
                  <a:ext uri="{FF2B5EF4-FFF2-40B4-BE49-F238E27FC236}">
                    <a16:creationId xmlns:a16="http://schemas.microsoft.com/office/drawing/2014/main" id="{4AD0215C-1DD4-6D40-9C11-3E9D20969CF8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1076325" y="3362326"/>
                <a:ext cx="28575" cy="11113"/>
              </a:xfrm>
              <a:custGeom>
                <a:avLst/>
                <a:gdLst>
                  <a:gd name="T0" fmla="*/ 0 w 34"/>
                  <a:gd name="T1" fmla="*/ 2084 h 16"/>
                  <a:gd name="T2" fmla="*/ 0 w 34"/>
                  <a:gd name="T3" fmla="*/ 2084 h 16"/>
                  <a:gd name="T4" fmla="*/ 8404 w 34"/>
                  <a:gd name="T5" fmla="*/ 2084 h 16"/>
                  <a:gd name="T6" fmla="*/ 8404 w 34"/>
                  <a:gd name="T7" fmla="*/ 0 h 16"/>
                  <a:gd name="T8" fmla="*/ 4202 w 34"/>
                  <a:gd name="T9" fmla="*/ 0 h 16"/>
                  <a:gd name="T10" fmla="*/ 4202 w 34"/>
                  <a:gd name="T11" fmla="*/ 2084 h 16"/>
                  <a:gd name="T12" fmla="*/ 0 w 34"/>
                  <a:gd name="T13" fmla="*/ 2084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6"/>
                  <a:gd name="T23" fmla="*/ 34 w 34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6">
                    <a:moveTo>
                      <a:pt x="0" y="16"/>
                    </a:moveTo>
                    <a:lnTo>
                      <a:pt x="0" y="16"/>
                    </a:lnTo>
                    <a:lnTo>
                      <a:pt x="34" y="16"/>
                    </a:lnTo>
                    <a:lnTo>
                      <a:pt x="34" y="0"/>
                    </a:lnTo>
                    <a:lnTo>
                      <a:pt x="17" y="0"/>
                    </a:lnTo>
                    <a:lnTo>
                      <a:pt x="17" y="16"/>
                    </a:lnTo>
                    <a:lnTo>
                      <a:pt x="0" y="1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10" name="Freeform 44">
                <a:extLst>
                  <a:ext uri="{FF2B5EF4-FFF2-40B4-BE49-F238E27FC236}">
                    <a16:creationId xmlns:a16="http://schemas.microsoft.com/office/drawing/2014/main" id="{5EF3D8E5-D7FC-F54D-AAEE-8BE6A7B26283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1655763" y="2555876"/>
                <a:ext cx="1855788" cy="1173163"/>
              </a:xfrm>
              <a:custGeom>
                <a:avLst/>
                <a:gdLst>
                  <a:gd name="T0" fmla="*/ 336550 w 2338"/>
                  <a:gd name="T1" fmla="*/ 284163 h 1478"/>
                  <a:gd name="T2" fmla="*/ 319088 w 2338"/>
                  <a:gd name="T3" fmla="*/ 284163 h 1478"/>
                  <a:gd name="T4" fmla="*/ 329406 w 2338"/>
                  <a:gd name="T5" fmla="*/ 274638 h 1478"/>
                  <a:gd name="T6" fmla="*/ 305594 w 2338"/>
                  <a:gd name="T7" fmla="*/ 258763 h 1478"/>
                  <a:gd name="T8" fmla="*/ 288131 w 2338"/>
                  <a:gd name="T9" fmla="*/ 239713 h 1478"/>
                  <a:gd name="T10" fmla="*/ 254000 w 2338"/>
                  <a:gd name="T11" fmla="*/ 242888 h 1478"/>
                  <a:gd name="T12" fmla="*/ 96044 w 2338"/>
                  <a:gd name="T13" fmla="*/ 239713 h 1478"/>
                  <a:gd name="T14" fmla="*/ 71438 w 2338"/>
                  <a:gd name="T15" fmla="*/ 223838 h 1478"/>
                  <a:gd name="T16" fmla="*/ 57944 w 2338"/>
                  <a:gd name="T17" fmla="*/ 197644 h 1478"/>
                  <a:gd name="T18" fmla="*/ 37306 w 2338"/>
                  <a:gd name="T19" fmla="*/ 156369 h 1478"/>
                  <a:gd name="T20" fmla="*/ 20638 w 2338"/>
                  <a:gd name="T21" fmla="*/ 153988 h 1478"/>
                  <a:gd name="T22" fmla="*/ 0 w 2338"/>
                  <a:gd name="T23" fmla="*/ 141288 h 1478"/>
                  <a:gd name="T24" fmla="*/ 27781 w 2338"/>
                  <a:gd name="T25" fmla="*/ 36513 h 1478"/>
                  <a:gd name="T26" fmla="*/ 61119 w 2338"/>
                  <a:gd name="T27" fmla="*/ 20638 h 1478"/>
                  <a:gd name="T28" fmla="*/ 78581 w 2338"/>
                  <a:gd name="T29" fmla="*/ 23019 h 1478"/>
                  <a:gd name="T30" fmla="*/ 88900 w 2338"/>
                  <a:gd name="T31" fmla="*/ 33338 h 1478"/>
                  <a:gd name="T32" fmla="*/ 113506 w 2338"/>
                  <a:gd name="T33" fmla="*/ 33338 h 1478"/>
                  <a:gd name="T34" fmla="*/ 144463 w 2338"/>
                  <a:gd name="T35" fmla="*/ 42069 h 1478"/>
                  <a:gd name="T36" fmla="*/ 150813 w 2338"/>
                  <a:gd name="T37" fmla="*/ 58738 h 1478"/>
                  <a:gd name="T38" fmla="*/ 174625 w 2338"/>
                  <a:gd name="T39" fmla="*/ 49213 h 1478"/>
                  <a:gd name="T40" fmla="*/ 213519 w 2338"/>
                  <a:gd name="T41" fmla="*/ 55563 h 1478"/>
                  <a:gd name="T42" fmla="*/ 233363 w 2338"/>
                  <a:gd name="T43" fmla="*/ 45244 h 1478"/>
                  <a:gd name="T44" fmla="*/ 240506 w 2338"/>
                  <a:gd name="T45" fmla="*/ 36513 h 1478"/>
                  <a:gd name="T46" fmla="*/ 243681 w 2338"/>
                  <a:gd name="T47" fmla="*/ 58738 h 1478"/>
                  <a:gd name="T48" fmla="*/ 254000 w 2338"/>
                  <a:gd name="T49" fmla="*/ 33338 h 1478"/>
                  <a:gd name="T50" fmla="*/ 254000 w 2338"/>
                  <a:gd name="T51" fmla="*/ 0 h 1478"/>
                  <a:gd name="T52" fmla="*/ 278606 w 2338"/>
                  <a:gd name="T53" fmla="*/ 45244 h 1478"/>
                  <a:gd name="T54" fmla="*/ 292100 w 2338"/>
                  <a:gd name="T55" fmla="*/ 61913 h 1478"/>
                  <a:gd name="T56" fmla="*/ 302419 w 2338"/>
                  <a:gd name="T57" fmla="*/ 26988 h 1478"/>
                  <a:gd name="T58" fmla="*/ 323056 w 2338"/>
                  <a:gd name="T59" fmla="*/ 36513 h 1478"/>
                  <a:gd name="T60" fmla="*/ 323056 w 2338"/>
                  <a:gd name="T61" fmla="*/ 58738 h 1478"/>
                  <a:gd name="T62" fmla="*/ 302419 w 2338"/>
                  <a:gd name="T63" fmla="*/ 71438 h 1478"/>
                  <a:gd name="T64" fmla="*/ 292100 w 2338"/>
                  <a:gd name="T65" fmla="*/ 89694 h 1478"/>
                  <a:gd name="T66" fmla="*/ 274638 w 2338"/>
                  <a:gd name="T67" fmla="*/ 115888 h 1478"/>
                  <a:gd name="T68" fmla="*/ 257969 w 2338"/>
                  <a:gd name="T69" fmla="*/ 128588 h 1478"/>
                  <a:gd name="T70" fmla="*/ 261144 w 2338"/>
                  <a:gd name="T71" fmla="*/ 156369 h 1478"/>
                  <a:gd name="T72" fmla="*/ 288131 w 2338"/>
                  <a:gd name="T73" fmla="*/ 182563 h 1478"/>
                  <a:gd name="T74" fmla="*/ 319088 w 2338"/>
                  <a:gd name="T75" fmla="*/ 211138 h 1478"/>
                  <a:gd name="T76" fmla="*/ 339725 w 2338"/>
                  <a:gd name="T77" fmla="*/ 192088 h 1478"/>
                  <a:gd name="T78" fmla="*/ 339725 w 2338"/>
                  <a:gd name="T79" fmla="*/ 153988 h 1478"/>
                  <a:gd name="T80" fmla="*/ 339725 w 2338"/>
                  <a:gd name="T81" fmla="*/ 138113 h 1478"/>
                  <a:gd name="T82" fmla="*/ 343694 w 2338"/>
                  <a:gd name="T83" fmla="*/ 119063 h 1478"/>
                  <a:gd name="T84" fmla="*/ 374650 w 2338"/>
                  <a:gd name="T85" fmla="*/ 131763 h 1478"/>
                  <a:gd name="T86" fmla="*/ 398463 w 2338"/>
                  <a:gd name="T87" fmla="*/ 163513 h 1478"/>
                  <a:gd name="T88" fmla="*/ 408781 w 2338"/>
                  <a:gd name="T89" fmla="*/ 146844 h 1478"/>
                  <a:gd name="T90" fmla="*/ 430213 w 2338"/>
                  <a:gd name="T91" fmla="*/ 182563 h 1478"/>
                  <a:gd name="T92" fmla="*/ 446881 w 2338"/>
                  <a:gd name="T93" fmla="*/ 192088 h 1478"/>
                  <a:gd name="T94" fmla="*/ 454025 w 2338"/>
                  <a:gd name="T95" fmla="*/ 204788 h 1478"/>
                  <a:gd name="T96" fmla="*/ 464344 w 2338"/>
                  <a:gd name="T97" fmla="*/ 217488 h 1478"/>
                  <a:gd name="T98" fmla="*/ 430213 w 2338"/>
                  <a:gd name="T99" fmla="*/ 233363 h 1478"/>
                  <a:gd name="T100" fmla="*/ 395288 w 2338"/>
                  <a:gd name="T101" fmla="*/ 239713 h 1478"/>
                  <a:gd name="T102" fmla="*/ 392113 w 2338"/>
                  <a:gd name="T103" fmla="*/ 246063 h 1478"/>
                  <a:gd name="T104" fmla="*/ 416719 w 2338"/>
                  <a:gd name="T105" fmla="*/ 246063 h 1478"/>
                  <a:gd name="T106" fmla="*/ 412750 w 2338"/>
                  <a:gd name="T107" fmla="*/ 249238 h 1478"/>
                  <a:gd name="T108" fmla="*/ 430213 w 2338"/>
                  <a:gd name="T109" fmla="*/ 265113 h 1478"/>
                  <a:gd name="T110" fmla="*/ 440531 w 2338"/>
                  <a:gd name="T111" fmla="*/ 261938 h 1478"/>
                  <a:gd name="T112" fmla="*/ 408781 w 2338"/>
                  <a:gd name="T113" fmla="*/ 280988 h 1478"/>
                  <a:gd name="T114" fmla="*/ 412750 w 2338"/>
                  <a:gd name="T115" fmla="*/ 265113 h 1478"/>
                  <a:gd name="T116" fmla="*/ 395288 w 2338"/>
                  <a:gd name="T117" fmla="*/ 255588 h 1478"/>
                  <a:gd name="T118" fmla="*/ 381794 w 2338"/>
                  <a:gd name="T119" fmla="*/ 268288 h 1478"/>
                  <a:gd name="T120" fmla="*/ 346869 w 2338"/>
                  <a:gd name="T121" fmla="*/ 277813 h 147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338"/>
                  <a:gd name="T184" fmla="*/ 0 h 1478"/>
                  <a:gd name="T185" fmla="*/ 2338 w 2338"/>
                  <a:gd name="T186" fmla="*/ 1478 h 147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338" h="1478">
                    <a:moveTo>
                      <a:pt x="1682" y="1415"/>
                    </a:moveTo>
                    <a:lnTo>
                      <a:pt x="1682" y="1415"/>
                    </a:lnTo>
                    <a:lnTo>
                      <a:pt x="1697" y="1415"/>
                    </a:lnTo>
                    <a:lnTo>
                      <a:pt x="1697" y="1430"/>
                    </a:lnTo>
                    <a:lnTo>
                      <a:pt x="1628" y="1447"/>
                    </a:lnTo>
                    <a:lnTo>
                      <a:pt x="1611" y="1463"/>
                    </a:lnTo>
                    <a:lnTo>
                      <a:pt x="1576" y="1478"/>
                    </a:lnTo>
                    <a:lnTo>
                      <a:pt x="1611" y="1430"/>
                    </a:lnTo>
                    <a:lnTo>
                      <a:pt x="1594" y="1430"/>
                    </a:lnTo>
                    <a:lnTo>
                      <a:pt x="1628" y="1415"/>
                    </a:lnTo>
                    <a:lnTo>
                      <a:pt x="1628" y="1351"/>
                    </a:lnTo>
                    <a:lnTo>
                      <a:pt x="1663" y="1382"/>
                    </a:lnTo>
                    <a:lnTo>
                      <a:pt x="1682" y="1367"/>
                    </a:lnTo>
                    <a:lnTo>
                      <a:pt x="1645" y="1334"/>
                    </a:lnTo>
                    <a:lnTo>
                      <a:pt x="1559" y="1319"/>
                    </a:lnTo>
                    <a:lnTo>
                      <a:pt x="1542" y="1303"/>
                    </a:lnTo>
                    <a:lnTo>
                      <a:pt x="1525" y="1255"/>
                    </a:lnTo>
                    <a:lnTo>
                      <a:pt x="1507" y="1255"/>
                    </a:lnTo>
                    <a:lnTo>
                      <a:pt x="1490" y="1223"/>
                    </a:lnTo>
                    <a:lnTo>
                      <a:pt x="1455" y="1207"/>
                    </a:lnTo>
                    <a:lnTo>
                      <a:pt x="1404" y="1255"/>
                    </a:lnTo>
                    <a:lnTo>
                      <a:pt x="1352" y="1255"/>
                    </a:lnTo>
                    <a:lnTo>
                      <a:pt x="1317" y="1223"/>
                    </a:lnTo>
                    <a:lnTo>
                      <a:pt x="1281" y="1223"/>
                    </a:lnTo>
                    <a:lnTo>
                      <a:pt x="1265" y="1190"/>
                    </a:lnTo>
                    <a:lnTo>
                      <a:pt x="1248" y="1207"/>
                    </a:lnTo>
                    <a:lnTo>
                      <a:pt x="501" y="1207"/>
                    </a:lnTo>
                    <a:lnTo>
                      <a:pt x="486" y="1207"/>
                    </a:lnTo>
                    <a:lnTo>
                      <a:pt x="486" y="1190"/>
                    </a:lnTo>
                    <a:lnTo>
                      <a:pt x="467" y="1190"/>
                    </a:lnTo>
                    <a:lnTo>
                      <a:pt x="415" y="1159"/>
                    </a:lnTo>
                    <a:lnTo>
                      <a:pt x="363" y="1127"/>
                    </a:lnTo>
                    <a:lnTo>
                      <a:pt x="346" y="1079"/>
                    </a:lnTo>
                    <a:lnTo>
                      <a:pt x="328" y="1063"/>
                    </a:lnTo>
                    <a:lnTo>
                      <a:pt x="277" y="1015"/>
                    </a:lnTo>
                    <a:lnTo>
                      <a:pt x="294" y="998"/>
                    </a:lnTo>
                    <a:lnTo>
                      <a:pt x="294" y="968"/>
                    </a:lnTo>
                    <a:lnTo>
                      <a:pt x="294" y="920"/>
                    </a:lnTo>
                    <a:lnTo>
                      <a:pt x="242" y="887"/>
                    </a:lnTo>
                    <a:lnTo>
                      <a:pt x="188" y="791"/>
                    </a:lnTo>
                    <a:lnTo>
                      <a:pt x="173" y="791"/>
                    </a:lnTo>
                    <a:lnTo>
                      <a:pt x="156" y="743"/>
                    </a:lnTo>
                    <a:lnTo>
                      <a:pt x="121" y="758"/>
                    </a:lnTo>
                    <a:lnTo>
                      <a:pt x="104" y="776"/>
                    </a:lnTo>
                    <a:lnTo>
                      <a:pt x="52" y="728"/>
                    </a:lnTo>
                    <a:lnTo>
                      <a:pt x="52" y="710"/>
                    </a:lnTo>
                    <a:lnTo>
                      <a:pt x="0" y="728"/>
                    </a:lnTo>
                    <a:lnTo>
                      <a:pt x="0" y="710"/>
                    </a:lnTo>
                    <a:lnTo>
                      <a:pt x="0" y="152"/>
                    </a:lnTo>
                    <a:lnTo>
                      <a:pt x="33" y="152"/>
                    </a:lnTo>
                    <a:lnTo>
                      <a:pt x="137" y="215"/>
                    </a:lnTo>
                    <a:lnTo>
                      <a:pt x="137" y="183"/>
                    </a:lnTo>
                    <a:lnTo>
                      <a:pt x="156" y="167"/>
                    </a:lnTo>
                    <a:lnTo>
                      <a:pt x="188" y="152"/>
                    </a:lnTo>
                    <a:lnTo>
                      <a:pt x="208" y="167"/>
                    </a:lnTo>
                    <a:lnTo>
                      <a:pt x="311" y="104"/>
                    </a:lnTo>
                    <a:lnTo>
                      <a:pt x="311" y="135"/>
                    </a:lnTo>
                    <a:lnTo>
                      <a:pt x="346" y="135"/>
                    </a:lnTo>
                    <a:lnTo>
                      <a:pt x="363" y="87"/>
                    </a:lnTo>
                    <a:lnTo>
                      <a:pt x="398" y="119"/>
                    </a:lnTo>
                    <a:lnTo>
                      <a:pt x="398" y="152"/>
                    </a:lnTo>
                    <a:lnTo>
                      <a:pt x="434" y="167"/>
                    </a:lnTo>
                    <a:lnTo>
                      <a:pt x="449" y="135"/>
                    </a:lnTo>
                    <a:lnTo>
                      <a:pt x="449" y="167"/>
                    </a:lnTo>
                    <a:lnTo>
                      <a:pt x="486" y="167"/>
                    </a:lnTo>
                    <a:lnTo>
                      <a:pt x="486" y="135"/>
                    </a:lnTo>
                    <a:lnTo>
                      <a:pt x="538" y="135"/>
                    </a:lnTo>
                    <a:lnTo>
                      <a:pt x="570" y="167"/>
                    </a:lnTo>
                    <a:lnTo>
                      <a:pt x="605" y="183"/>
                    </a:lnTo>
                    <a:lnTo>
                      <a:pt x="641" y="200"/>
                    </a:lnTo>
                    <a:lnTo>
                      <a:pt x="676" y="200"/>
                    </a:lnTo>
                    <a:lnTo>
                      <a:pt x="728" y="215"/>
                    </a:lnTo>
                    <a:lnTo>
                      <a:pt x="728" y="248"/>
                    </a:lnTo>
                    <a:lnTo>
                      <a:pt x="709" y="263"/>
                    </a:lnTo>
                    <a:lnTo>
                      <a:pt x="709" y="279"/>
                    </a:lnTo>
                    <a:lnTo>
                      <a:pt x="760" y="296"/>
                    </a:lnTo>
                    <a:lnTo>
                      <a:pt x="849" y="263"/>
                    </a:lnTo>
                    <a:lnTo>
                      <a:pt x="901" y="296"/>
                    </a:lnTo>
                    <a:lnTo>
                      <a:pt x="901" y="263"/>
                    </a:lnTo>
                    <a:lnTo>
                      <a:pt x="883" y="248"/>
                    </a:lnTo>
                    <a:lnTo>
                      <a:pt x="901" y="231"/>
                    </a:lnTo>
                    <a:lnTo>
                      <a:pt x="970" y="200"/>
                    </a:lnTo>
                    <a:lnTo>
                      <a:pt x="987" y="248"/>
                    </a:lnTo>
                    <a:lnTo>
                      <a:pt x="1073" y="279"/>
                    </a:lnTo>
                    <a:lnTo>
                      <a:pt x="1125" y="296"/>
                    </a:lnTo>
                    <a:lnTo>
                      <a:pt x="1162" y="296"/>
                    </a:lnTo>
                    <a:lnTo>
                      <a:pt x="1162" y="248"/>
                    </a:lnTo>
                    <a:lnTo>
                      <a:pt x="1177" y="231"/>
                    </a:lnTo>
                    <a:lnTo>
                      <a:pt x="1125" y="200"/>
                    </a:lnTo>
                    <a:lnTo>
                      <a:pt x="1162" y="183"/>
                    </a:lnTo>
                    <a:lnTo>
                      <a:pt x="1177" y="135"/>
                    </a:lnTo>
                    <a:lnTo>
                      <a:pt x="1214" y="183"/>
                    </a:lnTo>
                    <a:lnTo>
                      <a:pt x="1248" y="215"/>
                    </a:lnTo>
                    <a:lnTo>
                      <a:pt x="1214" y="248"/>
                    </a:lnTo>
                    <a:lnTo>
                      <a:pt x="1214" y="279"/>
                    </a:lnTo>
                    <a:lnTo>
                      <a:pt x="1229" y="296"/>
                    </a:lnTo>
                    <a:lnTo>
                      <a:pt x="1248" y="263"/>
                    </a:lnTo>
                    <a:lnTo>
                      <a:pt x="1281" y="231"/>
                    </a:lnTo>
                    <a:lnTo>
                      <a:pt x="1265" y="200"/>
                    </a:lnTo>
                    <a:lnTo>
                      <a:pt x="1281" y="167"/>
                    </a:lnTo>
                    <a:lnTo>
                      <a:pt x="1248" y="135"/>
                    </a:lnTo>
                    <a:lnTo>
                      <a:pt x="1214" y="104"/>
                    </a:lnTo>
                    <a:lnTo>
                      <a:pt x="1229" y="8"/>
                    </a:lnTo>
                    <a:lnTo>
                      <a:pt x="1283" y="0"/>
                    </a:lnTo>
                    <a:lnTo>
                      <a:pt x="1352" y="119"/>
                    </a:lnTo>
                    <a:lnTo>
                      <a:pt x="1333" y="152"/>
                    </a:lnTo>
                    <a:lnTo>
                      <a:pt x="1352" y="167"/>
                    </a:lnTo>
                    <a:lnTo>
                      <a:pt x="1404" y="231"/>
                    </a:lnTo>
                    <a:lnTo>
                      <a:pt x="1421" y="183"/>
                    </a:lnTo>
                    <a:lnTo>
                      <a:pt x="1455" y="215"/>
                    </a:lnTo>
                    <a:lnTo>
                      <a:pt x="1436" y="279"/>
                    </a:lnTo>
                    <a:lnTo>
                      <a:pt x="1473" y="311"/>
                    </a:lnTo>
                    <a:lnTo>
                      <a:pt x="1490" y="311"/>
                    </a:lnTo>
                    <a:lnTo>
                      <a:pt x="1490" y="279"/>
                    </a:lnTo>
                    <a:lnTo>
                      <a:pt x="1525" y="263"/>
                    </a:lnTo>
                    <a:lnTo>
                      <a:pt x="1525" y="135"/>
                    </a:lnTo>
                    <a:lnTo>
                      <a:pt x="1559" y="135"/>
                    </a:lnTo>
                    <a:lnTo>
                      <a:pt x="1594" y="152"/>
                    </a:lnTo>
                    <a:lnTo>
                      <a:pt x="1594" y="183"/>
                    </a:lnTo>
                    <a:lnTo>
                      <a:pt x="1628" y="183"/>
                    </a:lnTo>
                    <a:lnTo>
                      <a:pt x="1628" y="231"/>
                    </a:lnTo>
                    <a:lnTo>
                      <a:pt x="1594" y="248"/>
                    </a:lnTo>
                    <a:lnTo>
                      <a:pt x="1594" y="279"/>
                    </a:lnTo>
                    <a:lnTo>
                      <a:pt x="1628" y="296"/>
                    </a:lnTo>
                    <a:lnTo>
                      <a:pt x="1628" y="327"/>
                    </a:lnTo>
                    <a:lnTo>
                      <a:pt x="1559" y="392"/>
                    </a:lnTo>
                    <a:lnTo>
                      <a:pt x="1525" y="375"/>
                    </a:lnTo>
                    <a:lnTo>
                      <a:pt x="1525" y="359"/>
                    </a:lnTo>
                    <a:lnTo>
                      <a:pt x="1490" y="359"/>
                    </a:lnTo>
                    <a:lnTo>
                      <a:pt x="1507" y="392"/>
                    </a:lnTo>
                    <a:lnTo>
                      <a:pt x="1473" y="423"/>
                    </a:lnTo>
                    <a:lnTo>
                      <a:pt x="1473" y="455"/>
                    </a:lnTo>
                    <a:lnTo>
                      <a:pt x="1436" y="518"/>
                    </a:lnTo>
                    <a:lnTo>
                      <a:pt x="1404" y="518"/>
                    </a:lnTo>
                    <a:lnTo>
                      <a:pt x="1369" y="551"/>
                    </a:lnTo>
                    <a:lnTo>
                      <a:pt x="1384" y="584"/>
                    </a:lnTo>
                    <a:lnTo>
                      <a:pt x="1333" y="599"/>
                    </a:lnTo>
                    <a:lnTo>
                      <a:pt x="1333" y="632"/>
                    </a:lnTo>
                    <a:lnTo>
                      <a:pt x="1317" y="632"/>
                    </a:lnTo>
                    <a:lnTo>
                      <a:pt x="1300" y="647"/>
                    </a:lnTo>
                    <a:lnTo>
                      <a:pt x="1265" y="728"/>
                    </a:lnTo>
                    <a:lnTo>
                      <a:pt x="1265" y="776"/>
                    </a:lnTo>
                    <a:lnTo>
                      <a:pt x="1281" y="791"/>
                    </a:lnTo>
                    <a:lnTo>
                      <a:pt x="1317" y="791"/>
                    </a:lnTo>
                    <a:lnTo>
                      <a:pt x="1333" y="887"/>
                    </a:lnTo>
                    <a:lnTo>
                      <a:pt x="1369" y="872"/>
                    </a:lnTo>
                    <a:lnTo>
                      <a:pt x="1421" y="887"/>
                    </a:lnTo>
                    <a:lnTo>
                      <a:pt x="1455" y="920"/>
                    </a:lnTo>
                    <a:lnTo>
                      <a:pt x="1525" y="950"/>
                    </a:lnTo>
                    <a:lnTo>
                      <a:pt x="1594" y="950"/>
                    </a:lnTo>
                    <a:lnTo>
                      <a:pt x="1611" y="968"/>
                    </a:lnTo>
                    <a:lnTo>
                      <a:pt x="1611" y="1063"/>
                    </a:lnTo>
                    <a:lnTo>
                      <a:pt x="1682" y="1127"/>
                    </a:lnTo>
                    <a:lnTo>
                      <a:pt x="1715" y="1094"/>
                    </a:lnTo>
                    <a:lnTo>
                      <a:pt x="1682" y="983"/>
                    </a:lnTo>
                    <a:lnTo>
                      <a:pt x="1715" y="968"/>
                    </a:lnTo>
                    <a:lnTo>
                      <a:pt x="1749" y="920"/>
                    </a:lnTo>
                    <a:lnTo>
                      <a:pt x="1734" y="824"/>
                    </a:lnTo>
                    <a:lnTo>
                      <a:pt x="1697" y="791"/>
                    </a:lnTo>
                    <a:lnTo>
                      <a:pt x="1715" y="776"/>
                    </a:lnTo>
                    <a:lnTo>
                      <a:pt x="1734" y="776"/>
                    </a:lnTo>
                    <a:lnTo>
                      <a:pt x="1734" y="758"/>
                    </a:lnTo>
                    <a:lnTo>
                      <a:pt x="1734" y="710"/>
                    </a:lnTo>
                    <a:lnTo>
                      <a:pt x="1715" y="695"/>
                    </a:lnTo>
                    <a:lnTo>
                      <a:pt x="1734" y="647"/>
                    </a:lnTo>
                    <a:lnTo>
                      <a:pt x="1715" y="632"/>
                    </a:lnTo>
                    <a:lnTo>
                      <a:pt x="1715" y="614"/>
                    </a:lnTo>
                    <a:lnTo>
                      <a:pt x="1734" y="599"/>
                    </a:lnTo>
                    <a:lnTo>
                      <a:pt x="1786" y="614"/>
                    </a:lnTo>
                    <a:lnTo>
                      <a:pt x="1837" y="599"/>
                    </a:lnTo>
                    <a:lnTo>
                      <a:pt x="1905" y="647"/>
                    </a:lnTo>
                    <a:lnTo>
                      <a:pt x="1889" y="662"/>
                    </a:lnTo>
                    <a:lnTo>
                      <a:pt x="1905" y="680"/>
                    </a:lnTo>
                    <a:lnTo>
                      <a:pt x="1956" y="680"/>
                    </a:lnTo>
                    <a:lnTo>
                      <a:pt x="1956" y="776"/>
                    </a:lnTo>
                    <a:lnTo>
                      <a:pt x="2008" y="824"/>
                    </a:lnTo>
                    <a:lnTo>
                      <a:pt x="2027" y="806"/>
                    </a:lnTo>
                    <a:lnTo>
                      <a:pt x="2060" y="776"/>
                    </a:lnTo>
                    <a:lnTo>
                      <a:pt x="2079" y="758"/>
                    </a:lnTo>
                    <a:lnTo>
                      <a:pt x="2060" y="743"/>
                    </a:lnTo>
                    <a:lnTo>
                      <a:pt x="2079" y="710"/>
                    </a:lnTo>
                    <a:lnTo>
                      <a:pt x="2183" y="872"/>
                    </a:lnTo>
                    <a:lnTo>
                      <a:pt x="2166" y="887"/>
                    </a:lnTo>
                    <a:lnTo>
                      <a:pt x="2166" y="920"/>
                    </a:lnTo>
                    <a:lnTo>
                      <a:pt x="2200" y="935"/>
                    </a:lnTo>
                    <a:lnTo>
                      <a:pt x="2200" y="950"/>
                    </a:lnTo>
                    <a:lnTo>
                      <a:pt x="2235" y="968"/>
                    </a:lnTo>
                    <a:lnTo>
                      <a:pt x="2252" y="968"/>
                    </a:lnTo>
                    <a:lnTo>
                      <a:pt x="2287" y="983"/>
                    </a:lnTo>
                    <a:lnTo>
                      <a:pt x="2252" y="998"/>
                    </a:lnTo>
                    <a:lnTo>
                      <a:pt x="2287" y="998"/>
                    </a:lnTo>
                    <a:lnTo>
                      <a:pt x="2287" y="1031"/>
                    </a:lnTo>
                    <a:lnTo>
                      <a:pt x="2306" y="1031"/>
                    </a:lnTo>
                    <a:lnTo>
                      <a:pt x="2321" y="1046"/>
                    </a:lnTo>
                    <a:lnTo>
                      <a:pt x="2321" y="1063"/>
                    </a:lnTo>
                    <a:lnTo>
                      <a:pt x="2338" y="1094"/>
                    </a:lnTo>
                    <a:lnTo>
                      <a:pt x="2306" y="1111"/>
                    </a:lnTo>
                    <a:lnTo>
                      <a:pt x="2252" y="1127"/>
                    </a:lnTo>
                    <a:lnTo>
                      <a:pt x="2218" y="1175"/>
                    </a:lnTo>
                    <a:lnTo>
                      <a:pt x="2166" y="1175"/>
                    </a:lnTo>
                    <a:lnTo>
                      <a:pt x="2114" y="1159"/>
                    </a:lnTo>
                    <a:lnTo>
                      <a:pt x="2027" y="1175"/>
                    </a:lnTo>
                    <a:lnTo>
                      <a:pt x="2008" y="1207"/>
                    </a:lnTo>
                    <a:lnTo>
                      <a:pt x="1993" y="1207"/>
                    </a:lnTo>
                    <a:lnTo>
                      <a:pt x="1956" y="1223"/>
                    </a:lnTo>
                    <a:lnTo>
                      <a:pt x="1905" y="1286"/>
                    </a:lnTo>
                    <a:lnTo>
                      <a:pt x="1924" y="1286"/>
                    </a:lnTo>
                    <a:lnTo>
                      <a:pt x="1976" y="1238"/>
                    </a:lnTo>
                    <a:lnTo>
                      <a:pt x="2027" y="1207"/>
                    </a:lnTo>
                    <a:lnTo>
                      <a:pt x="2079" y="1207"/>
                    </a:lnTo>
                    <a:lnTo>
                      <a:pt x="2097" y="1207"/>
                    </a:lnTo>
                    <a:lnTo>
                      <a:pt x="2097" y="1238"/>
                    </a:lnTo>
                    <a:lnTo>
                      <a:pt x="2060" y="1255"/>
                    </a:lnTo>
                    <a:lnTo>
                      <a:pt x="2045" y="1255"/>
                    </a:lnTo>
                    <a:lnTo>
                      <a:pt x="2060" y="1271"/>
                    </a:lnTo>
                    <a:lnTo>
                      <a:pt x="2079" y="1255"/>
                    </a:lnTo>
                    <a:lnTo>
                      <a:pt x="2079" y="1303"/>
                    </a:lnTo>
                    <a:lnTo>
                      <a:pt x="2097" y="1319"/>
                    </a:lnTo>
                    <a:lnTo>
                      <a:pt x="2131" y="1334"/>
                    </a:lnTo>
                    <a:lnTo>
                      <a:pt x="2166" y="1334"/>
                    </a:lnTo>
                    <a:lnTo>
                      <a:pt x="2166" y="1319"/>
                    </a:lnTo>
                    <a:lnTo>
                      <a:pt x="2200" y="1286"/>
                    </a:lnTo>
                    <a:lnTo>
                      <a:pt x="2200" y="1319"/>
                    </a:lnTo>
                    <a:lnTo>
                      <a:pt x="2218" y="1319"/>
                    </a:lnTo>
                    <a:lnTo>
                      <a:pt x="2183" y="1334"/>
                    </a:lnTo>
                    <a:lnTo>
                      <a:pt x="2183" y="1351"/>
                    </a:lnTo>
                    <a:lnTo>
                      <a:pt x="2097" y="1382"/>
                    </a:lnTo>
                    <a:lnTo>
                      <a:pt x="2060" y="1415"/>
                    </a:lnTo>
                    <a:lnTo>
                      <a:pt x="2045" y="1382"/>
                    </a:lnTo>
                    <a:lnTo>
                      <a:pt x="2097" y="1351"/>
                    </a:lnTo>
                    <a:lnTo>
                      <a:pt x="2079" y="1351"/>
                    </a:lnTo>
                    <a:lnTo>
                      <a:pt x="2079" y="1334"/>
                    </a:lnTo>
                    <a:lnTo>
                      <a:pt x="2045" y="1351"/>
                    </a:lnTo>
                    <a:lnTo>
                      <a:pt x="2027" y="1351"/>
                    </a:lnTo>
                    <a:lnTo>
                      <a:pt x="2008" y="1334"/>
                    </a:lnTo>
                    <a:lnTo>
                      <a:pt x="1993" y="1286"/>
                    </a:lnTo>
                    <a:lnTo>
                      <a:pt x="1993" y="1271"/>
                    </a:lnTo>
                    <a:lnTo>
                      <a:pt x="1976" y="1286"/>
                    </a:lnTo>
                    <a:lnTo>
                      <a:pt x="1956" y="1271"/>
                    </a:lnTo>
                    <a:lnTo>
                      <a:pt x="1924" y="1351"/>
                    </a:lnTo>
                    <a:lnTo>
                      <a:pt x="1889" y="1367"/>
                    </a:lnTo>
                    <a:lnTo>
                      <a:pt x="1801" y="1367"/>
                    </a:lnTo>
                    <a:lnTo>
                      <a:pt x="1766" y="1382"/>
                    </a:lnTo>
                    <a:lnTo>
                      <a:pt x="1749" y="1399"/>
                    </a:lnTo>
                    <a:lnTo>
                      <a:pt x="1682" y="14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138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11" name="Freeform 45">
                <a:extLst>
                  <a:ext uri="{FF2B5EF4-FFF2-40B4-BE49-F238E27FC236}">
                    <a16:creationId xmlns:a16="http://schemas.microsoft.com/office/drawing/2014/main" id="{B9C5E209-F733-1440-BB3F-041F13EAF57D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3154363" y="4237038"/>
                <a:ext cx="82550" cy="50800"/>
              </a:xfrm>
              <a:custGeom>
                <a:avLst/>
                <a:gdLst>
                  <a:gd name="T0" fmla="*/ 0 w 104"/>
                  <a:gd name="T1" fmla="*/ 9676 h 63"/>
                  <a:gd name="T2" fmla="*/ 0 w 104"/>
                  <a:gd name="T3" fmla="*/ 9676 h 63"/>
                  <a:gd name="T4" fmla="*/ 0 w 104"/>
                  <a:gd name="T5" fmla="*/ 0 h 63"/>
                  <a:gd name="T6" fmla="*/ 10319 w 104"/>
                  <a:gd name="T7" fmla="*/ 0 h 63"/>
                  <a:gd name="T8" fmla="*/ 10319 w 104"/>
                  <a:gd name="T9" fmla="*/ 3225 h 63"/>
                  <a:gd name="T10" fmla="*/ 14288 w 104"/>
                  <a:gd name="T11" fmla="*/ 3225 h 63"/>
                  <a:gd name="T12" fmla="*/ 20638 w 104"/>
                  <a:gd name="T13" fmla="*/ 6451 h 63"/>
                  <a:gd name="T14" fmla="*/ 17463 w 104"/>
                  <a:gd name="T15" fmla="*/ 9676 h 63"/>
                  <a:gd name="T16" fmla="*/ 17463 w 104"/>
                  <a:gd name="T17" fmla="*/ 6451 h 63"/>
                  <a:gd name="T18" fmla="*/ 7144 w 104"/>
                  <a:gd name="T19" fmla="*/ 9676 h 63"/>
                  <a:gd name="T20" fmla="*/ 7144 w 104"/>
                  <a:gd name="T21" fmla="*/ 6451 h 63"/>
                  <a:gd name="T22" fmla="*/ 3969 w 104"/>
                  <a:gd name="T23" fmla="*/ 9676 h 63"/>
                  <a:gd name="T24" fmla="*/ 3969 w 104"/>
                  <a:gd name="T25" fmla="*/ 12902 h 63"/>
                  <a:gd name="T26" fmla="*/ 0 w 104"/>
                  <a:gd name="T27" fmla="*/ 9676 h 6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04"/>
                  <a:gd name="T43" fmla="*/ 0 h 63"/>
                  <a:gd name="T44" fmla="*/ 104 w 104"/>
                  <a:gd name="T45" fmla="*/ 63 h 6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04" h="63">
                    <a:moveTo>
                      <a:pt x="0" y="48"/>
                    </a:moveTo>
                    <a:lnTo>
                      <a:pt x="0" y="48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15"/>
                    </a:lnTo>
                    <a:lnTo>
                      <a:pt x="69" y="15"/>
                    </a:lnTo>
                    <a:lnTo>
                      <a:pt x="104" y="31"/>
                    </a:lnTo>
                    <a:lnTo>
                      <a:pt x="87" y="48"/>
                    </a:lnTo>
                    <a:lnTo>
                      <a:pt x="87" y="31"/>
                    </a:lnTo>
                    <a:lnTo>
                      <a:pt x="35" y="48"/>
                    </a:lnTo>
                    <a:lnTo>
                      <a:pt x="35" y="31"/>
                    </a:lnTo>
                    <a:lnTo>
                      <a:pt x="18" y="48"/>
                    </a:lnTo>
                    <a:lnTo>
                      <a:pt x="18" y="63"/>
                    </a:lnTo>
                    <a:lnTo>
                      <a:pt x="0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12" name="Freeform 46">
                <a:extLst>
                  <a:ext uri="{FF2B5EF4-FFF2-40B4-BE49-F238E27FC236}">
                    <a16:creationId xmlns:a16="http://schemas.microsoft.com/office/drawing/2014/main" id="{996A1F9E-4C0C-314D-8794-89A9A8933D2F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098800" y="4237038"/>
                <a:ext cx="55563" cy="38100"/>
              </a:xfrm>
              <a:custGeom>
                <a:avLst/>
                <a:gdLst>
                  <a:gd name="T0" fmla="*/ 14495 w 69"/>
                  <a:gd name="T1" fmla="*/ 9525 h 48"/>
                  <a:gd name="T2" fmla="*/ 14495 w 69"/>
                  <a:gd name="T3" fmla="*/ 9525 h 48"/>
                  <a:gd name="T4" fmla="*/ 14495 w 69"/>
                  <a:gd name="T5" fmla="*/ 0 h 48"/>
                  <a:gd name="T6" fmla="*/ 7247 w 69"/>
                  <a:gd name="T7" fmla="*/ 0 h 48"/>
                  <a:gd name="T8" fmla="*/ 10468 w 69"/>
                  <a:gd name="T9" fmla="*/ 5556 h 48"/>
                  <a:gd name="T10" fmla="*/ 0 w 69"/>
                  <a:gd name="T11" fmla="*/ 9525 h 48"/>
                  <a:gd name="T12" fmla="*/ 4026 w 69"/>
                  <a:gd name="T13" fmla="*/ 9525 h 48"/>
                  <a:gd name="T14" fmla="*/ 14495 w 69"/>
                  <a:gd name="T15" fmla="*/ 9525 h 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9"/>
                  <a:gd name="T25" fmla="*/ 0 h 48"/>
                  <a:gd name="T26" fmla="*/ 69 w 69"/>
                  <a:gd name="T27" fmla="*/ 48 h 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9" h="48">
                    <a:moveTo>
                      <a:pt x="69" y="48"/>
                    </a:moveTo>
                    <a:lnTo>
                      <a:pt x="69" y="48"/>
                    </a:lnTo>
                    <a:lnTo>
                      <a:pt x="69" y="0"/>
                    </a:lnTo>
                    <a:lnTo>
                      <a:pt x="35" y="0"/>
                    </a:lnTo>
                    <a:lnTo>
                      <a:pt x="52" y="31"/>
                    </a:lnTo>
                    <a:lnTo>
                      <a:pt x="0" y="48"/>
                    </a:lnTo>
                    <a:lnTo>
                      <a:pt x="18" y="48"/>
                    </a:lnTo>
                    <a:lnTo>
                      <a:pt x="69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13" name="Freeform 47">
                <a:extLst>
                  <a:ext uri="{FF2B5EF4-FFF2-40B4-BE49-F238E27FC236}">
                    <a16:creationId xmlns:a16="http://schemas.microsoft.com/office/drawing/2014/main" id="{41804FB6-356B-8F4A-898E-623B609E5F3F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3375025" y="4427538"/>
                <a:ext cx="12700" cy="12700"/>
              </a:xfrm>
              <a:custGeom>
                <a:avLst/>
                <a:gdLst>
                  <a:gd name="T0" fmla="*/ 0 w 17"/>
                  <a:gd name="T1" fmla="*/ 3387 h 15"/>
                  <a:gd name="T2" fmla="*/ 0 w 17"/>
                  <a:gd name="T3" fmla="*/ 3387 h 15"/>
                  <a:gd name="T4" fmla="*/ 2988 w 17"/>
                  <a:gd name="T5" fmla="*/ 3387 h 15"/>
                  <a:gd name="T6" fmla="*/ 2988 w 17"/>
                  <a:gd name="T7" fmla="*/ 0 h 15"/>
                  <a:gd name="T8" fmla="*/ 0 w 17"/>
                  <a:gd name="T9" fmla="*/ 0 h 15"/>
                  <a:gd name="T10" fmla="*/ 0 w 17"/>
                  <a:gd name="T11" fmla="*/ 3387 h 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7"/>
                  <a:gd name="T19" fmla="*/ 0 h 15"/>
                  <a:gd name="T20" fmla="*/ 17 w 17"/>
                  <a:gd name="T21" fmla="*/ 15 h 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7" h="15">
                    <a:moveTo>
                      <a:pt x="0" y="15"/>
                    </a:moveTo>
                    <a:lnTo>
                      <a:pt x="0" y="15"/>
                    </a:lnTo>
                    <a:lnTo>
                      <a:pt x="17" y="15"/>
                    </a:lnTo>
                    <a:lnTo>
                      <a:pt x="17" y="0"/>
                    </a:lnTo>
                    <a:lnTo>
                      <a:pt x="0" y="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14" name="Freeform 48">
                <a:extLst>
                  <a:ext uri="{FF2B5EF4-FFF2-40B4-BE49-F238E27FC236}">
                    <a16:creationId xmlns:a16="http://schemas.microsoft.com/office/drawing/2014/main" id="{221E5500-97AB-6949-9DD9-69CCB93A241A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3016250" y="4262438"/>
                <a:ext cx="41275" cy="25400"/>
              </a:xfrm>
              <a:custGeom>
                <a:avLst/>
                <a:gdLst>
                  <a:gd name="T0" fmla="*/ 0 w 51"/>
                  <a:gd name="T1" fmla="*/ 3175 h 32"/>
                  <a:gd name="T2" fmla="*/ 0 w 51"/>
                  <a:gd name="T3" fmla="*/ 3175 h 32"/>
                  <a:gd name="T4" fmla="*/ 7284 w 51"/>
                  <a:gd name="T5" fmla="*/ 6350 h 32"/>
                  <a:gd name="T6" fmla="*/ 10521 w 51"/>
                  <a:gd name="T7" fmla="*/ 3175 h 32"/>
                  <a:gd name="T8" fmla="*/ 4047 w 51"/>
                  <a:gd name="T9" fmla="*/ 0 h 32"/>
                  <a:gd name="T10" fmla="*/ 0 w 51"/>
                  <a:gd name="T11" fmla="*/ 3175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1"/>
                  <a:gd name="T19" fmla="*/ 0 h 32"/>
                  <a:gd name="T20" fmla="*/ 51 w 51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1" h="32">
                    <a:moveTo>
                      <a:pt x="0" y="17"/>
                    </a:moveTo>
                    <a:lnTo>
                      <a:pt x="0" y="17"/>
                    </a:lnTo>
                    <a:lnTo>
                      <a:pt x="34" y="32"/>
                    </a:lnTo>
                    <a:lnTo>
                      <a:pt x="51" y="17"/>
                    </a:lnTo>
                    <a:lnTo>
                      <a:pt x="17" y="0"/>
                    </a:lnTo>
                    <a:lnTo>
                      <a:pt x="0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15" name="Freeform 49">
                <a:extLst>
                  <a:ext uri="{FF2B5EF4-FFF2-40B4-BE49-F238E27FC236}">
                    <a16:creationId xmlns:a16="http://schemas.microsoft.com/office/drawing/2014/main" id="{EED87B48-5F0C-5F4D-8EA2-4634FF93FF9E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2879725" y="4160838"/>
                <a:ext cx="219075" cy="76200"/>
              </a:xfrm>
              <a:custGeom>
                <a:avLst/>
                <a:gdLst>
                  <a:gd name="T0" fmla="*/ 0 w 276"/>
                  <a:gd name="T1" fmla="*/ 9525 h 96"/>
                  <a:gd name="T2" fmla="*/ 0 w 276"/>
                  <a:gd name="T3" fmla="*/ 9525 h 96"/>
                  <a:gd name="T4" fmla="*/ 3175 w 276"/>
                  <a:gd name="T5" fmla="*/ 9525 h 96"/>
                  <a:gd name="T6" fmla="*/ 10319 w 276"/>
                  <a:gd name="T7" fmla="*/ 2381 h 96"/>
                  <a:gd name="T8" fmla="*/ 16669 w 276"/>
                  <a:gd name="T9" fmla="*/ 5556 h 96"/>
                  <a:gd name="T10" fmla="*/ 13494 w 276"/>
                  <a:gd name="T11" fmla="*/ 5556 h 96"/>
                  <a:gd name="T12" fmla="*/ 16669 w 276"/>
                  <a:gd name="T13" fmla="*/ 5556 h 96"/>
                  <a:gd name="T14" fmla="*/ 30162 w 276"/>
                  <a:gd name="T15" fmla="*/ 9525 h 96"/>
                  <a:gd name="T16" fmla="*/ 34131 w 276"/>
                  <a:gd name="T17" fmla="*/ 15875 h 96"/>
                  <a:gd name="T18" fmla="*/ 40481 w 276"/>
                  <a:gd name="T19" fmla="*/ 15875 h 96"/>
                  <a:gd name="T20" fmla="*/ 37306 w 276"/>
                  <a:gd name="T21" fmla="*/ 19050 h 96"/>
                  <a:gd name="T22" fmla="*/ 54769 w 276"/>
                  <a:gd name="T23" fmla="*/ 19050 h 96"/>
                  <a:gd name="T24" fmla="*/ 51594 w 276"/>
                  <a:gd name="T25" fmla="*/ 15875 h 96"/>
                  <a:gd name="T26" fmla="*/ 47625 w 276"/>
                  <a:gd name="T27" fmla="*/ 15875 h 96"/>
                  <a:gd name="T28" fmla="*/ 47625 w 276"/>
                  <a:gd name="T29" fmla="*/ 11906 h 96"/>
                  <a:gd name="T30" fmla="*/ 34131 w 276"/>
                  <a:gd name="T31" fmla="*/ 5556 h 96"/>
                  <a:gd name="T32" fmla="*/ 16669 w 276"/>
                  <a:gd name="T33" fmla="*/ 0 h 96"/>
                  <a:gd name="T34" fmla="*/ 7144 w 276"/>
                  <a:gd name="T35" fmla="*/ 2381 h 96"/>
                  <a:gd name="T36" fmla="*/ 0 w 276"/>
                  <a:gd name="T37" fmla="*/ 9525 h 9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76"/>
                  <a:gd name="T58" fmla="*/ 0 h 96"/>
                  <a:gd name="T59" fmla="*/ 276 w 276"/>
                  <a:gd name="T60" fmla="*/ 96 h 9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76" h="96">
                    <a:moveTo>
                      <a:pt x="0" y="48"/>
                    </a:moveTo>
                    <a:lnTo>
                      <a:pt x="0" y="48"/>
                    </a:lnTo>
                    <a:lnTo>
                      <a:pt x="17" y="48"/>
                    </a:lnTo>
                    <a:lnTo>
                      <a:pt x="52" y="15"/>
                    </a:lnTo>
                    <a:lnTo>
                      <a:pt x="86" y="31"/>
                    </a:lnTo>
                    <a:lnTo>
                      <a:pt x="69" y="31"/>
                    </a:lnTo>
                    <a:lnTo>
                      <a:pt x="86" y="31"/>
                    </a:lnTo>
                    <a:lnTo>
                      <a:pt x="155" y="48"/>
                    </a:lnTo>
                    <a:lnTo>
                      <a:pt x="173" y="79"/>
                    </a:lnTo>
                    <a:lnTo>
                      <a:pt x="207" y="79"/>
                    </a:lnTo>
                    <a:lnTo>
                      <a:pt x="190" y="96"/>
                    </a:lnTo>
                    <a:lnTo>
                      <a:pt x="276" y="96"/>
                    </a:lnTo>
                    <a:lnTo>
                      <a:pt x="259" y="79"/>
                    </a:lnTo>
                    <a:lnTo>
                      <a:pt x="242" y="79"/>
                    </a:lnTo>
                    <a:lnTo>
                      <a:pt x="242" y="63"/>
                    </a:lnTo>
                    <a:lnTo>
                      <a:pt x="173" y="31"/>
                    </a:lnTo>
                    <a:lnTo>
                      <a:pt x="86" y="0"/>
                    </a:lnTo>
                    <a:lnTo>
                      <a:pt x="34" y="15"/>
                    </a:lnTo>
                    <a:lnTo>
                      <a:pt x="0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16" name="Freeform 50">
                <a:extLst>
                  <a:ext uri="{FF2B5EF4-FFF2-40B4-BE49-F238E27FC236}">
                    <a16:creationId xmlns:a16="http://schemas.microsoft.com/office/drawing/2014/main" id="{96740F57-085A-0743-98C3-B52B095F1272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3265488" y="4262438"/>
                <a:ext cx="25400" cy="12700"/>
              </a:xfrm>
              <a:custGeom>
                <a:avLst/>
                <a:gdLst>
                  <a:gd name="T0" fmla="*/ 0 w 33"/>
                  <a:gd name="T1" fmla="*/ 2988 h 17"/>
                  <a:gd name="T2" fmla="*/ 0 w 33"/>
                  <a:gd name="T3" fmla="*/ 2988 h 17"/>
                  <a:gd name="T4" fmla="*/ 6158 w 33"/>
                  <a:gd name="T5" fmla="*/ 2988 h 17"/>
                  <a:gd name="T6" fmla="*/ 0 w 33"/>
                  <a:gd name="T7" fmla="*/ 0 h 17"/>
                  <a:gd name="T8" fmla="*/ 0 w 33"/>
                  <a:gd name="T9" fmla="*/ 2988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"/>
                  <a:gd name="T16" fmla="*/ 0 h 17"/>
                  <a:gd name="T17" fmla="*/ 33 w 33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" h="17">
                    <a:moveTo>
                      <a:pt x="0" y="17"/>
                    </a:moveTo>
                    <a:lnTo>
                      <a:pt x="0" y="17"/>
                    </a:lnTo>
                    <a:lnTo>
                      <a:pt x="33" y="17"/>
                    </a:lnTo>
                    <a:lnTo>
                      <a:pt x="0" y="0"/>
                    </a:lnTo>
                    <a:lnTo>
                      <a:pt x="0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17" name="Freeform 51">
                <a:extLst>
                  <a:ext uri="{FF2B5EF4-FFF2-40B4-BE49-F238E27FC236}">
                    <a16:creationId xmlns:a16="http://schemas.microsoft.com/office/drawing/2014/main" id="{65D1DB42-9778-4841-BED6-FA27E0D81096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3375025" y="4313238"/>
                <a:ext cx="12700" cy="12700"/>
              </a:xfrm>
              <a:custGeom>
                <a:avLst/>
                <a:gdLst>
                  <a:gd name="T0" fmla="*/ 0 w 17"/>
                  <a:gd name="T1" fmla="*/ 0 h 15"/>
                  <a:gd name="T2" fmla="*/ 0 w 17"/>
                  <a:gd name="T3" fmla="*/ 0 h 15"/>
                  <a:gd name="T4" fmla="*/ 0 w 17"/>
                  <a:gd name="T5" fmla="*/ 3387 h 15"/>
                  <a:gd name="T6" fmla="*/ 2988 w 17"/>
                  <a:gd name="T7" fmla="*/ 0 h 15"/>
                  <a:gd name="T8" fmla="*/ 0 w 17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15"/>
                  <a:gd name="T17" fmla="*/ 17 w 17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15">
                    <a:moveTo>
                      <a:pt x="0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18" name="Freeform 52">
                <a:extLst>
                  <a:ext uri="{FF2B5EF4-FFF2-40B4-BE49-F238E27FC236}">
                    <a16:creationId xmlns:a16="http://schemas.microsoft.com/office/drawing/2014/main" id="{8AE71CA9-E0CB-0F45-8A5B-AD7760E5FC0C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3016250" y="4122738"/>
                <a:ext cx="14288" cy="38100"/>
              </a:xfrm>
              <a:custGeom>
                <a:avLst/>
                <a:gdLst>
                  <a:gd name="T0" fmla="*/ 0 w 17"/>
                  <a:gd name="T1" fmla="*/ 0 h 48"/>
                  <a:gd name="T2" fmla="*/ 0 w 17"/>
                  <a:gd name="T3" fmla="*/ 0 h 48"/>
                  <a:gd name="T4" fmla="*/ 0 w 17"/>
                  <a:gd name="T5" fmla="*/ 2381 h 48"/>
                  <a:gd name="T6" fmla="*/ 4202 w 17"/>
                  <a:gd name="T7" fmla="*/ 9525 h 48"/>
                  <a:gd name="T8" fmla="*/ 4202 w 17"/>
                  <a:gd name="T9" fmla="*/ 2381 h 48"/>
                  <a:gd name="T10" fmla="*/ 0 w 17"/>
                  <a:gd name="T11" fmla="*/ 0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7"/>
                  <a:gd name="T19" fmla="*/ 0 h 48"/>
                  <a:gd name="T20" fmla="*/ 17 w 17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7" h="48">
                    <a:moveTo>
                      <a:pt x="0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17" y="48"/>
                    </a:lnTo>
                    <a:lnTo>
                      <a:pt x="17" y="15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19" name="Freeform 53">
                <a:extLst>
                  <a:ext uri="{FF2B5EF4-FFF2-40B4-BE49-F238E27FC236}">
                    <a16:creationId xmlns:a16="http://schemas.microsoft.com/office/drawing/2014/main" id="{C95C1C6C-D365-684D-A184-588AAFDF6650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3113088" y="3743326"/>
                <a:ext cx="41275" cy="11113"/>
              </a:xfrm>
              <a:custGeom>
                <a:avLst/>
                <a:gdLst>
                  <a:gd name="T0" fmla="*/ 0 w 51"/>
                  <a:gd name="T1" fmla="*/ 2084 h 16"/>
                  <a:gd name="T2" fmla="*/ 10521 w 51"/>
                  <a:gd name="T3" fmla="*/ 0 h 16"/>
                  <a:gd name="T4" fmla="*/ 7284 w 51"/>
                  <a:gd name="T5" fmla="*/ 0 h 16"/>
                  <a:gd name="T6" fmla="*/ 0 w 51"/>
                  <a:gd name="T7" fmla="*/ 2084 h 1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1"/>
                  <a:gd name="T13" fmla="*/ 0 h 16"/>
                  <a:gd name="T14" fmla="*/ 51 w 51"/>
                  <a:gd name="T15" fmla="*/ 16 h 1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1" h="16">
                    <a:moveTo>
                      <a:pt x="0" y="16"/>
                    </a:moveTo>
                    <a:lnTo>
                      <a:pt x="51" y="0"/>
                    </a:lnTo>
                    <a:lnTo>
                      <a:pt x="34" y="0"/>
                    </a:lnTo>
                    <a:lnTo>
                      <a:pt x="0" y="1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20" name="Freeform 54">
                <a:extLst>
                  <a:ext uri="{FF2B5EF4-FFF2-40B4-BE49-F238E27FC236}">
                    <a16:creationId xmlns:a16="http://schemas.microsoft.com/office/drawing/2014/main" id="{7BEFD60C-CFB9-B342-BF20-1FFA6CCA4EBD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317875" y="3487738"/>
                <a:ext cx="57150" cy="26988"/>
              </a:xfrm>
              <a:custGeom>
                <a:avLst/>
                <a:gdLst>
                  <a:gd name="T0" fmla="*/ 0 w 71"/>
                  <a:gd name="T1" fmla="*/ 0 h 32"/>
                  <a:gd name="T2" fmla="*/ 0 w 71"/>
                  <a:gd name="T3" fmla="*/ 0 h 32"/>
                  <a:gd name="T4" fmla="*/ 7244 w 71"/>
                  <a:gd name="T5" fmla="*/ 7590 h 32"/>
                  <a:gd name="T6" fmla="*/ 14489 w 71"/>
                  <a:gd name="T7" fmla="*/ 7590 h 32"/>
                  <a:gd name="T8" fmla="*/ 7244 w 71"/>
                  <a:gd name="T9" fmla="*/ 3374 h 32"/>
                  <a:gd name="T10" fmla="*/ 0 w 71"/>
                  <a:gd name="T11" fmla="*/ 0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1"/>
                  <a:gd name="T19" fmla="*/ 0 h 32"/>
                  <a:gd name="T20" fmla="*/ 71 w 71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1" h="32">
                    <a:moveTo>
                      <a:pt x="0" y="0"/>
                    </a:moveTo>
                    <a:lnTo>
                      <a:pt x="0" y="0"/>
                    </a:lnTo>
                    <a:lnTo>
                      <a:pt x="34" y="32"/>
                    </a:lnTo>
                    <a:lnTo>
                      <a:pt x="71" y="32"/>
                    </a:lnTo>
                    <a:lnTo>
                      <a:pt x="34" y="15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21" name="Freeform 55">
                <a:extLst>
                  <a:ext uri="{FF2B5EF4-FFF2-40B4-BE49-F238E27FC236}">
                    <a16:creationId xmlns:a16="http://schemas.microsoft.com/office/drawing/2014/main" id="{40CB341B-F71B-AC4B-8DC2-3A37CB26F776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3317875" y="3576638"/>
                <a:ext cx="57150" cy="38100"/>
              </a:xfrm>
              <a:custGeom>
                <a:avLst/>
                <a:gdLst>
                  <a:gd name="T0" fmla="*/ 0 w 71"/>
                  <a:gd name="T1" fmla="*/ 3969 h 48"/>
                  <a:gd name="T2" fmla="*/ 0 w 71"/>
                  <a:gd name="T3" fmla="*/ 3969 h 48"/>
                  <a:gd name="T4" fmla="*/ 10464 w 71"/>
                  <a:gd name="T5" fmla="*/ 9525 h 48"/>
                  <a:gd name="T6" fmla="*/ 10464 w 71"/>
                  <a:gd name="T7" fmla="*/ 7144 h 48"/>
                  <a:gd name="T8" fmla="*/ 14489 w 71"/>
                  <a:gd name="T9" fmla="*/ 3969 h 48"/>
                  <a:gd name="T10" fmla="*/ 7244 w 71"/>
                  <a:gd name="T11" fmla="*/ 3969 h 48"/>
                  <a:gd name="T12" fmla="*/ 4025 w 71"/>
                  <a:gd name="T13" fmla="*/ 3969 h 48"/>
                  <a:gd name="T14" fmla="*/ 4025 w 71"/>
                  <a:gd name="T15" fmla="*/ 0 h 48"/>
                  <a:gd name="T16" fmla="*/ 0 w 71"/>
                  <a:gd name="T17" fmla="*/ 3969 h 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1"/>
                  <a:gd name="T28" fmla="*/ 0 h 48"/>
                  <a:gd name="T29" fmla="*/ 71 w 71"/>
                  <a:gd name="T30" fmla="*/ 48 h 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1" h="48">
                    <a:moveTo>
                      <a:pt x="0" y="17"/>
                    </a:moveTo>
                    <a:lnTo>
                      <a:pt x="0" y="17"/>
                    </a:lnTo>
                    <a:lnTo>
                      <a:pt x="52" y="48"/>
                    </a:lnTo>
                    <a:lnTo>
                      <a:pt x="52" y="33"/>
                    </a:lnTo>
                    <a:lnTo>
                      <a:pt x="71" y="17"/>
                    </a:lnTo>
                    <a:lnTo>
                      <a:pt x="34" y="17"/>
                    </a:lnTo>
                    <a:lnTo>
                      <a:pt x="17" y="17"/>
                    </a:lnTo>
                    <a:lnTo>
                      <a:pt x="17" y="0"/>
                    </a:lnTo>
                    <a:lnTo>
                      <a:pt x="0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22" name="Freeform 56">
                <a:extLst>
                  <a:ext uri="{FF2B5EF4-FFF2-40B4-BE49-F238E27FC236}">
                    <a16:creationId xmlns:a16="http://schemas.microsoft.com/office/drawing/2014/main" id="{D4C498AC-752D-3F47-BC5A-FDF8475C5A1A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3427413" y="3438526"/>
                <a:ext cx="139700" cy="152400"/>
              </a:xfrm>
              <a:custGeom>
                <a:avLst/>
                <a:gdLst>
                  <a:gd name="T0" fmla="*/ 0 w 175"/>
                  <a:gd name="T1" fmla="*/ 28575 h 192"/>
                  <a:gd name="T2" fmla="*/ 0 w 175"/>
                  <a:gd name="T3" fmla="*/ 28575 h 192"/>
                  <a:gd name="T4" fmla="*/ 0 w 175"/>
                  <a:gd name="T5" fmla="*/ 31750 h 192"/>
                  <a:gd name="T6" fmla="*/ 3991 w 175"/>
                  <a:gd name="T7" fmla="*/ 31750 h 192"/>
                  <a:gd name="T8" fmla="*/ 20755 w 175"/>
                  <a:gd name="T9" fmla="*/ 31750 h 192"/>
                  <a:gd name="T10" fmla="*/ 20755 w 175"/>
                  <a:gd name="T11" fmla="*/ 34925 h 192"/>
                  <a:gd name="T12" fmla="*/ 17562 w 175"/>
                  <a:gd name="T13" fmla="*/ 34925 h 192"/>
                  <a:gd name="T14" fmla="*/ 20755 w 175"/>
                  <a:gd name="T15" fmla="*/ 34925 h 192"/>
                  <a:gd name="T16" fmla="*/ 24747 w 175"/>
                  <a:gd name="T17" fmla="*/ 31750 h 192"/>
                  <a:gd name="T18" fmla="*/ 27940 w 175"/>
                  <a:gd name="T19" fmla="*/ 31750 h 192"/>
                  <a:gd name="T20" fmla="*/ 27940 w 175"/>
                  <a:gd name="T21" fmla="*/ 34925 h 192"/>
                  <a:gd name="T22" fmla="*/ 31931 w 175"/>
                  <a:gd name="T23" fmla="*/ 34925 h 192"/>
                  <a:gd name="T24" fmla="*/ 31931 w 175"/>
                  <a:gd name="T25" fmla="*/ 38100 h 192"/>
                  <a:gd name="T26" fmla="*/ 35125 w 175"/>
                  <a:gd name="T27" fmla="*/ 38100 h 192"/>
                  <a:gd name="T28" fmla="*/ 35125 w 175"/>
                  <a:gd name="T29" fmla="*/ 31750 h 192"/>
                  <a:gd name="T30" fmla="*/ 31931 w 175"/>
                  <a:gd name="T31" fmla="*/ 31750 h 192"/>
                  <a:gd name="T32" fmla="*/ 35125 w 175"/>
                  <a:gd name="T33" fmla="*/ 28575 h 192"/>
                  <a:gd name="T34" fmla="*/ 31931 w 175"/>
                  <a:gd name="T35" fmla="*/ 31750 h 192"/>
                  <a:gd name="T36" fmla="*/ 27940 w 175"/>
                  <a:gd name="T37" fmla="*/ 28575 h 192"/>
                  <a:gd name="T38" fmla="*/ 35125 w 175"/>
                  <a:gd name="T39" fmla="*/ 22225 h 192"/>
                  <a:gd name="T40" fmla="*/ 31931 w 175"/>
                  <a:gd name="T41" fmla="*/ 24606 h 192"/>
                  <a:gd name="T42" fmla="*/ 27940 w 175"/>
                  <a:gd name="T43" fmla="*/ 22225 h 192"/>
                  <a:gd name="T44" fmla="*/ 31931 w 175"/>
                  <a:gd name="T45" fmla="*/ 19050 h 192"/>
                  <a:gd name="T46" fmla="*/ 20755 w 175"/>
                  <a:gd name="T47" fmla="*/ 19050 h 192"/>
                  <a:gd name="T48" fmla="*/ 17562 w 175"/>
                  <a:gd name="T49" fmla="*/ 15875 h 192"/>
                  <a:gd name="T50" fmla="*/ 20755 w 175"/>
                  <a:gd name="T51" fmla="*/ 12700 h 192"/>
                  <a:gd name="T52" fmla="*/ 17562 w 175"/>
                  <a:gd name="T53" fmla="*/ 12700 h 192"/>
                  <a:gd name="T54" fmla="*/ 14369 w 175"/>
                  <a:gd name="T55" fmla="*/ 15875 h 192"/>
                  <a:gd name="T56" fmla="*/ 20755 w 175"/>
                  <a:gd name="T57" fmla="*/ 0 h 192"/>
                  <a:gd name="T58" fmla="*/ 14369 w 175"/>
                  <a:gd name="T59" fmla="*/ 3175 h 192"/>
                  <a:gd name="T60" fmla="*/ 3991 w 175"/>
                  <a:gd name="T61" fmla="*/ 22225 h 192"/>
                  <a:gd name="T62" fmla="*/ 3991 w 175"/>
                  <a:gd name="T63" fmla="*/ 24606 h 192"/>
                  <a:gd name="T64" fmla="*/ 0 w 175"/>
                  <a:gd name="T65" fmla="*/ 28575 h 19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75"/>
                  <a:gd name="T100" fmla="*/ 0 h 192"/>
                  <a:gd name="T101" fmla="*/ 175 w 175"/>
                  <a:gd name="T102" fmla="*/ 192 h 19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75" h="192">
                    <a:moveTo>
                      <a:pt x="0" y="144"/>
                    </a:moveTo>
                    <a:lnTo>
                      <a:pt x="0" y="144"/>
                    </a:lnTo>
                    <a:lnTo>
                      <a:pt x="0" y="160"/>
                    </a:lnTo>
                    <a:lnTo>
                      <a:pt x="17" y="160"/>
                    </a:lnTo>
                    <a:lnTo>
                      <a:pt x="104" y="160"/>
                    </a:lnTo>
                    <a:lnTo>
                      <a:pt x="104" y="175"/>
                    </a:lnTo>
                    <a:lnTo>
                      <a:pt x="86" y="175"/>
                    </a:lnTo>
                    <a:lnTo>
                      <a:pt x="104" y="175"/>
                    </a:lnTo>
                    <a:lnTo>
                      <a:pt x="121" y="160"/>
                    </a:lnTo>
                    <a:lnTo>
                      <a:pt x="140" y="160"/>
                    </a:lnTo>
                    <a:lnTo>
                      <a:pt x="140" y="175"/>
                    </a:lnTo>
                    <a:lnTo>
                      <a:pt x="157" y="175"/>
                    </a:lnTo>
                    <a:lnTo>
                      <a:pt x="157" y="192"/>
                    </a:lnTo>
                    <a:lnTo>
                      <a:pt x="175" y="192"/>
                    </a:lnTo>
                    <a:lnTo>
                      <a:pt x="175" y="160"/>
                    </a:lnTo>
                    <a:lnTo>
                      <a:pt x="157" y="160"/>
                    </a:lnTo>
                    <a:lnTo>
                      <a:pt x="175" y="144"/>
                    </a:lnTo>
                    <a:lnTo>
                      <a:pt x="157" y="160"/>
                    </a:lnTo>
                    <a:lnTo>
                      <a:pt x="140" y="144"/>
                    </a:lnTo>
                    <a:lnTo>
                      <a:pt x="175" y="112"/>
                    </a:lnTo>
                    <a:lnTo>
                      <a:pt x="157" y="127"/>
                    </a:lnTo>
                    <a:lnTo>
                      <a:pt x="140" y="112"/>
                    </a:lnTo>
                    <a:lnTo>
                      <a:pt x="157" y="96"/>
                    </a:lnTo>
                    <a:lnTo>
                      <a:pt x="104" y="96"/>
                    </a:lnTo>
                    <a:lnTo>
                      <a:pt x="86" y="79"/>
                    </a:lnTo>
                    <a:lnTo>
                      <a:pt x="104" y="64"/>
                    </a:lnTo>
                    <a:lnTo>
                      <a:pt x="86" y="64"/>
                    </a:lnTo>
                    <a:lnTo>
                      <a:pt x="69" y="79"/>
                    </a:lnTo>
                    <a:lnTo>
                      <a:pt x="104" y="0"/>
                    </a:lnTo>
                    <a:lnTo>
                      <a:pt x="69" y="16"/>
                    </a:lnTo>
                    <a:lnTo>
                      <a:pt x="17" y="112"/>
                    </a:lnTo>
                    <a:lnTo>
                      <a:pt x="17" y="127"/>
                    </a:lnTo>
                    <a:lnTo>
                      <a:pt x="0" y="144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23" name="Line 57">
                <a:extLst>
                  <a:ext uri="{FF2B5EF4-FFF2-40B4-BE49-F238E27FC236}">
                    <a16:creationId xmlns:a16="http://schemas.microsoft.com/office/drawing/2014/main" id="{4566D5C0-BDC2-284D-9ABB-1C06FF4E3ED1}"/>
                  </a:ext>
                </a:extLst>
              </p:cNvPr>
              <p:cNvSpPr>
                <a:spLocks noChangeShapeType="1"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3394075" y="4357688"/>
                <a:ext cx="14288" cy="127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24" name="Line 58">
                <a:extLst>
                  <a:ext uri="{FF2B5EF4-FFF2-40B4-BE49-F238E27FC236}">
                    <a16:creationId xmlns:a16="http://schemas.microsoft.com/office/drawing/2014/main" id="{412837AF-9F7F-9440-AF95-782FA4BFC5DB}"/>
                  </a:ext>
                </a:extLst>
              </p:cNvPr>
              <p:cNvSpPr>
                <a:spLocks noChangeShapeType="1"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008313" y="4103688"/>
                <a:ext cx="30163" cy="127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25" name="Freeform 59">
                <a:extLst>
                  <a:ext uri="{FF2B5EF4-FFF2-40B4-BE49-F238E27FC236}">
                    <a16:creationId xmlns:a16="http://schemas.microsoft.com/office/drawing/2014/main" id="{13CC42DB-2747-E54C-9DEA-8E3319967283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030538" y="4084638"/>
                <a:ext cx="14288" cy="25400"/>
              </a:xfrm>
              <a:custGeom>
                <a:avLst/>
                <a:gdLst>
                  <a:gd name="T0" fmla="*/ 0 w 17"/>
                  <a:gd name="T1" fmla="*/ 0 h 31"/>
                  <a:gd name="T2" fmla="*/ 0 w 17"/>
                  <a:gd name="T3" fmla="*/ 0 h 31"/>
                  <a:gd name="T4" fmla="*/ 4202 w 17"/>
                  <a:gd name="T5" fmla="*/ 3277 h 31"/>
                  <a:gd name="T6" fmla="*/ 4202 w 17"/>
                  <a:gd name="T7" fmla="*/ 6555 h 3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7"/>
                  <a:gd name="T13" fmla="*/ 0 h 31"/>
                  <a:gd name="T14" fmla="*/ 17 w 17"/>
                  <a:gd name="T15" fmla="*/ 31 h 3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7" h="31">
                    <a:moveTo>
                      <a:pt x="0" y="0"/>
                    </a:moveTo>
                    <a:lnTo>
                      <a:pt x="0" y="0"/>
                    </a:lnTo>
                    <a:lnTo>
                      <a:pt x="17" y="15"/>
                    </a:lnTo>
                    <a:lnTo>
                      <a:pt x="17" y="31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26" name="Freeform 60">
                <a:extLst>
                  <a:ext uri="{FF2B5EF4-FFF2-40B4-BE49-F238E27FC236}">
                    <a16:creationId xmlns:a16="http://schemas.microsoft.com/office/drawing/2014/main" id="{7411D7B5-2F3B-9A4C-B0D8-55D4934EB70F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3044825" y="4110038"/>
                <a:ext cx="12700" cy="25400"/>
              </a:xfrm>
              <a:custGeom>
                <a:avLst/>
                <a:gdLst>
                  <a:gd name="T0" fmla="*/ 0 w 17"/>
                  <a:gd name="T1" fmla="*/ 0 h 32"/>
                  <a:gd name="T2" fmla="*/ 0 w 17"/>
                  <a:gd name="T3" fmla="*/ 0 h 32"/>
                  <a:gd name="T4" fmla="*/ 2988 w 17"/>
                  <a:gd name="T5" fmla="*/ 3175 h 32"/>
                  <a:gd name="T6" fmla="*/ 2988 w 17"/>
                  <a:gd name="T7" fmla="*/ 6350 h 3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7"/>
                  <a:gd name="T13" fmla="*/ 0 h 32"/>
                  <a:gd name="T14" fmla="*/ 17 w 17"/>
                  <a:gd name="T15" fmla="*/ 32 h 3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7" h="32">
                    <a:moveTo>
                      <a:pt x="0" y="0"/>
                    </a:moveTo>
                    <a:lnTo>
                      <a:pt x="0" y="0"/>
                    </a:lnTo>
                    <a:lnTo>
                      <a:pt x="17" y="17"/>
                    </a:lnTo>
                    <a:lnTo>
                      <a:pt x="17" y="32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27" name="Freeform 61">
                <a:extLst>
                  <a:ext uri="{FF2B5EF4-FFF2-40B4-BE49-F238E27FC236}">
                    <a16:creationId xmlns:a16="http://schemas.microsoft.com/office/drawing/2014/main" id="{59E9F6D3-E6FF-7143-822C-693847D0A3F5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3098800" y="4173538"/>
                <a:ext cx="14288" cy="12700"/>
              </a:xfrm>
              <a:custGeom>
                <a:avLst/>
                <a:gdLst>
                  <a:gd name="T0" fmla="*/ 0 w 18"/>
                  <a:gd name="T1" fmla="*/ 0 h 16"/>
                  <a:gd name="T2" fmla="*/ 0 w 18"/>
                  <a:gd name="T3" fmla="*/ 0 h 16"/>
                  <a:gd name="T4" fmla="*/ 3969 w 18"/>
                  <a:gd name="T5" fmla="*/ 3175 h 16"/>
                  <a:gd name="T6" fmla="*/ 0 w 18"/>
                  <a:gd name="T7" fmla="*/ 3175 h 1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"/>
                  <a:gd name="T13" fmla="*/ 0 h 16"/>
                  <a:gd name="T14" fmla="*/ 18 w 18"/>
                  <a:gd name="T15" fmla="*/ 16 h 1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" h="16">
                    <a:moveTo>
                      <a:pt x="0" y="0"/>
                    </a:moveTo>
                    <a:lnTo>
                      <a:pt x="0" y="0"/>
                    </a:lnTo>
                    <a:lnTo>
                      <a:pt x="18" y="16"/>
                    </a:lnTo>
                    <a:lnTo>
                      <a:pt x="0" y="1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28" name="Freeform 62">
                <a:extLst>
                  <a:ext uri="{FF2B5EF4-FFF2-40B4-BE49-F238E27FC236}">
                    <a16:creationId xmlns:a16="http://schemas.microsoft.com/office/drawing/2014/main" id="{5F790F7C-2541-5044-9891-C6995A8880A6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3141663" y="4198938"/>
                <a:ext cx="25400" cy="0"/>
              </a:xfrm>
              <a:custGeom>
                <a:avLst/>
                <a:gdLst>
                  <a:gd name="T0" fmla="*/ 0 w 33"/>
                  <a:gd name="T1" fmla="*/ 0 w 33"/>
                  <a:gd name="T2" fmla="*/ 2309 w 33"/>
                  <a:gd name="T3" fmla="*/ 6158 w 33"/>
                  <a:gd name="T4" fmla="*/ 0 60000 65536"/>
                  <a:gd name="T5" fmla="*/ 0 60000 65536"/>
                  <a:gd name="T6" fmla="*/ 0 60000 65536"/>
                  <a:gd name="T7" fmla="*/ 0 60000 65536"/>
                  <a:gd name="T8" fmla="*/ 0 w 33"/>
                  <a:gd name="T9" fmla="*/ 33 w 33"/>
                </a:gdLst>
                <a:ahLst/>
                <a:cxnLst>
                  <a:cxn ang="T4">
                    <a:pos x="T0" y="0"/>
                  </a:cxn>
                  <a:cxn ang="T5">
                    <a:pos x="T1" y="0"/>
                  </a:cxn>
                  <a:cxn ang="T6">
                    <a:pos x="T2" y="0"/>
                  </a:cxn>
                  <a:cxn ang="T7">
                    <a:pos x="T3" y="0"/>
                  </a:cxn>
                </a:cxnLst>
                <a:rect l="T8" t="0" r="T9" b="0"/>
                <a:pathLst>
                  <a:path w="33">
                    <a:moveTo>
                      <a:pt x="0" y="0"/>
                    </a:moveTo>
                    <a:lnTo>
                      <a:pt x="0" y="0"/>
                    </a:lnTo>
                    <a:lnTo>
                      <a:pt x="15" y="0"/>
                    </a:lnTo>
                    <a:lnTo>
                      <a:pt x="33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29" name="Line 63">
                <a:extLst>
                  <a:ext uri="{FF2B5EF4-FFF2-40B4-BE49-F238E27FC236}">
                    <a16:creationId xmlns:a16="http://schemas.microsoft.com/office/drawing/2014/main" id="{6368B425-39E7-954F-BA0E-5194019F9DFD}"/>
                  </a:ext>
                </a:extLst>
              </p:cNvPr>
              <p:cNvSpPr>
                <a:spLocks noChangeShapeType="1"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3079750" y="4154488"/>
                <a:ext cx="11113" cy="127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30" name="Line 64">
                <a:extLst>
                  <a:ext uri="{FF2B5EF4-FFF2-40B4-BE49-F238E27FC236}">
                    <a16:creationId xmlns:a16="http://schemas.microsoft.com/office/drawing/2014/main" id="{2ED1DF5C-7D61-604E-A805-ADD7BDDC9EDA}"/>
                  </a:ext>
                </a:extLst>
              </p:cNvPr>
              <p:cNvSpPr>
                <a:spLocks noChangeShapeType="1"/>
              </p:cNvSpPr>
              <p:nvPr>
                <p:custDataLst>
                  <p:tags r:id="rId92"/>
                </p:custDataLst>
              </p:nvPr>
            </p:nvSpPr>
            <p:spPr bwMode="auto">
              <a:xfrm flipV="1">
                <a:off x="3079750" y="3887788"/>
                <a:ext cx="11113" cy="381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31" name="Freeform 65">
                <a:extLst>
                  <a:ext uri="{FF2B5EF4-FFF2-40B4-BE49-F238E27FC236}">
                    <a16:creationId xmlns:a16="http://schemas.microsoft.com/office/drawing/2014/main" id="{0DFB5D4D-B185-EF49-BBCF-6CF0501BDAFA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2012950" y="3500438"/>
                <a:ext cx="1252538" cy="622300"/>
              </a:xfrm>
              <a:custGeom>
                <a:avLst/>
                <a:gdLst>
                  <a:gd name="T0" fmla="*/ 157956 w 1578"/>
                  <a:gd name="T1" fmla="*/ 3171 h 785"/>
                  <a:gd name="T2" fmla="*/ 171450 w 1578"/>
                  <a:gd name="T3" fmla="*/ 6342 h 785"/>
                  <a:gd name="T4" fmla="*/ 175419 w 1578"/>
                  <a:gd name="T5" fmla="*/ 22197 h 785"/>
                  <a:gd name="T6" fmla="*/ 196056 w 1578"/>
                  <a:gd name="T7" fmla="*/ 19026 h 785"/>
                  <a:gd name="T8" fmla="*/ 203200 w 1578"/>
                  <a:gd name="T9" fmla="*/ 22197 h 785"/>
                  <a:gd name="T10" fmla="*/ 220663 w 1578"/>
                  <a:gd name="T11" fmla="*/ 25368 h 785"/>
                  <a:gd name="T12" fmla="*/ 199231 w 1578"/>
                  <a:gd name="T13" fmla="*/ 38051 h 785"/>
                  <a:gd name="T14" fmla="*/ 199231 w 1578"/>
                  <a:gd name="T15" fmla="*/ 53906 h 785"/>
                  <a:gd name="T16" fmla="*/ 207169 w 1578"/>
                  <a:gd name="T17" fmla="*/ 53906 h 785"/>
                  <a:gd name="T18" fmla="*/ 213519 w 1578"/>
                  <a:gd name="T19" fmla="*/ 31710 h 785"/>
                  <a:gd name="T20" fmla="*/ 223838 w 1578"/>
                  <a:gd name="T21" fmla="*/ 38051 h 785"/>
                  <a:gd name="T22" fmla="*/ 227806 w 1578"/>
                  <a:gd name="T23" fmla="*/ 47564 h 785"/>
                  <a:gd name="T24" fmla="*/ 227806 w 1578"/>
                  <a:gd name="T25" fmla="*/ 57077 h 785"/>
                  <a:gd name="T26" fmla="*/ 247650 w 1578"/>
                  <a:gd name="T27" fmla="*/ 44393 h 785"/>
                  <a:gd name="T28" fmla="*/ 268288 w 1578"/>
                  <a:gd name="T29" fmla="*/ 34881 h 785"/>
                  <a:gd name="T30" fmla="*/ 300038 w 1578"/>
                  <a:gd name="T31" fmla="*/ 15855 h 785"/>
                  <a:gd name="T32" fmla="*/ 306388 w 1578"/>
                  <a:gd name="T33" fmla="*/ 19026 h 785"/>
                  <a:gd name="T34" fmla="*/ 313531 w 1578"/>
                  <a:gd name="T35" fmla="*/ 34881 h 785"/>
                  <a:gd name="T36" fmla="*/ 300038 w 1578"/>
                  <a:gd name="T37" fmla="*/ 41222 h 785"/>
                  <a:gd name="T38" fmla="*/ 292894 w 1578"/>
                  <a:gd name="T39" fmla="*/ 57077 h 785"/>
                  <a:gd name="T40" fmla="*/ 296069 w 1578"/>
                  <a:gd name="T41" fmla="*/ 57077 h 785"/>
                  <a:gd name="T42" fmla="*/ 275431 w 1578"/>
                  <a:gd name="T43" fmla="*/ 63419 h 785"/>
                  <a:gd name="T44" fmla="*/ 265113 w 1578"/>
                  <a:gd name="T45" fmla="*/ 69761 h 785"/>
                  <a:gd name="T46" fmla="*/ 265113 w 1578"/>
                  <a:gd name="T47" fmla="*/ 79274 h 785"/>
                  <a:gd name="T48" fmla="*/ 261938 w 1578"/>
                  <a:gd name="T49" fmla="*/ 72932 h 785"/>
                  <a:gd name="T50" fmla="*/ 261938 w 1578"/>
                  <a:gd name="T51" fmla="*/ 79274 h 785"/>
                  <a:gd name="T52" fmla="*/ 261938 w 1578"/>
                  <a:gd name="T53" fmla="*/ 101471 h 785"/>
                  <a:gd name="T54" fmla="*/ 234156 w 1578"/>
                  <a:gd name="T55" fmla="*/ 123667 h 785"/>
                  <a:gd name="T56" fmla="*/ 237331 w 1578"/>
                  <a:gd name="T57" fmla="*/ 155377 h 785"/>
                  <a:gd name="T58" fmla="*/ 227806 w 1578"/>
                  <a:gd name="T59" fmla="*/ 133180 h 785"/>
                  <a:gd name="T60" fmla="*/ 213519 w 1578"/>
                  <a:gd name="T61" fmla="*/ 126838 h 785"/>
                  <a:gd name="T62" fmla="*/ 199231 w 1578"/>
                  <a:gd name="T63" fmla="*/ 123667 h 785"/>
                  <a:gd name="T64" fmla="*/ 192881 w 1578"/>
                  <a:gd name="T65" fmla="*/ 126838 h 785"/>
                  <a:gd name="T66" fmla="*/ 188913 w 1578"/>
                  <a:gd name="T67" fmla="*/ 133180 h 785"/>
                  <a:gd name="T68" fmla="*/ 175419 w 1578"/>
                  <a:gd name="T69" fmla="*/ 130009 h 785"/>
                  <a:gd name="T70" fmla="*/ 161131 w 1578"/>
                  <a:gd name="T71" fmla="*/ 130009 h 785"/>
                  <a:gd name="T72" fmla="*/ 148431 w 1578"/>
                  <a:gd name="T73" fmla="*/ 142693 h 785"/>
                  <a:gd name="T74" fmla="*/ 123825 w 1578"/>
                  <a:gd name="T75" fmla="*/ 130009 h 785"/>
                  <a:gd name="T76" fmla="*/ 114300 w 1578"/>
                  <a:gd name="T77" fmla="*/ 133180 h 785"/>
                  <a:gd name="T78" fmla="*/ 99219 w 1578"/>
                  <a:gd name="T79" fmla="*/ 117325 h 785"/>
                  <a:gd name="T80" fmla="*/ 41275 w 1578"/>
                  <a:gd name="T81" fmla="*/ 114154 h 785"/>
                  <a:gd name="T82" fmla="*/ 34925 w 1578"/>
                  <a:gd name="T83" fmla="*/ 104642 h 785"/>
                  <a:gd name="T84" fmla="*/ 14288 w 1578"/>
                  <a:gd name="T85" fmla="*/ 91958 h 785"/>
                  <a:gd name="T86" fmla="*/ 10319 w 1578"/>
                  <a:gd name="T87" fmla="*/ 82445 h 785"/>
                  <a:gd name="T88" fmla="*/ 7144 w 1578"/>
                  <a:gd name="T89" fmla="*/ 79274 h 785"/>
                  <a:gd name="T90" fmla="*/ 3969 w 1578"/>
                  <a:gd name="T91" fmla="*/ 69761 h 785"/>
                  <a:gd name="T92" fmla="*/ 0 w 1578"/>
                  <a:gd name="T93" fmla="*/ 47564 h 785"/>
                  <a:gd name="T94" fmla="*/ 3969 w 1578"/>
                  <a:gd name="T95" fmla="*/ 25368 h 785"/>
                  <a:gd name="T96" fmla="*/ 10319 w 1578"/>
                  <a:gd name="T97" fmla="*/ 12684 h 785"/>
                  <a:gd name="T98" fmla="*/ 10319 w 1578"/>
                  <a:gd name="T99" fmla="*/ 6342 h 78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578"/>
                  <a:gd name="T151" fmla="*/ 0 h 785"/>
                  <a:gd name="T152" fmla="*/ 1578 w 1578"/>
                  <a:gd name="T153" fmla="*/ 785 h 78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578" h="785">
                    <a:moveTo>
                      <a:pt x="52" y="17"/>
                    </a:moveTo>
                    <a:lnTo>
                      <a:pt x="52" y="17"/>
                    </a:lnTo>
                    <a:lnTo>
                      <a:pt x="797" y="17"/>
                    </a:lnTo>
                    <a:lnTo>
                      <a:pt x="814" y="0"/>
                    </a:lnTo>
                    <a:lnTo>
                      <a:pt x="832" y="33"/>
                    </a:lnTo>
                    <a:lnTo>
                      <a:pt x="866" y="33"/>
                    </a:lnTo>
                    <a:lnTo>
                      <a:pt x="903" y="65"/>
                    </a:lnTo>
                    <a:lnTo>
                      <a:pt x="955" y="65"/>
                    </a:lnTo>
                    <a:lnTo>
                      <a:pt x="884" y="113"/>
                    </a:lnTo>
                    <a:lnTo>
                      <a:pt x="920" y="96"/>
                    </a:lnTo>
                    <a:lnTo>
                      <a:pt x="937" y="113"/>
                    </a:lnTo>
                    <a:lnTo>
                      <a:pt x="989" y="96"/>
                    </a:lnTo>
                    <a:lnTo>
                      <a:pt x="989" y="113"/>
                    </a:lnTo>
                    <a:lnTo>
                      <a:pt x="1006" y="96"/>
                    </a:lnTo>
                    <a:lnTo>
                      <a:pt x="1024" y="113"/>
                    </a:lnTo>
                    <a:lnTo>
                      <a:pt x="1076" y="113"/>
                    </a:lnTo>
                    <a:lnTo>
                      <a:pt x="1093" y="113"/>
                    </a:lnTo>
                    <a:lnTo>
                      <a:pt x="1110" y="129"/>
                    </a:lnTo>
                    <a:lnTo>
                      <a:pt x="1110" y="144"/>
                    </a:lnTo>
                    <a:lnTo>
                      <a:pt x="1024" y="144"/>
                    </a:lnTo>
                    <a:lnTo>
                      <a:pt x="1006" y="192"/>
                    </a:lnTo>
                    <a:lnTo>
                      <a:pt x="1024" y="177"/>
                    </a:lnTo>
                    <a:lnTo>
                      <a:pt x="1006" y="240"/>
                    </a:lnTo>
                    <a:lnTo>
                      <a:pt x="1006" y="273"/>
                    </a:lnTo>
                    <a:lnTo>
                      <a:pt x="1006" y="288"/>
                    </a:lnTo>
                    <a:lnTo>
                      <a:pt x="1024" y="288"/>
                    </a:lnTo>
                    <a:lnTo>
                      <a:pt x="1041" y="273"/>
                    </a:lnTo>
                    <a:lnTo>
                      <a:pt x="1041" y="209"/>
                    </a:lnTo>
                    <a:lnTo>
                      <a:pt x="1058" y="177"/>
                    </a:lnTo>
                    <a:lnTo>
                      <a:pt x="1076" y="161"/>
                    </a:lnTo>
                    <a:lnTo>
                      <a:pt x="1076" y="144"/>
                    </a:lnTo>
                    <a:lnTo>
                      <a:pt x="1127" y="161"/>
                    </a:lnTo>
                    <a:lnTo>
                      <a:pt x="1127" y="192"/>
                    </a:lnTo>
                    <a:lnTo>
                      <a:pt x="1110" y="225"/>
                    </a:lnTo>
                    <a:lnTo>
                      <a:pt x="1145" y="209"/>
                    </a:lnTo>
                    <a:lnTo>
                      <a:pt x="1145" y="240"/>
                    </a:lnTo>
                    <a:lnTo>
                      <a:pt x="1162" y="240"/>
                    </a:lnTo>
                    <a:lnTo>
                      <a:pt x="1127" y="288"/>
                    </a:lnTo>
                    <a:lnTo>
                      <a:pt x="1145" y="288"/>
                    </a:lnTo>
                    <a:lnTo>
                      <a:pt x="1179" y="288"/>
                    </a:lnTo>
                    <a:lnTo>
                      <a:pt x="1248" y="240"/>
                    </a:lnTo>
                    <a:lnTo>
                      <a:pt x="1248" y="225"/>
                    </a:lnTo>
                    <a:lnTo>
                      <a:pt x="1317" y="225"/>
                    </a:lnTo>
                    <a:lnTo>
                      <a:pt x="1317" y="192"/>
                    </a:lnTo>
                    <a:lnTo>
                      <a:pt x="1352" y="177"/>
                    </a:lnTo>
                    <a:lnTo>
                      <a:pt x="1438" y="177"/>
                    </a:lnTo>
                    <a:lnTo>
                      <a:pt x="1475" y="161"/>
                    </a:lnTo>
                    <a:lnTo>
                      <a:pt x="1509" y="81"/>
                    </a:lnTo>
                    <a:lnTo>
                      <a:pt x="1527" y="96"/>
                    </a:lnTo>
                    <a:lnTo>
                      <a:pt x="1544" y="81"/>
                    </a:lnTo>
                    <a:lnTo>
                      <a:pt x="1544" y="96"/>
                    </a:lnTo>
                    <a:lnTo>
                      <a:pt x="1561" y="144"/>
                    </a:lnTo>
                    <a:lnTo>
                      <a:pt x="1578" y="161"/>
                    </a:lnTo>
                    <a:lnTo>
                      <a:pt x="1578" y="177"/>
                    </a:lnTo>
                    <a:lnTo>
                      <a:pt x="1561" y="192"/>
                    </a:lnTo>
                    <a:lnTo>
                      <a:pt x="1527" y="192"/>
                    </a:lnTo>
                    <a:lnTo>
                      <a:pt x="1509" y="209"/>
                    </a:lnTo>
                    <a:lnTo>
                      <a:pt x="1492" y="225"/>
                    </a:lnTo>
                    <a:lnTo>
                      <a:pt x="1456" y="257"/>
                    </a:lnTo>
                    <a:lnTo>
                      <a:pt x="1475" y="288"/>
                    </a:lnTo>
                    <a:lnTo>
                      <a:pt x="1492" y="288"/>
                    </a:lnTo>
                    <a:lnTo>
                      <a:pt x="1492" y="273"/>
                    </a:lnTo>
                    <a:lnTo>
                      <a:pt x="1492" y="288"/>
                    </a:lnTo>
                    <a:lnTo>
                      <a:pt x="1456" y="288"/>
                    </a:lnTo>
                    <a:lnTo>
                      <a:pt x="1404" y="305"/>
                    </a:lnTo>
                    <a:lnTo>
                      <a:pt x="1387" y="321"/>
                    </a:lnTo>
                    <a:lnTo>
                      <a:pt x="1369" y="369"/>
                    </a:lnTo>
                    <a:lnTo>
                      <a:pt x="1352" y="369"/>
                    </a:lnTo>
                    <a:lnTo>
                      <a:pt x="1335" y="353"/>
                    </a:lnTo>
                    <a:lnTo>
                      <a:pt x="1352" y="384"/>
                    </a:lnTo>
                    <a:lnTo>
                      <a:pt x="1335" y="432"/>
                    </a:lnTo>
                    <a:lnTo>
                      <a:pt x="1335" y="401"/>
                    </a:lnTo>
                    <a:lnTo>
                      <a:pt x="1317" y="384"/>
                    </a:lnTo>
                    <a:lnTo>
                      <a:pt x="1335" y="353"/>
                    </a:lnTo>
                    <a:lnTo>
                      <a:pt x="1317" y="369"/>
                    </a:lnTo>
                    <a:lnTo>
                      <a:pt x="1317" y="401"/>
                    </a:lnTo>
                    <a:lnTo>
                      <a:pt x="1300" y="401"/>
                    </a:lnTo>
                    <a:lnTo>
                      <a:pt x="1317" y="401"/>
                    </a:lnTo>
                    <a:lnTo>
                      <a:pt x="1317" y="432"/>
                    </a:lnTo>
                    <a:lnTo>
                      <a:pt x="1335" y="480"/>
                    </a:lnTo>
                    <a:lnTo>
                      <a:pt x="1317" y="512"/>
                    </a:lnTo>
                    <a:lnTo>
                      <a:pt x="1248" y="545"/>
                    </a:lnTo>
                    <a:lnTo>
                      <a:pt x="1196" y="593"/>
                    </a:lnTo>
                    <a:lnTo>
                      <a:pt x="1179" y="624"/>
                    </a:lnTo>
                    <a:lnTo>
                      <a:pt x="1214" y="737"/>
                    </a:lnTo>
                    <a:lnTo>
                      <a:pt x="1214" y="785"/>
                    </a:lnTo>
                    <a:lnTo>
                      <a:pt x="1196" y="785"/>
                    </a:lnTo>
                    <a:lnTo>
                      <a:pt x="1179" y="768"/>
                    </a:lnTo>
                    <a:lnTo>
                      <a:pt x="1145" y="737"/>
                    </a:lnTo>
                    <a:lnTo>
                      <a:pt x="1145" y="672"/>
                    </a:lnTo>
                    <a:lnTo>
                      <a:pt x="1110" y="641"/>
                    </a:lnTo>
                    <a:lnTo>
                      <a:pt x="1076" y="656"/>
                    </a:lnTo>
                    <a:lnTo>
                      <a:pt x="1076" y="641"/>
                    </a:lnTo>
                    <a:lnTo>
                      <a:pt x="1041" y="641"/>
                    </a:lnTo>
                    <a:lnTo>
                      <a:pt x="1006" y="641"/>
                    </a:lnTo>
                    <a:lnTo>
                      <a:pt x="1006" y="624"/>
                    </a:lnTo>
                    <a:lnTo>
                      <a:pt x="955" y="641"/>
                    </a:lnTo>
                    <a:lnTo>
                      <a:pt x="937" y="641"/>
                    </a:lnTo>
                    <a:lnTo>
                      <a:pt x="972" y="641"/>
                    </a:lnTo>
                    <a:lnTo>
                      <a:pt x="955" y="656"/>
                    </a:lnTo>
                    <a:lnTo>
                      <a:pt x="972" y="672"/>
                    </a:lnTo>
                    <a:lnTo>
                      <a:pt x="955" y="672"/>
                    </a:lnTo>
                    <a:lnTo>
                      <a:pt x="920" y="672"/>
                    </a:lnTo>
                    <a:lnTo>
                      <a:pt x="903" y="656"/>
                    </a:lnTo>
                    <a:lnTo>
                      <a:pt x="884" y="656"/>
                    </a:lnTo>
                    <a:lnTo>
                      <a:pt x="849" y="656"/>
                    </a:lnTo>
                    <a:lnTo>
                      <a:pt x="814" y="672"/>
                    </a:lnTo>
                    <a:lnTo>
                      <a:pt x="814" y="656"/>
                    </a:lnTo>
                    <a:lnTo>
                      <a:pt x="797" y="656"/>
                    </a:lnTo>
                    <a:lnTo>
                      <a:pt x="814" y="672"/>
                    </a:lnTo>
                    <a:lnTo>
                      <a:pt x="745" y="720"/>
                    </a:lnTo>
                    <a:lnTo>
                      <a:pt x="745" y="768"/>
                    </a:lnTo>
                    <a:lnTo>
                      <a:pt x="693" y="752"/>
                    </a:lnTo>
                    <a:lnTo>
                      <a:pt x="624" y="656"/>
                    </a:lnTo>
                    <a:lnTo>
                      <a:pt x="607" y="656"/>
                    </a:lnTo>
                    <a:lnTo>
                      <a:pt x="590" y="672"/>
                    </a:lnTo>
                    <a:lnTo>
                      <a:pt x="573" y="672"/>
                    </a:lnTo>
                    <a:lnTo>
                      <a:pt x="538" y="656"/>
                    </a:lnTo>
                    <a:lnTo>
                      <a:pt x="538" y="624"/>
                    </a:lnTo>
                    <a:lnTo>
                      <a:pt x="503" y="593"/>
                    </a:lnTo>
                    <a:lnTo>
                      <a:pt x="365" y="608"/>
                    </a:lnTo>
                    <a:lnTo>
                      <a:pt x="260" y="576"/>
                    </a:lnTo>
                    <a:lnTo>
                      <a:pt x="208" y="576"/>
                    </a:lnTo>
                    <a:lnTo>
                      <a:pt x="190" y="545"/>
                    </a:lnTo>
                    <a:lnTo>
                      <a:pt x="173" y="545"/>
                    </a:lnTo>
                    <a:lnTo>
                      <a:pt x="173" y="528"/>
                    </a:lnTo>
                    <a:lnTo>
                      <a:pt x="104" y="512"/>
                    </a:lnTo>
                    <a:lnTo>
                      <a:pt x="104" y="497"/>
                    </a:lnTo>
                    <a:lnTo>
                      <a:pt x="70" y="464"/>
                    </a:lnTo>
                    <a:lnTo>
                      <a:pt x="70" y="432"/>
                    </a:lnTo>
                    <a:lnTo>
                      <a:pt x="52" y="432"/>
                    </a:lnTo>
                    <a:lnTo>
                      <a:pt x="52" y="416"/>
                    </a:lnTo>
                    <a:lnTo>
                      <a:pt x="70" y="416"/>
                    </a:lnTo>
                    <a:lnTo>
                      <a:pt x="70" y="401"/>
                    </a:lnTo>
                    <a:lnTo>
                      <a:pt x="35" y="401"/>
                    </a:lnTo>
                    <a:lnTo>
                      <a:pt x="52" y="401"/>
                    </a:lnTo>
                    <a:lnTo>
                      <a:pt x="18" y="369"/>
                    </a:lnTo>
                    <a:lnTo>
                      <a:pt x="18" y="353"/>
                    </a:lnTo>
                    <a:lnTo>
                      <a:pt x="0" y="336"/>
                    </a:lnTo>
                    <a:lnTo>
                      <a:pt x="18" y="288"/>
                    </a:lnTo>
                    <a:lnTo>
                      <a:pt x="0" y="240"/>
                    </a:lnTo>
                    <a:lnTo>
                      <a:pt x="18" y="129"/>
                    </a:lnTo>
                    <a:lnTo>
                      <a:pt x="35" y="129"/>
                    </a:lnTo>
                    <a:lnTo>
                      <a:pt x="18" y="129"/>
                    </a:lnTo>
                    <a:lnTo>
                      <a:pt x="0" y="48"/>
                    </a:lnTo>
                    <a:lnTo>
                      <a:pt x="35" y="48"/>
                    </a:lnTo>
                    <a:lnTo>
                      <a:pt x="52" y="65"/>
                    </a:lnTo>
                    <a:lnTo>
                      <a:pt x="35" y="81"/>
                    </a:lnTo>
                    <a:lnTo>
                      <a:pt x="52" y="81"/>
                    </a:lnTo>
                    <a:lnTo>
                      <a:pt x="52" y="33"/>
                    </a:lnTo>
                    <a:lnTo>
                      <a:pt x="52" y="1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32" name="Freeform 66">
                <a:extLst>
                  <a:ext uri="{FF2B5EF4-FFF2-40B4-BE49-F238E27FC236}">
                    <a16:creationId xmlns:a16="http://schemas.microsoft.com/office/drawing/2014/main" id="{952C94DE-1929-F849-A497-BAA8550FB471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3113088" y="5875338"/>
                <a:ext cx="111125" cy="100013"/>
              </a:xfrm>
              <a:custGeom>
                <a:avLst/>
                <a:gdLst>
                  <a:gd name="T0" fmla="*/ 27781 w 140"/>
                  <a:gd name="T1" fmla="*/ 19050 h 126"/>
                  <a:gd name="T2" fmla="*/ 27781 w 140"/>
                  <a:gd name="T3" fmla="*/ 19050 h 126"/>
                  <a:gd name="T4" fmla="*/ 27781 w 140"/>
                  <a:gd name="T5" fmla="*/ 0 h 126"/>
                  <a:gd name="T6" fmla="*/ 19844 w 140"/>
                  <a:gd name="T7" fmla="*/ 3175 h 126"/>
                  <a:gd name="T8" fmla="*/ 16669 w 140"/>
                  <a:gd name="T9" fmla="*/ 6350 h 126"/>
                  <a:gd name="T10" fmla="*/ 19844 w 140"/>
                  <a:gd name="T11" fmla="*/ 9525 h 126"/>
                  <a:gd name="T12" fmla="*/ 23812 w 140"/>
                  <a:gd name="T13" fmla="*/ 6350 h 126"/>
                  <a:gd name="T14" fmla="*/ 23812 w 140"/>
                  <a:gd name="T15" fmla="*/ 9525 h 126"/>
                  <a:gd name="T16" fmla="*/ 19844 w 140"/>
                  <a:gd name="T17" fmla="*/ 9525 h 126"/>
                  <a:gd name="T18" fmla="*/ 19844 w 140"/>
                  <a:gd name="T19" fmla="*/ 15875 h 126"/>
                  <a:gd name="T20" fmla="*/ 19844 w 140"/>
                  <a:gd name="T21" fmla="*/ 12700 h 126"/>
                  <a:gd name="T22" fmla="*/ 16669 w 140"/>
                  <a:gd name="T23" fmla="*/ 12700 h 126"/>
                  <a:gd name="T24" fmla="*/ 14287 w 140"/>
                  <a:gd name="T25" fmla="*/ 12700 h 126"/>
                  <a:gd name="T26" fmla="*/ 3175 w 140"/>
                  <a:gd name="T27" fmla="*/ 6350 h 126"/>
                  <a:gd name="T28" fmla="*/ 0 w 140"/>
                  <a:gd name="T29" fmla="*/ 9525 h 126"/>
                  <a:gd name="T30" fmla="*/ 3175 w 140"/>
                  <a:gd name="T31" fmla="*/ 12700 h 126"/>
                  <a:gd name="T32" fmla="*/ 7144 w 140"/>
                  <a:gd name="T33" fmla="*/ 12700 h 126"/>
                  <a:gd name="T34" fmla="*/ 7144 w 140"/>
                  <a:gd name="T35" fmla="*/ 15875 h 126"/>
                  <a:gd name="T36" fmla="*/ 9525 w 140"/>
                  <a:gd name="T37" fmla="*/ 15875 h 126"/>
                  <a:gd name="T38" fmla="*/ 9525 w 140"/>
                  <a:gd name="T39" fmla="*/ 19050 h 126"/>
                  <a:gd name="T40" fmla="*/ 16669 w 140"/>
                  <a:gd name="T41" fmla="*/ 22225 h 126"/>
                  <a:gd name="T42" fmla="*/ 19844 w 140"/>
                  <a:gd name="T43" fmla="*/ 22225 h 126"/>
                  <a:gd name="T44" fmla="*/ 23812 w 140"/>
                  <a:gd name="T45" fmla="*/ 25400 h 126"/>
                  <a:gd name="T46" fmla="*/ 27781 w 140"/>
                  <a:gd name="T47" fmla="*/ 19050 h 12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0"/>
                  <a:gd name="T73" fmla="*/ 0 h 126"/>
                  <a:gd name="T74" fmla="*/ 140 w 140"/>
                  <a:gd name="T75" fmla="*/ 126 h 12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0" h="126">
                    <a:moveTo>
                      <a:pt x="140" y="96"/>
                    </a:moveTo>
                    <a:lnTo>
                      <a:pt x="140" y="96"/>
                    </a:lnTo>
                    <a:lnTo>
                      <a:pt x="140" y="0"/>
                    </a:lnTo>
                    <a:lnTo>
                      <a:pt x="103" y="15"/>
                    </a:lnTo>
                    <a:lnTo>
                      <a:pt x="86" y="30"/>
                    </a:lnTo>
                    <a:lnTo>
                      <a:pt x="103" y="48"/>
                    </a:lnTo>
                    <a:lnTo>
                      <a:pt x="122" y="30"/>
                    </a:lnTo>
                    <a:lnTo>
                      <a:pt x="122" y="48"/>
                    </a:lnTo>
                    <a:lnTo>
                      <a:pt x="103" y="48"/>
                    </a:lnTo>
                    <a:lnTo>
                      <a:pt x="103" y="78"/>
                    </a:lnTo>
                    <a:lnTo>
                      <a:pt x="103" y="63"/>
                    </a:lnTo>
                    <a:lnTo>
                      <a:pt x="86" y="63"/>
                    </a:lnTo>
                    <a:lnTo>
                      <a:pt x="69" y="63"/>
                    </a:lnTo>
                    <a:lnTo>
                      <a:pt x="17" y="30"/>
                    </a:lnTo>
                    <a:lnTo>
                      <a:pt x="0" y="48"/>
                    </a:lnTo>
                    <a:lnTo>
                      <a:pt x="17" y="63"/>
                    </a:lnTo>
                    <a:lnTo>
                      <a:pt x="34" y="63"/>
                    </a:lnTo>
                    <a:lnTo>
                      <a:pt x="34" y="78"/>
                    </a:lnTo>
                    <a:lnTo>
                      <a:pt x="51" y="78"/>
                    </a:lnTo>
                    <a:lnTo>
                      <a:pt x="51" y="96"/>
                    </a:lnTo>
                    <a:lnTo>
                      <a:pt x="86" y="111"/>
                    </a:lnTo>
                    <a:lnTo>
                      <a:pt x="103" y="111"/>
                    </a:lnTo>
                    <a:lnTo>
                      <a:pt x="122" y="126"/>
                    </a:lnTo>
                    <a:lnTo>
                      <a:pt x="140" y="9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33" name="Freeform 67">
                <a:extLst>
                  <a:ext uri="{FF2B5EF4-FFF2-40B4-BE49-F238E27FC236}">
                    <a16:creationId xmlns:a16="http://schemas.microsoft.com/office/drawing/2014/main" id="{D1826701-EA81-9548-BD21-D5B0E79F44C0}"/>
                  </a:ext>
                </a:extLst>
              </p:cNvPr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auto">
              <a:xfrm>
                <a:off x="3224213" y="5875338"/>
                <a:ext cx="82550" cy="114300"/>
              </a:xfrm>
              <a:custGeom>
                <a:avLst/>
                <a:gdLst>
                  <a:gd name="T0" fmla="*/ 0 w 103"/>
                  <a:gd name="T1" fmla="*/ 19050 h 144"/>
                  <a:gd name="T2" fmla="*/ 0 w 103"/>
                  <a:gd name="T3" fmla="*/ 19050 h 144"/>
                  <a:gd name="T4" fmla="*/ 0 w 103"/>
                  <a:gd name="T5" fmla="*/ 0 h 144"/>
                  <a:gd name="T6" fmla="*/ 4007 w 103"/>
                  <a:gd name="T7" fmla="*/ 9525 h 144"/>
                  <a:gd name="T8" fmla="*/ 14426 w 103"/>
                  <a:gd name="T9" fmla="*/ 15081 h 144"/>
                  <a:gd name="T10" fmla="*/ 20838 w 103"/>
                  <a:gd name="T11" fmla="*/ 19050 h 144"/>
                  <a:gd name="T12" fmla="*/ 17632 w 103"/>
                  <a:gd name="T13" fmla="*/ 21431 h 144"/>
                  <a:gd name="T14" fmla="*/ 7213 w 103"/>
                  <a:gd name="T15" fmla="*/ 24606 h 144"/>
                  <a:gd name="T16" fmla="*/ 4007 w 103"/>
                  <a:gd name="T17" fmla="*/ 28575 h 144"/>
                  <a:gd name="T18" fmla="*/ 0 w 103"/>
                  <a:gd name="T19" fmla="*/ 19050 h 14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03"/>
                  <a:gd name="T31" fmla="*/ 0 h 144"/>
                  <a:gd name="T32" fmla="*/ 103 w 103"/>
                  <a:gd name="T33" fmla="*/ 144 h 14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03" h="144">
                    <a:moveTo>
                      <a:pt x="0" y="96"/>
                    </a:moveTo>
                    <a:lnTo>
                      <a:pt x="0" y="96"/>
                    </a:lnTo>
                    <a:lnTo>
                      <a:pt x="0" y="0"/>
                    </a:lnTo>
                    <a:lnTo>
                      <a:pt x="17" y="48"/>
                    </a:lnTo>
                    <a:lnTo>
                      <a:pt x="69" y="78"/>
                    </a:lnTo>
                    <a:lnTo>
                      <a:pt x="103" y="96"/>
                    </a:lnTo>
                    <a:lnTo>
                      <a:pt x="86" y="111"/>
                    </a:lnTo>
                    <a:lnTo>
                      <a:pt x="34" y="126"/>
                    </a:lnTo>
                    <a:lnTo>
                      <a:pt x="17" y="144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34" name="Freeform 68">
                <a:extLst>
                  <a:ext uri="{FF2B5EF4-FFF2-40B4-BE49-F238E27FC236}">
                    <a16:creationId xmlns:a16="http://schemas.microsoft.com/office/drawing/2014/main" id="{207CDCBF-0F67-A747-B705-99D7B6858EEE}"/>
                  </a:ext>
                </a:extLst>
              </p:cNvPr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2728913" y="4643438"/>
                <a:ext cx="12700" cy="25400"/>
              </a:xfrm>
              <a:custGeom>
                <a:avLst/>
                <a:gdLst>
                  <a:gd name="T0" fmla="*/ 0 w 15"/>
                  <a:gd name="T1" fmla="*/ 0 h 33"/>
                  <a:gd name="T2" fmla="*/ 0 w 15"/>
                  <a:gd name="T3" fmla="*/ 0 h 33"/>
                  <a:gd name="T4" fmla="*/ 3387 w 15"/>
                  <a:gd name="T5" fmla="*/ 3079 h 33"/>
                  <a:gd name="T6" fmla="*/ 0 w 15"/>
                  <a:gd name="T7" fmla="*/ 3079 h 33"/>
                  <a:gd name="T8" fmla="*/ 3387 w 15"/>
                  <a:gd name="T9" fmla="*/ 6158 h 33"/>
                  <a:gd name="T10" fmla="*/ 3387 w 15"/>
                  <a:gd name="T11" fmla="*/ 3079 h 33"/>
                  <a:gd name="T12" fmla="*/ 0 w 15"/>
                  <a:gd name="T13" fmla="*/ 0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"/>
                  <a:gd name="T22" fmla="*/ 0 h 33"/>
                  <a:gd name="T23" fmla="*/ 15 w 15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" h="33">
                    <a:moveTo>
                      <a:pt x="0" y="0"/>
                    </a:moveTo>
                    <a:lnTo>
                      <a:pt x="0" y="0"/>
                    </a:lnTo>
                    <a:lnTo>
                      <a:pt x="15" y="18"/>
                    </a:lnTo>
                    <a:lnTo>
                      <a:pt x="0" y="18"/>
                    </a:lnTo>
                    <a:lnTo>
                      <a:pt x="15" y="33"/>
                    </a:lnTo>
                    <a:lnTo>
                      <a:pt x="15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35" name="Freeform 69">
                <a:extLst>
                  <a:ext uri="{FF2B5EF4-FFF2-40B4-BE49-F238E27FC236}">
                    <a16:creationId xmlns:a16="http://schemas.microsoft.com/office/drawing/2014/main" id="{7ED20E52-A0AF-774B-A57C-B0D3EF1C8678}"/>
                  </a:ext>
                </a:extLst>
              </p:cNvPr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auto">
              <a:xfrm>
                <a:off x="3098800" y="5556251"/>
                <a:ext cx="26988" cy="52388"/>
              </a:xfrm>
              <a:custGeom>
                <a:avLst/>
                <a:gdLst>
                  <a:gd name="T0" fmla="*/ 3084 w 35"/>
                  <a:gd name="T1" fmla="*/ 0 h 65"/>
                  <a:gd name="T2" fmla="*/ 3084 w 35"/>
                  <a:gd name="T3" fmla="*/ 0 h 65"/>
                  <a:gd name="T4" fmla="*/ 0 w 35"/>
                  <a:gd name="T5" fmla="*/ 9672 h 65"/>
                  <a:gd name="T6" fmla="*/ 3084 w 35"/>
                  <a:gd name="T7" fmla="*/ 13701 h 65"/>
                  <a:gd name="T8" fmla="*/ 6169 w 35"/>
                  <a:gd name="T9" fmla="*/ 4030 h 65"/>
                  <a:gd name="T10" fmla="*/ 3084 w 35"/>
                  <a:gd name="T11" fmla="*/ 0 h 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"/>
                  <a:gd name="T19" fmla="*/ 0 h 65"/>
                  <a:gd name="T20" fmla="*/ 35 w 35"/>
                  <a:gd name="T21" fmla="*/ 65 h 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" h="65">
                    <a:moveTo>
                      <a:pt x="18" y="0"/>
                    </a:moveTo>
                    <a:lnTo>
                      <a:pt x="18" y="0"/>
                    </a:lnTo>
                    <a:lnTo>
                      <a:pt x="0" y="48"/>
                    </a:lnTo>
                    <a:lnTo>
                      <a:pt x="18" y="65"/>
                    </a:lnTo>
                    <a:lnTo>
                      <a:pt x="35" y="17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36" name="Freeform 70">
                <a:extLst>
                  <a:ext uri="{FF2B5EF4-FFF2-40B4-BE49-F238E27FC236}">
                    <a16:creationId xmlns:a16="http://schemas.microsoft.com/office/drawing/2014/main" id="{0188DD87-0566-C042-A3E8-8B460AFD853A}"/>
                  </a:ext>
                </a:extLst>
              </p:cNvPr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auto">
              <a:xfrm>
                <a:off x="3387725" y="5837238"/>
                <a:ext cx="69850" cy="38100"/>
              </a:xfrm>
              <a:custGeom>
                <a:avLst/>
                <a:gdLst>
                  <a:gd name="T0" fmla="*/ 0 w 88"/>
                  <a:gd name="T1" fmla="*/ 2381 h 48"/>
                  <a:gd name="T2" fmla="*/ 0 w 88"/>
                  <a:gd name="T3" fmla="*/ 2381 h 48"/>
                  <a:gd name="T4" fmla="*/ 3969 w 88"/>
                  <a:gd name="T5" fmla="*/ 5556 h 48"/>
                  <a:gd name="T6" fmla="*/ 7144 w 88"/>
                  <a:gd name="T7" fmla="*/ 5556 h 48"/>
                  <a:gd name="T8" fmla="*/ 10319 w 88"/>
                  <a:gd name="T9" fmla="*/ 9525 h 48"/>
                  <a:gd name="T10" fmla="*/ 17463 w 88"/>
                  <a:gd name="T11" fmla="*/ 2381 h 48"/>
                  <a:gd name="T12" fmla="*/ 17463 w 88"/>
                  <a:gd name="T13" fmla="*/ 0 h 48"/>
                  <a:gd name="T14" fmla="*/ 7144 w 88"/>
                  <a:gd name="T15" fmla="*/ 0 h 48"/>
                  <a:gd name="T16" fmla="*/ 3969 w 88"/>
                  <a:gd name="T17" fmla="*/ 0 h 48"/>
                  <a:gd name="T18" fmla="*/ 7144 w 88"/>
                  <a:gd name="T19" fmla="*/ 2381 h 48"/>
                  <a:gd name="T20" fmla="*/ 3969 w 88"/>
                  <a:gd name="T21" fmla="*/ 5556 h 48"/>
                  <a:gd name="T22" fmla="*/ 0 w 88"/>
                  <a:gd name="T23" fmla="*/ 2381 h 4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8"/>
                  <a:gd name="T37" fmla="*/ 0 h 48"/>
                  <a:gd name="T38" fmla="*/ 88 w 88"/>
                  <a:gd name="T39" fmla="*/ 48 h 4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8" h="48">
                    <a:moveTo>
                      <a:pt x="0" y="15"/>
                    </a:moveTo>
                    <a:lnTo>
                      <a:pt x="0" y="15"/>
                    </a:lnTo>
                    <a:lnTo>
                      <a:pt x="17" y="30"/>
                    </a:lnTo>
                    <a:lnTo>
                      <a:pt x="35" y="30"/>
                    </a:lnTo>
                    <a:lnTo>
                      <a:pt x="52" y="48"/>
                    </a:lnTo>
                    <a:lnTo>
                      <a:pt x="88" y="15"/>
                    </a:lnTo>
                    <a:lnTo>
                      <a:pt x="88" y="0"/>
                    </a:lnTo>
                    <a:lnTo>
                      <a:pt x="35" y="0"/>
                    </a:lnTo>
                    <a:lnTo>
                      <a:pt x="17" y="0"/>
                    </a:lnTo>
                    <a:lnTo>
                      <a:pt x="35" y="15"/>
                    </a:lnTo>
                    <a:lnTo>
                      <a:pt x="17" y="3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37" name="Freeform 71">
                <a:extLst>
                  <a:ext uri="{FF2B5EF4-FFF2-40B4-BE49-F238E27FC236}">
                    <a16:creationId xmlns:a16="http://schemas.microsoft.com/office/drawing/2014/main" id="{78481561-D475-5740-AB9E-480829A793F0}"/>
                  </a:ext>
                </a:extLst>
              </p:cNvPr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auto">
              <a:xfrm>
                <a:off x="3071813" y="5003801"/>
                <a:ext cx="177800" cy="925513"/>
              </a:xfrm>
              <a:custGeom>
                <a:avLst/>
                <a:gdLst>
                  <a:gd name="T0" fmla="*/ 27781 w 224"/>
                  <a:gd name="T1" fmla="*/ 3172 h 1167"/>
                  <a:gd name="T2" fmla="*/ 38100 w 224"/>
                  <a:gd name="T3" fmla="*/ 9517 h 1167"/>
                  <a:gd name="T4" fmla="*/ 41275 w 224"/>
                  <a:gd name="T5" fmla="*/ 28551 h 1167"/>
                  <a:gd name="T6" fmla="*/ 44450 w 224"/>
                  <a:gd name="T7" fmla="*/ 34102 h 1167"/>
                  <a:gd name="T8" fmla="*/ 41275 w 224"/>
                  <a:gd name="T9" fmla="*/ 47584 h 1167"/>
                  <a:gd name="T10" fmla="*/ 27781 w 224"/>
                  <a:gd name="T11" fmla="*/ 76135 h 1167"/>
                  <a:gd name="T12" fmla="*/ 27781 w 224"/>
                  <a:gd name="T13" fmla="*/ 97548 h 1167"/>
                  <a:gd name="T14" fmla="*/ 23812 w 224"/>
                  <a:gd name="T15" fmla="*/ 107064 h 1167"/>
                  <a:gd name="T16" fmla="*/ 20638 w 224"/>
                  <a:gd name="T17" fmla="*/ 126098 h 1167"/>
                  <a:gd name="T18" fmla="*/ 20638 w 224"/>
                  <a:gd name="T19" fmla="*/ 145132 h 1167"/>
                  <a:gd name="T20" fmla="*/ 23812 w 224"/>
                  <a:gd name="T21" fmla="*/ 157821 h 1167"/>
                  <a:gd name="T22" fmla="*/ 20638 w 224"/>
                  <a:gd name="T23" fmla="*/ 161786 h 1167"/>
                  <a:gd name="T24" fmla="*/ 20638 w 224"/>
                  <a:gd name="T25" fmla="*/ 173682 h 1167"/>
                  <a:gd name="T26" fmla="*/ 17463 w 224"/>
                  <a:gd name="T27" fmla="*/ 186371 h 1167"/>
                  <a:gd name="T28" fmla="*/ 14288 w 224"/>
                  <a:gd name="T29" fmla="*/ 202233 h 1167"/>
                  <a:gd name="T30" fmla="*/ 17463 w 224"/>
                  <a:gd name="T31" fmla="*/ 202233 h 1167"/>
                  <a:gd name="T32" fmla="*/ 20638 w 224"/>
                  <a:gd name="T33" fmla="*/ 214922 h 1167"/>
                  <a:gd name="T34" fmla="*/ 38100 w 224"/>
                  <a:gd name="T35" fmla="*/ 214922 h 1167"/>
                  <a:gd name="T36" fmla="*/ 34131 w 224"/>
                  <a:gd name="T37" fmla="*/ 214922 h 1167"/>
                  <a:gd name="T38" fmla="*/ 27781 w 224"/>
                  <a:gd name="T39" fmla="*/ 221267 h 1167"/>
                  <a:gd name="T40" fmla="*/ 23812 w 224"/>
                  <a:gd name="T41" fmla="*/ 230783 h 1167"/>
                  <a:gd name="T42" fmla="*/ 23812 w 224"/>
                  <a:gd name="T43" fmla="*/ 224439 h 1167"/>
                  <a:gd name="T44" fmla="*/ 17463 w 224"/>
                  <a:gd name="T45" fmla="*/ 224439 h 1167"/>
                  <a:gd name="T46" fmla="*/ 14288 w 224"/>
                  <a:gd name="T47" fmla="*/ 218887 h 1167"/>
                  <a:gd name="T48" fmla="*/ 7144 w 224"/>
                  <a:gd name="T49" fmla="*/ 214922 h 1167"/>
                  <a:gd name="T50" fmla="*/ 3969 w 224"/>
                  <a:gd name="T51" fmla="*/ 214922 h 1167"/>
                  <a:gd name="T52" fmla="*/ 7144 w 224"/>
                  <a:gd name="T53" fmla="*/ 211750 h 1167"/>
                  <a:gd name="T54" fmla="*/ 7144 w 224"/>
                  <a:gd name="T55" fmla="*/ 205405 h 1167"/>
                  <a:gd name="T56" fmla="*/ 3969 w 224"/>
                  <a:gd name="T57" fmla="*/ 211750 h 1167"/>
                  <a:gd name="T58" fmla="*/ 7144 w 224"/>
                  <a:gd name="T59" fmla="*/ 205405 h 1167"/>
                  <a:gd name="T60" fmla="*/ 3969 w 224"/>
                  <a:gd name="T61" fmla="*/ 205405 h 1167"/>
                  <a:gd name="T62" fmla="*/ 0 w 224"/>
                  <a:gd name="T63" fmla="*/ 195888 h 1167"/>
                  <a:gd name="T64" fmla="*/ 3969 w 224"/>
                  <a:gd name="T65" fmla="*/ 183199 h 1167"/>
                  <a:gd name="T66" fmla="*/ 7144 w 224"/>
                  <a:gd name="T67" fmla="*/ 186371 h 1167"/>
                  <a:gd name="T68" fmla="*/ 3969 w 224"/>
                  <a:gd name="T69" fmla="*/ 173682 h 1167"/>
                  <a:gd name="T70" fmla="*/ 7144 w 224"/>
                  <a:gd name="T71" fmla="*/ 171303 h 1167"/>
                  <a:gd name="T72" fmla="*/ 7144 w 224"/>
                  <a:gd name="T73" fmla="*/ 167338 h 1167"/>
                  <a:gd name="T74" fmla="*/ 10319 w 224"/>
                  <a:gd name="T75" fmla="*/ 154649 h 1167"/>
                  <a:gd name="T76" fmla="*/ 10319 w 224"/>
                  <a:gd name="T77" fmla="*/ 161786 h 1167"/>
                  <a:gd name="T78" fmla="*/ 17463 w 224"/>
                  <a:gd name="T79" fmla="*/ 142753 h 1167"/>
                  <a:gd name="T80" fmla="*/ 14288 w 224"/>
                  <a:gd name="T81" fmla="*/ 138787 h 1167"/>
                  <a:gd name="T82" fmla="*/ 10319 w 224"/>
                  <a:gd name="T83" fmla="*/ 126098 h 1167"/>
                  <a:gd name="T84" fmla="*/ 10319 w 224"/>
                  <a:gd name="T85" fmla="*/ 114202 h 1167"/>
                  <a:gd name="T86" fmla="*/ 23812 w 224"/>
                  <a:gd name="T87" fmla="*/ 81686 h 1167"/>
                  <a:gd name="T88" fmla="*/ 23812 w 224"/>
                  <a:gd name="T89" fmla="*/ 66618 h 1167"/>
                  <a:gd name="T90" fmla="*/ 27781 w 224"/>
                  <a:gd name="T91" fmla="*/ 47584 h 1167"/>
                  <a:gd name="T92" fmla="*/ 30956 w 224"/>
                  <a:gd name="T93" fmla="*/ 19034 h 1167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24"/>
                  <a:gd name="T142" fmla="*/ 0 h 1167"/>
                  <a:gd name="T143" fmla="*/ 224 w 224"/>
                  <a:gd name="T144" fmla="*/ 1167 h 1167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24" h="1167">
                    <a:moveTo>
                      <a:pt x="138" y="16"/>
                    </a:moveTo>
                    <a:lnTo>
                      <a:pt x="138" y="16"/>
                    </a:lnTo>
                    <a:lnTo>
                      <a:pt x="172" y="0"/>
                    </a:lnTo>
                    <a:lnTo>
                      <a:pt x="190" y="48"/>
                    </a:lnTo>
                    <a:lnTo>
                      <a:pt x="190" y="64"/>
                    </a:lnTo>
                    <a:lnTo>
                      <a:pt x="207" y="144"/>
                    </a:lnTo>
                    <a:lnTo>
                      <a:pt x="224" y="144"/>
                    </a:lnTo>
                    <a:lnTo>
                      <a:pt x="224" y="175"/>
                    </a:lnTo>
                    <a:lnTo>
                      <a:pt x="190" y="192"/>
                    </a:lnTo>
                    <a:lnTo>
                      <a:pt x="207" y="240"/>
                    </a:lnTo>
                    <a:lnTo>
                      <a:pt x="172" y="288"/>
                    </a:lnTo>
                    <a:lnTo>
                      <a:pt x="138" y="384"/>
                    </a:lnTo>
                    <a:lnTo>
                      <a:pt x="155" y="447"/>
                    </a:lnTo>
                    <a:lnTo>
                      <a:pt x="138" y="495"/>
                    </a:lnTo>
                    <a:lnTo>
                      <a:pt x="138" y="528"/>
                    </a:lnTo>
                    <a:lnTo>
                      <a:pt x="121" y="543"/>
                    </a:lnTo>
                    <a:lnTo>
                      <a:pt x="121" y="607"/>
                    </a:lnTo>
                    <a:lnTo>
                      <a:pt x="103" y="639"/>
                    </a:lnTo>
                    <a:lnTo>
                      <a:pt x="103" y="703"/>
                    </a:lnTo>
                    <a:lnTo>
                      <a:pt x="103" y="735"/>
                    </a:lnTo>
                    <a:lnTo>
                      <a:pt x="103" y="799"/>
                    </a:lnTo>
                    <a:lnTo>
                      <a:pt x="121" y="799"/>
                    </a:lnTo>
                    <a:lnTo>
                      <a:pt x="121" y="816"/>
                    </a:lnTo>
                    <a:lnTo>
                      <a:pt x="103" y="816"/>
                    </a:lnTo>
                    <a:lnTo>
                      <a:pt x="121" y="816"/>
                    </a:lnTo>
                    <a:lnTo>
                      <a:pt x="103" y="879"/>
                    </a:lnTo>
                    <a:lnTo>
                      <a:pt x="86" y="912"/>
                    </a:lnTo>
                    <a:lnTo>
                      <a:pt x="86" y="942"/>
                    </a:lnTo>
                    <a:lnTo>
                      <a:pt x="69" y="990"/>
                    </a:lnTo>
                    <a:lnTo>
                      <a:pt x="69" y="1023"/>
                    </a:lnTo>
                    <a:lnTo>
                      <a:pt x="69" y="1038"/>
                    </a:lnTo>
                    <a:lnTo>
                      <a:pt x="86" y="1023"/>
                    </a:lnTo>
                    <a:lnTo>
                      <a:pt x="86" y="1071"/>
                    </a:lnTo>
                    <a:lnTo>
                      <a:pt x="103" y="1086"/>
                    </a:lnTo>
                    <a:lnTo>
                      <a:pt x="155" y="1086"/>
                    </a:lnTo>
                    <a:lnTo>
                      <a:pt x="190" y="1086"/>
                    </a:lnTo>
                    <a:lnTo>
                      <a:pt x="190" y="1104"/>
                    </a:lnTo>
                    <a:lnTo>
                      <a:pt x="172" y="1086"/>
                    </a:lnTo>
                    <a:lnTo>
                      <a:pt x="172" y="1104"/>
                    </a:lnTo>
                    <a:lnTo>
                      <a:pt x="138" y="1119"/>
                    </a:lnTo>
                    <a:lnTo>
                      <a:pt x="138" y="1152"/>
                    </a:lnTo>
                    <a:lnTo>
                      <a:pt x="121" y="1167"/>
                    </a:lnTo>
                    <a:lnTo>
                      <a:pt x="103" y="1134"/>
                    </a:lnTo>
                    <a:lnTo>
                      <a:pt x="121" y="1134"/>
                    </a:lnTo>
                    <a:lnTo>
                      <a:pt x="121" y="1119"/>
                    </a:lnTo>
                    <a:lnTo>
                      <a:pt x="86" y="1134"/>
                    </a:lnTo>
                    <a:lnTo>
                      <a:pt x="69" y="1119"/>
                    </a:lnTo>
                    <a:lnTo>
                      <a:pt x="69" y="1104"/>
                    </a:lnTo>
                    <a:lnTo>
                      <a:pt x="52" y="1104"/>
                    </a:lnTo>
                    <a:lnTo>
                      <a:pt x="34" y="1086"/>
                    </a:lnTo>
                    <a:lnTo>
                      <a:pt x="34" y="1104"/>
                    </a:lnTo>
                    <a:lnTo>
                      <a:pt x="17" y="1086"/>
                    </a:lnTo>
                    <a:lnTo>
                      <a:pt x="17" y="1071"/>
                    </a:lnTo>
                    <a:lnTo>
                      <a:pt x="34" y="1071"/>
                    </a:lnTo>
                    <a:lnTo>
                      <a:pt x="34" y="1056"/>
                    </a:lnTo>
                    <a:lnTo>
                      <a:pt x="34" y="1038"/>
                    </a:lnTo>
                    <a:lnTo>
                      <a:pt x="34" y="1056"/>
                    </a:lnTo>
                    <a:lnTo>
                      <a:pt x="17" y="1071"/>
                    </a:lnTo>
                    <a:lnTo>
                      <a:pt x="17" y="1023"/>
                    </a:lnTo>
                    <a:lnTo>
                      <a:pt x="34" y="1038"/>
                    </a:lnTo>
                    <a:lnTo>
                      <a:pt x="34" y="1008"/>
                    </a:lnTo>
                    <a:lnTo>
                      <a:pt x="17" y="1038"/>
                    </a:lnTo>
                    <a:lnTo>
                      <a:pt x="17" y="1008"/>
                    </a:lnTo>
                    <a:lnTo>
                      <a:pt x="0" y="990"/>
                    </a:lnTo>
                    <a:lnTo>
                      <a:pt x="0" y="975"/>
                    </a:lnTo>
                    <a:lnTo>
                      <a:pt x="17" y="927"/>
                    </a:lnTo>
                    <a:lnTo>
                      <a:pt x="17" y="912"/>
                    </a:lnTo>
                    <a:lnTo>
                      <a:pt x="34" y="942"/>
                    </a:lnTo>
                    <a:lnTo>
                      <a:pt x="52" y="879"/>
                    </a:lnTo>
                    <a:lnTo>
                      <a:pt x="17" y="879"/>
                    </a:lnTo>
                    <a:lnTo>
                      <a:pt x="0" y="879"/>
                    </a:lnTo>
                    <a:lnTo>
                      <a:pt x="34" y="864"/>
                    </a:lnTo>
                    <a:lnTo>
                      <a:pt x="17" y="846"/>
                    </a:lnTo>
                    <a:lnTo>
                      <a:pt x="34" y="846"/>
                    </a:lnTo>
                    <a:lnTo>
                      <a:pt x="34" y="799"/>
                    </a:lnTo>
                    <a:lnTo>
                      <a:pt x="52" y="783"/>
                    </a:lnTo>
                    <a:lnTo>
                      <a:pt x="69" y="783"/>
                    </a:lnTo>
                    <a:lnTo>
                      <a:pt x="52" y="816"/>
                    </a:lnTo>
                    <a:lnTo>
                      <a:pt x="52" y="831"/>
                    </a:lnTo>
                    <a:lnTo>
                      <a:pt x="86" y="720"/>
                    </a:lnTo>
                    <a:lnTo>
                      <a:pt x="86" y="703"/>
                    </a:lnTo>
                    <a:lnTo>
                      <a:pt x="69" y="703"/>
                    </a:lnTo>
                    <a:lnTo>
                      <a:pt x="52" y="687"/>
                    </a:lnTo>
                    <a:lnTo>
                      <a:pt x="52" y="639"/>
                    </a:lnTo>
                    <a:lnTo>
                      <a:pt x="69" y="624"/>
                    </a:lnTo>
                    <a:lnTo>
                      <a:pt x="52" y="576"/>
                    </a:lnTo>
                    <a:lnTo>
                      <a:pt x="69" y="559"/>
                    </a:lnTo>
                    <a:lnTo>
                      <a:pt x="121" y="415"/>
                    </a:lnTo>
                    <a:lnTo>
                      <a:pt x="103" y="367"/>
                    </a:lnTo>
                    <a:lnTo>
                      <a:pt x="121" y="336"/>
                    </a:lnTo>
                    <a:lnTo>
                      <a:pt x="121" y="303"/>
                    </a:lnTo>
                    <a:lnTo>
                      <a:pt x="138" y="240"/>
                    </a:lnTo>
                    <a:lnTo>
                      <a:pt x="138" y="144"/>
                    </a:lnTo>
                    <a:lnTo>
                      <a:pt x="155" y="96"/>
                    </a:lnTo>
                    <a:lnTo>
                      <a:pt x="138" y="1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38" name="Freeform 72">
                <a:extLst>
                  <a:ext uri="{FF2B5EF4-FFF2-40B4-BE49-F238E27FC236}">
                    <a16:creationId xmlns:a16="http://schemas.microsoft.com/office/drawing/2014/main" id="{8E54B057-0F9D-5A4F-BC1A-790AEB28DB2D}"/>
                  </a:ext>
                </a:extLst>
              </p:cNvPr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3003550" y="4394201"/>
                <a:ext cx="246063" cy="330200"/>
              </a:xfrm>
              <a:custGeom>
                <a:avLst/>
                <a:gdLst>
                  <a:gd name="T0" fmla="*/ 47472 w 311"/>
                  <a:gd name="T1" fmla="*/ 83746 h 414"/>
                  <a:gd name="T2" fmla="*/ 47472 w 311"/>
                  <a:gd name="T3" fmla="*/ 83746 h 414"/>
                  <a:gd name="T4" fmla="*/ 50637 w 311"/>
                  <a:gd name="T5" fmla="*/ 70187 h 414"/>
                  <a:gd name="T6" fmla="*/ 47472 w 311"/>
                  <a:gd name="T7" fmla="*/ 60616 h 414"/>
                  <a:gd name="T8" fmla="*/ 50637 w 311"/>
                  <a:gd name="T9" fmla="*/ 60616 h 414"/>
                  <a:gd name="T10" fmla="*/ 47472 w 311"/>
                  <a:gd name="T11" fmla="*/ 58224 h 414"/>
                  <a:gd name="T12" fmla="*/ 47472 w 311"/>
                  <a:gd name="T13" fmla="*/ 54236 h 414"/>
                  <a:gd name="T14" fmla="*/ 60922 w 311"/>
                  <a:gd name="T15" fmla="*/ 54236 h 414"/>
                  <a:gd name="T16" fmla="*/ 60922 w 311"/>
                  <a:gd name="T17" fmla="*/ 48653 h 414"/>
                  <a:gd name="T18" fmla="*/ 57758 w 311"/>
                  <a:gd name="T19" fmla="*/ 41474 h 414"/>
                  <a:gd name="T20" fmla="*/ 60922 w 311"/>
                  <a:gd name="T21" fmla="*/ 31903 h 414"/>
                  <a:gd name="T22" fmla="*/ 50637 w 311"/>
                  <a:gd name="T23" fmla="*/ 31903 h 414"/>
                  <a:gd name="T24" fmla="*/ 47472 w 311"/>
                  <a:gd name="T25" fmla="*/ 28713 h 414"/>
                  <a:gd name="T26" fmla="*/ 37186 w 311"/>
                  <a:gd name="T27" fmla="*/ 28713 h 414"/>
                  <a:gd name="T28" fmla="*/ 34022 w 311"/>
                  <a:gd name="T29" fmla="*/ 25523 h 414"/>
                  <a:gd name="T30" fmla="*/ 34022 w 311"/>
                  <a:gd name="T31" fmla="*/ 22332 h 414"/>
                  <a:gd name="T32" fmla="*/ 30857 w 311"/>
                  <a:gd name="T33" fmla="*/ 15952 h 414"/>
                  <a:gd name="T34" fmla="*/ 34022 w 311"/>
                  <a:gd name="T35" fmla="*/ 9571 h 414"/>
                  <a:gd name="T36" fmla="*/ 37186 w 311"/>
                  <a:gd name="T37" fmla="*/ 6381 h 414"/>
                  <a:gd name="T38" fmla="*/ 41142 w 311"/>
                  <a:gd name="T39" fmla="*/ 3190 h 414"/>
                  <a:gd name="T40" fmla="*/ 37186 w 311"/>
                  <a:gd name="T41" fmla="*/ 0 h 414"/>
                  <a:gd name="T42" fmla="*/ 30857 w 311"/>
                  <a:gd name="T43" fmla="*/ 6381 h 414"/>
                  <a:gd name="T44" fmla="*/ 20571 w 311"/>
                  <a:gd name="T45" fmla="*/ 9571 h 414"/>
                  <a:gd name="T46" fmla="*/ 16615 w 311"/>
                  <a:gd name="T47" fmla="*/ 15952 h 414"/>
                  <a:gd name="T48" fmla="*/ 10286 w 311"/>
                  <a:gd name="T49" fmla="*/ 19142 h 414"/>
                  <a:gd name="T50" fmla="*/ 10286 w 311"/>
                  <a:gd name="T51" fmla="*/ 25523 h 414"/>
                  <a:gd name="T52" fmla="*/ 6330 w 311"/>
                  <a:gd name="T53" fmla="*/ 19142 h 414"/>
                  <a:gd name="T54" fmla="*/ 10286 w 311"/>
                  <a:gd name="T55" fmla="*/ 22332 h 414"/>
                  <a:gd name="T56" fmla="*/ 6330 w 311"/>
                  <a:gd name="T57" fmla="*/ 25523 h 414"/>
                  <a:gd name="T58" fmla="*/ 6330 w 311"/>
                  <a:gd name="T59" fmla="*/ 28713 h 414"/>
                  <a:gd name="T60" fmla="*/ 6330 w 311"/>
                  <a:gd name="T61" fmla="*/ 31903 h 414"/>
                  <a:gd name="T62" fmla="*/ 6330 w 311"/>
                  <a:gd name="T63" fmla="*/ 44665 h 414"/>
                  <a:gd name="T64" fmla="*/ 10286 w 311"/>
                  <a:gd name="T65" fmla="*/ 44665 h 414"/>
                  <a:gd name="T66" fmla="*/ 6330 w 311"/>
                  <a:gd name="T67" fmla="*/ 51045 h 414"/>
                  <a:gd name="T68" fmla="*/ 3165 w 311"/>
                  <a:gd name="T69" fmla="*/ 51045 h 414"/>
                  <a:gd name="T70" fmla="*/ 3165 w 311"/>
                  <a:gd name="T71" fmla="*/ 54236 h 414"/>
                  <a:gd name="T72" fmla="*/ 0 w 311"/>
                  <a:gd name="T73" fmla="*/ 54236 h 414"/>
                  <a:gd name="T74" fmla="*/ 0 w 311"/>
                  <a:gd name="T75" fmla="*/ 58224 h 414"/>
                  <a:gd name="T76" fmla="*/ 10286 w 311"/>
                  <a:gd name="T77" fmla="*/ 63807 h 414"/>
                  <a:gd name="T78" fmla="*/ 16615 w 311"/>
                  <a:gd name="T79" fmla="*/ 60616 h 414"/>
                  <a:gd name="T80" fmla="*/ 20571 w 311"/>
                  <a:gd name="T81" fmla="*/ 63807 h 414"/>
                  <a:gd name="T82" fmla="*/ 26901 w 311"/>
                  <a:gd name="T83" fmla="*/ 70187 h 414"/>
                  <a:gd name="T84" fmla="*/ 30857 w 311"/>
                  <a:gd name="T85" fmla="*/ 76568 h 414"/>
                  <a:gd name="T86" fmla="*/ 44307 w 311"/>
                  <a:gd name="T87" fmla="*/ 73378 h 414"/>
                  <a:gd name="T88" fmla="*/ 47472 w 311"/>
                  <a:gd name="T89" fmla="*/ 76568 h 414"/>
                  <a:gd name="T90" fmla="*/ 47472 w 311"/>
                  <a:gd name="T91" fmla="*/ 79758 h 414"/>
                  <a:gd name="T92" fmla="*/ 44307 w 311"/>
                  <a:gd name="T93" fmla="*/ 79758 h 414"/>
                  <a:gd name="T94" fmla="*/ 47472 w 311"/>
                  <a:gd name="T95" fmla="*/ 83746 h 41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11"/>
                  <a:gd name="T145" fmla="*/ 0 h 414"/>
                  <a:gd name="T146" fmla="*/ 311 w 311"/>
                  <a:gd name="T147" fmla="*/ 414 h 41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11" h="414">
                    <a:moveTo>
                      <a:pt x="242" y="414"/>
                    </a:moveTo>
                    <a:lnTo>
                      <a:pt x="242" y="414"/>
                    </a:lnTo>
                    <a:lnTo>
                      <a:pt x="259" y="351"/>
                    </a:lnTo>
                    <a:lnTo>
                      <a:pt x="242" y="303"/>
                    </a:lnTo>
                    <a:lnTo>
                      <a:pt x="259" y="303"/>
                    </a:lnTo>
                    <a:lnTo>
                      <a:pt x="242" y="288"/>
                    </a:lnTo>
                    <a:lnTo>
                      <a:pt x="242" y="270"/>
                    </a:lnTo>
                    <a:lnTo>
                      <a:pt x="311" y="270"/>
                    </a:lnTo>
                    <a:lnTo>
                      <a:pt x="311" y="240"/>
                    </a:lnTo>
                    <a:lnTo>
                      <a:pt x="294" y="207"/>
                    </a:lnTo>
                    <a:lnTo>
                      <a:pt x="311" y="159"/>
                    </a:lnTo>
                    <a:lnTo>
                      <a:pt x="259" y="159"/>
                    </a:lnTo>
                    <a:lnTo>
                      <a:pt x="242" y="144"/>
                    </a:lnTo>
                    <a:lnTo>
                      <a:pt x="190" y="144"/>
                    </a:lnTo>
                    <a:lnTo>
                      <a:pt x="173" y="126"/>
                    </a:lnTo>
                    <a:lnTo>
                      <a:pt x="173" y="111"/>
                    </a:lnTo>
                    <a:lnTo>
                      <a:pt x="156" y="78"/>
                    </a:lnTo>
                    <a:lnTo>
                      <a:pt x="173" y="48"/>
                    </a:lnTo>
                    <a:lnTo>
                      <a:pt x="190" y="30"/>
                    </a:lnTo>
                    <a:lnTo>
                      <a:pt x="208" y="15"/>
                    </a:lnTo>
                    <a:lnTo>
                      <a:pt x="190" y="0"/>
                    </a:lnTo>
                    <a:lnTo>
                      <a:pt x="156" y="30"/>
                    </a:lnTo>
                    <a:lnTo>
                      <a:pt x="104" y="48"/>
                    </a:lnTo>
                    <a:lnTo>
                      <a:pt x="87" y="78"/>
                    </a:lnTo>
                    <a:lnTo>
                      <a:pt x="52" y="96"/>
                    </a:lnTo>
                    <a:lnTo>
                      <a:pt x="52" y="126"/>
                    </a:lnTo>
                    <a:lnTo>
                      <a:pt x="35" y="96"/>
                    </a:lnTo>
                    <a:lnTo>
                      <a:pt x="52" y="111"/>
                    </a:lnTo>
                    <a:lnTo>
                      <a:pt x="35" y="126"/>
                    </a:lnTo>
                    <a:lnTo>
                      <a:pt x="35" y="144"/>
                    </a:lnTo>
                    <a:lnTo>
                      <a:pt x="35" y="159"/>
                    </a:lnTo>
                    <a:lnTo>
                      <a:pt x="35" y="222"/>
                    </a:lnTo>
                    <a:lnTo>
                      <a:pt x="52" y="222"/>
                    </a:lnTo>
                    <a:lnTo>
                      <a:pt x="35" y="255"/>
                    </a:lnTo>
                    <a:lnTo>
                      <a:pt x="18" y="255"/>
                    </a:lnTo>
                    <a:lnTo>
                      <a:pt x="18" y="270"/>
                    </a:lnTo>
                    <a:lnTo>
                      <a:pt x="0" y="270"/>
                    </a:lnTo>
                    <a:lnTo>
                      <a:pt x="0" y="288"/>
                    </a:lnTo>
                    <a:lnTo>
                      <a:pt x="52" y="318"/>
                    </a:lnTo>
                    <a:lnTo>
                      <a:pt x="87" y="303"/>
                    </a:lnTo>
                    <a:lnTo>
                      <a:pt x="104" y="318"/>
                    </a:lnTo>
                    <a:lnTo>
                      <a:pt x="139" y="351"/>
                    </a:lnTo>
                    <a:lnTo>
                      <a:pt x="156" y="383"/>
                    </a:lnTo>
                    <a:lnTo>
                      <a:pt x="225" y="366"/>
                    </a:lnTo>
                    <a:lnTo>
                      <a:pt x="242" y="383"/>
                    </a:lnTo>
                    <a:lnTo>
                      <a:pt x="242" y="399"/>
                    </a:lnTo>
                    <a:lnTo>
                      <a:pt x="225" y="399"/>
                    </a:lnTo>
                    <a:lnTo>
                      <a:pt x="242" y="41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39" name="Freeform 73">
                <a:extLst>
                  <a:ext uri="{FF2B5EF4-FFF2-40B4-BE49-F238E27FC236}">
                    <a16:creationId xmlns:a16="http://schemas.microsoft.com/office/drawing/2014/main" id="{5783A1BC-639A-1B4A-A106-BB81D9F7F646}"/>
                  </a:ext>
                </a:extLst>
              </p:cNvPr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>
                <a:off x="2962275" y="4622801"/>
                <a:ext cx="122238" cy="127000"/>
              </a:xfrm>
              <a:custGeom>
                <a:avLst/>
                <a:gdLst>
                  <a:gd name="T0" fmla="*/ 29776 w 156"/>
                  <a:gd name="T1" fmla="*/ 6390 h 159"/>
                  <a:gd name="T2" fmla="*/ 29776 w 156"/>
                  <a:gd name="T3" fmla="*/ 6390 h 159"/>
                  <a:gd name="T4" fmla="*/ 26642 w 156"/>
                  <a:gd name="T5" fmla="*/ 3195 h 159"/>
                  <a:gd name="T6" fmla="*/ 19589 w 156"/>
                  <a:gd name="T7" fmla="*/ 6390 h 159"/>
                  <a:gd name="T8" fmla="*/ 10186 w 156"/>
                  <a:gd name="T9" fmla="*/ 0 h 159"/>
                  <a:gd name="T10" fmla="*/ 3134 w 156"/>
                  <a:gd name="T11" fmla="*/ 3195 h 159"/>
                  <a:gd name="T12" fmla="*/ 3134 w 156"/>
                  <a:gd name="T13" fmla="*/ 6390 h 159"/>
                  <a:gd name="T14" fmla="*/ 0 w 156"/>
                  <a:gd name="T15" fmla="*/ 9585 h 159"/>
                  <a:gd name="T16" fmla="*/ 0 w 156"/>
                  <a:gd name="T17" fmla="*/ 15975 h 159"/>
                  <a:gd name="T18" fmla="*/ 3134 w 156"/>
                  <a:gd name="T19" fmla="*/ 22365 h 159"/>
                  <a:gd name="T20" fmla="*/ 3134 w 156"/>
                  <a:gd name="T21" fmla="*/ 19170 h 159"/>
                  <a:gd name="T22" fmla="*/ 6269 w 156"/>
                  <a:gd name="T23" fmla="*/ 19170 h 159"/>
                  <a:gd name="T24" fmla="*/ 3134 w 156"/>
                  <a:gd name="T25" fmla="*/ 22365 h 159"/>
                  <a:gd name="T26" fmla="*/ 0 w 156"/>
                  <a:gd name="T27" fmla="*/ 28755 h 159"/>
                  <a:gd name="T28" fmla="*/ 6269 w 156"/>
                  <a:gd name="T29" fmla="*/ 31950 h 159"/>
                  <a:gd name="T30" fmla="*/ 16455 w 156"/>
                  <a:gd name="T31" fmla="*/ 22365 h 159"/>
                  <a:gd name="T32" fmla="*/ 23507 w 156"/>
                  <a:gd name="T33" fmla="*/ 19170 h 159"/>
                  <a:gd name="T34" fmla="*/ 26642 w 156"/>
                  <a:gd name="T35" fmla="*/ 15975 h 159"/>
                  <a:gd name="T36" fmla="*/ 29776 w 156"/>
                  <a:gd name="T37" fmla="*/ 9585 h 159"/>
                  <a:gd name="T38" fmla="*/ 26642 w 156"/>
                  <a:gd name="T39" fmla="*/ 6390 h 159"/>
                  <a:gd name="T40" fmla="*/ 29776 w 156"/>
                  <a:gd name="T41" fmla="*/ 6390 h 15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56"/>
                  <a:gd name="T64" fmla="*/ 0 h 159"/>
                  <a:gd name="T65" fmla="*/ 156 w 156"/>
                  <a:gd name="T66" fmla="*/ 159 h 15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56" h="159">
                    <a:moveTo>
                      <a:pt x="156" y="30"/>
                    </a:moveTo>
                    <a:lnTo>
                      <a:pt x="156" y="30"/>
                    </a:lnTo>
                    <a:lnTo>
                      <a:pt x="139" y="15"/>
                    </a:lnTo>
                    <a:lnTo>
                      <a:pt x="104" y="30"/>
                    </a:lnTo>
                    <a:lnTo>
                      <a:pt x="52" y="0"/>
                    </a:lnTo>
                    <a:lnTo>
                      <a:pt x="18" y="15"/>
                    </a:lnTo>
                    <a:lnTo>
                      <a:pt x="18" y="30"/>
                    </a:lnTo>
                    <a:lnTo>
                      <a:pt x="0" y="48"/>
                    </a:lnTo>
                    <a:lnTo>
                      <a:pt x="0" y="78"/>
                    </a:lnTo>
                    <a:lnTo>
                      <a:pt x="18" y="111"/>
                    </a:lnTo>
                    <a:lnTo>
                      <a:pt x="18" y="95"/>
                    </a:lnTo>
                    <a:lnTo>
                      <a:pt x="35" y="95"/>
                    </a:lnTo>
                    <a:lnTo>
                      <a:pt x="18" y="111"/>
                    </a:lnTo>
                    <a:lnTo>
                      <a:pt x="0" y="143"/>
                    </a:lnTo>
                    <a:lnTo>
                      <a:pt x="35" y="159"/>
                    </a:lnTo>
                    <a:lnTo>
                      <a:pt x="87" y="111"/>
                    </a:lnTo>
                    <a:lnTo>
                      <a:pt x="121" y="95"/>
                    </a:lnTo>
                    <a:lnTo>
                      <a:pt x="139" y="78"/>
                    </a:lnTo>
                    <a:lnTo>
                      <a:pt x="156" y="48"/>
                    </a:lnTo>
                    <a:lnTo>
                      <a:pt x="139" y="30"/>
                    </a:lnTo>
                    <a:lnTo>
                      <a:pt x="15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40" name="Freeform 74">
                <a:extLst>
                  <a:ext uri="{FF2B5EF4-FFF2-40B4-BE49-F238E27FC236}">
                    <a16:creationId xmlns:a16="http://schemas.microsoft.com/office/drawing/2014/main" id="{490F31D0-3A8D-134C-9B0B-400B222B7631}"/>
                  </a:ext>
                </a:extLst>
              </p:cNvPr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>
                <a:off x="2946400" y="4648201"/>
                <a:ext cx="277813" cy="368300"/>
              </a:xfrm>
              <a:custGeom>
                <a:avLst/>
                <a:gdLst>
                  <a:gd name="T0" fmla="*/ 65881 w 350"/>
                  <a:gd name="T1" fmla="*/ 53859 h 465"/>
                  <a:gd name="T2" fmla="*/ 65881 w 350"/>
                  <a:gd name="T3" fmla="*/ 53859 h 465"/>
                  <a:gd name="T4" fmla="*/ 58738 w 350"/>
                  <a:gd name="T5" fmla="*/ 53859 h 465"/>
                  <a:gd name="T6" fmla="*/ 58738 w 350"/>
                  <a:gd name="T7" fmla="*/ 47523 h 465"/>
                  <a:gd name="T8" fmla="*/ 52388 w 350"/>
                  <a:gd name="T9" fmla="*/ 50691 h 465"/>
                  <a:gd name="T10" fmla="*/ 44450 w 350"/>
                  <a:gd name="T11" fmla="*/ 47523 h 465"/>
                  <a:gd name="T12" fmla="*/ 41275 w 350"/>
                  <a:gd name="T13" fmla="*/ 38018 h 465"/>
                  <a:gd name="T14" fmla="*/ 48419 w 350"/>
                  <a:gd name="T15" fmla="*/ 25345 h 465"/>
                  <a:gd name="T16" fmla="*/ 62706 w 350"/>
                  <a:gd name="T17" fmla="*/ 19009 h 465"/>
                  <a:gd name="T18" fmla="*/ 58738 w 350"/>
                  <a:gd name="T19" fmla="*/ 15841 h 465"/>
                  <a:gd name="T20" fmla="*/ 62706 w 350"/>
                  <a:gd name="T21" fmla="*/ 15841 h 465"/>
                  <a:gd name="T22" fmla="*/ 62706 w 350"/>
                  <a:gd name="T23" fmla="*/ 12673 h 465"/>
                  <a:gd name="T24" fmla="*/ 58738 w 350"/>
                  <a:gd name="T25" fmla="*/ 9505 h 465"/>
                  <a:gd name="T26" fmla="*/ 44450 w 350"/>
                  <a:gd name="T27" fmla="*/ 12673 h 465"/>
                  <a:gd name="T28" fmla="*/ 41275 w 350"/>
                  <a:gd name="T29" fmla="*/ 6336 h 465"/>
                  <a:gd name="T30" fmla="*/ 34925 w 350"/>
                  <a:gd name="T31" fmla="*/ 0 h 465"/>
                  <a:gd name="T32" fmla="*/ 31750 w 350"/>
                  <a:gd name="T33" fmla="*/ 0 h 465"/>
                  <a:gd name="T34" fmla="*/ 34925 w 350"/>
                  <a:gd name="T35" fmla="*/ 3168 h 465"/>
                  <a:gd name="T36" fmla="*/ 31750 w 350"/>
                  <a:gd name="T37" fmla="*/ 9505 h 465"/>
                  <a:gd name="T38" fmla="*/ 27781 w 350"/>
                  <a:gd name="T39" fmla="*/ 12673 h 465"/>
                  <a:gd name="T40" fmla="*/ 20638 w 350"/>
                  <a:gd name="T41" fmla="*/ 15841 h 465"/>
                  <a:gd name="T42" fmla="*/ 10319 w 350"/>
                  <a:gd name="T43" fmla="*/ 25345 h 465"/>
                  <a:gd name="T44" fmla="*/ 3969 w 350"/>
                  <a:gd name="T45" fmla="*/ 22177 h 465"/>
                  <a:gd name="T46" fmla="*/ 7938 w 350"/>
                  <a:gd name="T47" fmla="*/ 15841 h 465"/>
                  <a:gd name="T48" fmla="*/ 0 w 350"/>
                  <a:gd name="T49" fmla="*/ 22177 h 465"/>
                  <a:gd name="T50" fmla="*/ 3969 w 350"/>
                  <a:gd name="T51" fmla="*/ 28514 h 465"/>
                  <a:gd name="T52" fmla="*/ 0 w 350"/>
                  <a:gd name="T53" fmla="*/ 28514 h 465"/>
                  <a:gd name="T54" fmla="*/ 7938 w 350"/>
                  <a:gd name="T55" fmla="*/ 34850 h 465"/>
                  <a:gd name="T56" fmla="*/ 14288 w 350"/>
                  <a:gd name="T57" fmla="*/ 41186 h 465"/>
                  <a:gd name="T58" fmla="*/ 31750 w 350"/>
                  <a:gd name="T59" fmla="*/ 72868 h 465"/>
                  <a:gd name="T60" fmla="*/ 58738 w 350"/>
                  <a:gd name="T61" fmla="*/ 91877 h 465"/>
                  <a:gd name="T62" fmla="*/ 65881 w 350"/>
                  <a:gd name="T63" fmla="*/ 88709 h 465"/>
                  <a:gd name="T64" fmla="*/ 69850 w 350"/>
                  <a:gd name="T65" fmla="*/ 82372 h 465"/>
                  <a:gd name="T66" fmla="*/ 65881 w 350"/>
                  <a:gd name="T67" fmla="*/ 79204 h 465"/>
                  <a:gd name="T68" fmla="*/ 69850 w 350"/>
                  <a:gd name="T69" fmla="*/ 60195 h 465"/>
                  <a:gd name="T70" fmla="*/ 65881 w 350"/>
                  <a:gd name="T71" fmla="*/ 53859 h 46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50"/>
                  <a:gd name="T109" fmla="*/ 0 h 465"/>
                  <a:gd name="T110" fmla="*/ 350 w 350"/>
                  <a:gd name="T111" fmla="*/ 465 h 46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50" h="465">
                    <a:moveTo>
                      <a:pt x="332" y="273"/>
                    </a:moveTo>
                    <a:lnTo>
                      <a:pt x="332" y="273"/>
                    </a:lnTo>
                    <a:lnTo>
                      <a:pt x="296" y="273"/>
                    </a:lnTo>
                    <a:lnTo>
                      <a:pt x="296" y="240"/>
                    </a:lnTo>
                    <a:lnTo>
                      <a:pt x="261" y="257"/>
                    </a:lnTo>
                    <a:lnTo>
                      <a:pt x="227" y="240"/>
                    </a:lnTo>
                    <a:lnTo>
                      <a:pt x="210" y="192"/>
                    </a:lnTo>
                    <a:lnTo>
                      <a:pt x="244" y="129"/>
                    </a:lnTo>
                    <a:lnTo>
                      <a:pt x="313" y="96"/>
                    </a:lnTo>
                    <a:lnTo>
                      <a:pt x="296" y="81"/>
                    </a:lnTo>
                    <a:lnTo>
                      <a:pt x="313" y="81"/>
                    </a:lnTo>
                    <a:lnTo>
                      <a:pt x="313" y="65"/>
                    </a:lnTo>
                    <a:lnTo>
                      <a:pt x="296" y="48"/>
                    </a:lnTo>
                    <a:lnTo>
                      <a:pt x="227" y="65"/>
                    </a:lnTo>
                    <a:lnTo>
                      <a:pt x="210" y="33"/>
                    </a:lnTo>
                    <a:lnTo>
                      <a:pt x="175" y="0"/>
                    </a:lnTo>
                    <a:lnTo>
                      <a:pt x="158" y="0"/>
                    </a:lnTo>
                    <a:lnTo>
                      <a:pt x="175" y="18"/>
                    </a:lnTo>
                    <a:lnTo>
                      <a:pt x="158" y="48"/>
                    </a:lnTo>
                    <a:lnTo>
                      <a:pt x="140" y="65"/>
                    </a:lnTo>
                    <a:lnTo>
                      <a:pt x="106" y="81"/>
                    </a:lnTo>
                    <a:lnTo>
                      <a:pt x="54" y="129"/>
                    </a:lnTo>
                    <a:lnTo>
                      <a:pt x="19" y="113"/>
                    </a:lnTo>
                    <a:lnTo>
                      <a:pt x="37" y="81"/>
                    </a:lnTo>
                    <a:lnTo>
                      <a:pt x="0" y="113"/>
                    </a:lnTo>
                    <a:lnTo>
                      <a:pt x="19" y="144"/>
                    </a:lnTo>
                    <a:lnTo>
                      <a:pt x="0" y="144"/>
                    </a:lnTo>
                    <a:lnTo>
                      <a:pt x="37" y="177"/>
                    </a:lnTo>
                    <a:lnTo>
                      <a:pt x="71" y="209"/>
                    </a:lnTo>
                    <a:lnTo>
                      <a:pt x="158" y="369"/>
                    </a:lnTo>
                    <a:lnTo>
                      <a:pt x="296" y="465"/>
                    </a:lnTo>
                    <a:lnTo>
                      <a:pt x="332" y="449"/>
                    </a:lnTo>
                    <a:lnTo>
                      <a:pt x="350" y="417"/>
                    </a:lnTo>
                    <a:lnTo>
                      <a:pt x="332" y="401"/>
                    </a:lnTo>
                    <a:lnTo>
                      <a:pt x="350" y="305"/>
                    </a:lnTo>
                    <a:lnTo>
                      <a:pt x="332" y="27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41" name="Freeform 75">
                <a:extLst>
                  <a:ext uri="{FF2B5EF4-FFF2-40B4-BE49-F238E27FC236}">
                    <a16:creationId xmlns:a16="http://schemas.microsoft.com/office/drawing/2014/main" id="{4E2EE4E5-D340-F24D-A2D7-15A2AAA70C36}"/>
                  </a:ext>
                </a:extLst>
              </p:cNvPr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>
                <a:off x="3208338" y="4838701"/>
                <a:ext cx="249238" cy="279400"/>
              </a:xfrm>
              <a:custGeom>
                <a:avLst/>
                <a:gdLst>
                  <a:gd name="T0" fmla="*/ 62907 w 313"/>
                  <a:gd name="T1" fmla="*/ 53822 h 353"/>
                  <a:gd name="T2" fmla="*/ 62907 w 313"/>
                  <a:gd name="T3" fmla="*/ 53822 h 353"/>
                  <a:gd name="T4" fmla="*/ 62907 w 313"/>
                  <a:gd name="T5" fmla="*/ 44324 h 353"/>
                  <a:gd name="T6" fmla="*/ 58925 w 313"/>
                  <a:gd name="T7" fmla="*/ 37992 h 353"/>
                  <a:gd name="T8" fmla="*/ 58925 w 313"/>
                  <a:gd name="T9" fmla="*/ 34826 h 353"/>
                  <a:gd name="T10" fmla="*/ 52555 w 313"/>
                  <a:gd name="T11" fmla="*/ 34826 h 353"/>
                  <a:gd name="T12" fmla="*/ 48574 w 313"/>
                  <a:gd name="T13" fmla="*/ 28494 h 353"/>
                  <a:gd name="T14" fmla="*/ 48574 w 313"/>
                  <a:gd name="T15" fmla="*/ 25328 h 353"/>
                  <a:gd name="T16" fmla="*/ 45388 w 313"/>
                  <a:gd name="T17" fmla="*/ 18996 h 353"/>
                  <a:gd name="T18" fmla="*/ 24685 w 313"/>
                  <a:gd name="T19" fmla="*/ 12664 h 353"/>
                  <a:gd name="T20" fmla="*/ 20703 w 313"/>
                  <a:gd name="T21" fmla="*/ 9498 h 353"/>
                  <a:gd name="T22" fmla="*/ 20703 w 313"/>
                  <a:gd name="T23" fmla="*/ 0 h 353"/>
                  <a:gd name="T24" fmla="*/ 14333 w 313"/>
                  <a:gd name="T25" fmla="*/ 0 h 353"/>
                  <a:gd name="T26" fmla="*/ 7167 w 313"/>
                  <a:gd name="T27" fmla="*/ 6332 h 353"/>
                  <a:gd name="T28" fmla="*/ 0 w 313"/>
                  <a:gd name="T29" fmla="*/ 6332 h 353"/>
                  <a:gd name="T30" fmla="*/ 3981 w 313"/>
                  <a:gd name="T31" fmla="*/ 12664 h 353"/>
                  <a:gd name="T32" fmla="*/ 0 w 313"/>
                  <a:gd name="T33" fmla="*/ 31660 h 353"/>
                  <a:gd name="T34" fmla="*/ 3981 w 313"/>
                  <a:gd name="T35" fmla="*/ 34826 h 353"/>
                  <a:gd name="T36" fmla="*/ 0 w 313"/>
                  <a:gd name="T37" fmla="*/ 41158 h 353"/>
                  <a:gd name="T38" fmla="*/ 3981 w 313"/>
                  <a:gd name="T39" fmla="*/ 50656 h 353"/>
                  <a:gd name="T40" fmla="*/ 3981 w 313"/>
                  <a:gd name="T41" fmla="*/ 53822 h 353"/>
                  <a:gd name="T42" fmla="*/ 7167 w 313"/>
                  <a:gd name="T43" fmla="*/ 69652 h 353"/>
                  <a:gd name="T44" fmla="*/ 10352 w 313"/>
                  <a:gd name="T45" fmla="*/ 69652 h 353"/>
                  <a:gd name="T46" fmla="*/ 17518 w 313"/>
                  <a:gd name="T47" fmla="*/ 63320 h 353"/>
                  <a:gd name="T48" fmla="*/ 28666 w 313"/>
                  <a:gd name="T49" fmla="*/ 66486 h 353"/>
                  <a:gd name="T50" fmla="*/ 31852 w 313"/>
                  <a:gd name="T51" fmla="*/ 63320 h 353"/>
                  <a:gd name="T52" fmla="*/ 38222 w 313"/>
                  <a:gd name="T53" fmla="*/ 66486 h 353"/>
                  <a:gd name="T54" fmla="*/ 42203 w 313"/>
                  <a:gd name="T55" fmla="*/ 50656 h 353"/>
                  <a:gd name="T56" fmla="*/ 55740 w 313"/>
                  <a:gd name="T57" fmla="*/ 50656 h 353"/>
                  <a:gd name="T58" fmla="*/ 62907 w 313"/>
                  <a:gd name="T59" fmla="*/ 53822 h 353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313"/>
                  <a:gd name="T91" fmla="*/ 0 h 353"/>
                  <a:gd name="T92" fmla="*/ 313 w 313"/>
                  <a:gd name="T93" fmla="*/ 353 h 353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313" h="353">
                    <a:moveTo>
                      <a:pt x="313" y="273"/>
                    </a:moveTo>
                    <a:lnTo>
                      <a:pt x="313" y="273"/>
                    </a:lnTo>
                    <a:lnTo>
                      <a:pt x="313" y="225"/>
                    </a:lnTo>
                    <a:lnTo>
                      <a:pt x="296" y="192"/>
                    </a:lnTo>
                    <a:lnTo>
                      <a:pt x="296" y="177"/>
                    </a:lnTo>
                    <a:lnTo>
                      <a:pt x="262" y="177"/>
                    </a:lnTo>
                    <a:lnTo>
                      <a:pt x="244" y="144"/>
                    </a:lnTo>
                    <a:lnTo>
                      <a:pt x="244" y="129"/>
                    </a:lnTo>
                    <a:lnTo>
                      <a:pt x="227" y="96"/>
                    </a:lnTo>
                    <a:lnTo>
                      <a:pt x="121" y="65"/>
                    </a:lnTo>
                    <a:lnTo>
                      <a:pt x="104" y="48"/>
                    </a:lnTo>
                    <a:lnTo>
                      <a:pt x="104" y="0"/>
                    </a:lnTo>
                    <a:lnTo>
                      <a:pt x="70" y="0"/>
                    </a:lnTo>
                    <a:lnTo>
                      <a:pt x="35" y="33"/>
                    </a:lnTo>
                    <a:lnTo>
                      <a:pt x="0" y="33"/>
                    </a:lnTo>
                    <a:lnTo>
                      <a:pt x="18" y="65"/>
                    </a:lnTo>
                    <a:lnTo>
                      <a:pt x="0" y="161"/>
                    </a:lnTo>
                    <a:lnTo>
                      <a:pt x="18" y="177"/>
                    </a:lnTo>
                    <a:lnTo>
                      <a:pt x="0" y="209"/>
                    </a:lnTo>
                    <a:lnTo>
                      <a:pt x="18" y="257"/>
                    </a:lnTo>
                    <a:lnTo>
                      <a:pt x="18" y="273"/>
                    </a:lnTo>
                    <a:lnTo>
                      <a:pt x="35" y="353"/>
                    </a:lnTo>
                    <a:lnTo>
                      <a:pt x="52" y="353"/>
                    </a:lnTo>
                    <a:lnTo>
                      <a:pt x="87" y="321"/>
                    </a:lnTo>
                    <a:lnTo>
                      <a:pt x="141" y="336"/>
                    </a:lnTo>
                    <a:lnTo>
                      <a:pt x="158" y="321"/>
                    </a:lnTo>
                    <a:lnTo>
                      <a:pt x="192" y="336"/>
                    </a:lnTo>
                    <a:lnTo>
                      <a:pt x="210" y="257"/>
                    </a:lnTo>
                    <a:lnTo>
                      <a:pt x="279" y="257"/>
                    </a:lnTo>
                    <a:lnTo>
                      <a:pt x="313" y="27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42" name="Freeform 76">
                <a:extLst>
                  <a:ext uri="{FF2B5EF4-FFF2-40B4-BE49-F238E27FC236}">
                    <a16:creationId xmlns:a16="http://schemas.microsoft.com/office/drawing/2014/main" id="{5D4A57D8-A9D9-6744-BD73-0242F9248672}"/>
                  </a:ext>
                </a:extLst>
              </p:cNvPr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auto">
              <a:xfrm>
                <a:off x="3359150" y="5041901"/>
                <a:ext cx="180975" cy="176213"/>
              </a:xfrm>
              <a:custGeom>
                <a:avLst/>
                <a:gdLst>
                  <a:gd name="T0" fmla="*/ 42441 w 226"/>
                  <a:gd name="T1" fmla="*/ 31608 h 223"/>
                  <a:gd name="T2" fmla="*/ 42441 w 226"/>
                  <a:gd name="T3" fmla="*/ 31608 h 223"/>
                  <a:gd name="T4" fmla="*/ 46445 w 226"/>
                  <a:gd name="T5" fmla="*/ 24496 h 223"/>
                  <a:gd name="T6" fmla="*/ 38437 w 226"/>
                  <a:gd name="T7" fmla="*/ 22125 h 223"/>
                  <a:gd name="T8" fmla="*/ 38437 w 226"/>
                  <a:gd name="T9" fmla="*/ 15014 h 223"/>
                  <a:gd name="T10" fmla="*/ 35234 w 226"/>
                  <a:gd name="T11" fmla="*/ 15014 h 223"/>
                  <a:gd name="T12" fmla="*/ 24824 w 226"/>
                  <a:gd name="T13" fmla="*/ 12643 h 223"/>
                  <a:gd name="T14" fmla="*/ 24824 w 226"/>
                  <a:gd name="T15" fmla="*/ 3161 h 223"/>
                  <a:gd name="T16" fmla="*/ 17617 w 226"/>
                  <a:gd name="T17" fmla="*/ 0 h 223"/>
                  <a:gd name="T18" fmla="*/ 4004 w 226"/>
                  <a:gd name="T19" fmla="*/ 0 h 223"/>
                  <a:gd name="T20" fmla="*/ 0 w 226"/>
                  <a:gd name="T21" fmla="*/ 15014 h 223"/>
                  <a:gd name="T22" fmla="*/ 7207 w 226"/>
                  <a:gd name="T23" fmla="*/ 24496 h 223"/>
                  <a:gd name="T24" fmla="*/ 17617 w 226"/>
                  <a:gd name="T25" fmla="*/ 24496 h 223"/>
                  <a:gd name="T26" fmla="*/ 24824 w 226"/>
                  <a:gd name="T27" fmla="*/ 31608 h 223"/>
                  <a:gd name="T28" fmla="*/ 24824 w 226"/>
                  <a:gd name="T29" fmla="*/ 33978 h 223"/>
                  <a:gd name="T30" fmla="*/ 21621 w 226"/>
                  <a:gd name="T31" fmla="*/ 40300 h 223"/>
                  <a:gd name="T32" fmla="*/ 32031 w 226"/>
                  <a:gd name="T33" fmla="*/ 43461 h 223"/>
                  <a:gd name="T34" fmla="*/ 35234 w 226"/>
                  <a:gd name="T35" fmla="*/ 40300 h 223"/>
                  <a:gd name="T36" fmla="*/ 42441 w 226"/>
                  <a:gd name="T37" fmla="*/ 37929 h 223"/>
                  <a:gd name="T38" fmla="*/ 42441 w 226"/>
                  <a:gd name="T39" fmla="*/ 31608 h 22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26"/>
                  <a:gd name="T61" fmla="*/ 0 h 223"/>
                  <a:gd name="T62" fmla="*/ 226 w 226"/>
                  <a:gd name="T63" fmla="*/ 223 h 22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26" h="223">
                    <a:moveTo>
                      <a:pt x="209" y="160"/>
                    </a:moveTo>
                    <a:lnTo>
                      <a:pt x="209" y="160"/>
                    </a:lnTo>
                    <a:lnTo>
                      <a:pt x="226" y="127"/>
                    </a:lnTo>
                    <a:lnTo>
                      <a:pt x="191" y="112"/>
                    </a:lnTo>
                    <a:lnTo>
                      <a:pt x="191" y="79"/>
                    </a:lnTo>
                    <a:lnTo>
                      <a:pt x="174" y="79"/>
                    </a:lnTo>
                    <a:lnTo>
                      <a:pt x="122" y="64"/>
                    </a:lnTo>
                    <a:lnTo>
                      <a:pt x="122" y="16"/>
                    </a:lnTo>
                    <a:lnTo>
                      <a:pt x="88" y="0"/>
                    </a:lnTo>
                    <a:lnTo>
                      <a:pt x="17" y="0"/>
                    </a:lnTo>
                    <a:lnTo>
                      <a:pt x="0" y="79"/>
                    </a:lnTo>
                    <a:lnTo>
                      <a:pt x="34" y="127"/>
                    </a:lnTo>
                    <a:lnTo>
                      <a:pt x="88" y="127"/>
                    </a:lnTo>
                    <a:lnTo>
                      <a:pt x="122" y="160"/>
                    </a:lnTo>
                    <a:lnTo>
                      <a:pt x="122" y="175"/>
                    </a:lnTo>
                    <a:lnTo>
                      <a:pt x="105" y="207"/>
                    </a:lnTo>
                    <a:lnTo>
                      <a:pt x="157" y="223"/>
                    </a:lnTo>
                    <a:lnTo>
                      <a:pt x="174" y="207"/>
                    </a:lnTo>
                    <a:lnTo>
                      <a:pt x="209" y="192"/>
                    </a:lnTo>
                    <a:lnTo>
                      <a:pt x="209" y="16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43" name="Freeform 77">
                <a:extLst>
                  <a:ext uri="{FF2B5EF4-FFF2-40B4-BE49-F238E27FC236}">
                    <a16:creationId xmlns:a16="http://schemas.microsoft.com/office/drawing/2014/main" id="{5817BC1D-472E-0A4C-9DD8-1021796C0A0C}"/>
                  </a:ext>
                </a:extLst>
              </p:cNvPr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>
                <a:off x="3125788" y="5092701"/>
                <a:ext cx="427038" cy="787400"/>
              </a:xfrm>
              <a:custGeom>
                <a:avLst/>
                <a:gdLst>
                  <a:gd name="T0" fmla="*/ 79523 w 537"/>
                  <a:gd name="T1" fmla="*/ 69850 h 992"/>
                  <a:gd name="T2" fmla="*/ 100199 w 537"/>
                  <a:gd name="T3" fmla="*/ 31750 h 992"/>
                  <a:gd name="T4" fmla="*/ 103380 w 537"/>
                  <a:gd name="T5" fmla="*/ 19050 h 992"/>
                  <a:gd name="T6" fmla="*/ 100199 w 537"/>
                  <a:gd name="T7" fmla="*/ 25400 h 992"/>
                  <a:gd name="T8" fmla="*/ 89861 w 537"/>
                  <a:gd name="T9" fmla="*/ 31750 h 992"/>
                  <a:gd name="T10" fmla="*/ 82704 w 537"/>
                  <a:gd name="T11" fmla="*/ 22225 h 992"/>
                  <a:gd name="T12" fmla="*/ 76342 w 537"/>
                  <a:gd name="T13" fmla="*/ 12700 h 992"/>
                  <a:gd name="T14" fmla="*/ 58847 w 537"/>
                  <a:gd name="T15" fmla="*/ 3175 h 992"/>
                  <a:gd name="T16" fmla="*/ 48509 w 537"/>
                  <a:gd name="T17" fmla="*/ 3175 h 992"/>
                  <a:gd name="T18" fmla="*/ 31014 w 537"/>
                  <a:gd name="T19" fmla="*/ 6350 h 992"/>
                  <a:gd name="T20" fmla="*/ 24652 w 537"/>
                  <a:gd name="T21" fmla="*/ 15875 h 992"/>
                  <a:gd name="T22" fmla="*/ 20676 w 537"/>
                  <a:gd name="T23" fmla="*/ 34925 h 992"/>
                  <a:gd name="T24" fmla="*/ 17495 w 537"/>
                  <a:gd name="T25" fmla="*/ 66675 h 992"/>
                  <a:gd name="T26" fmla="*/ 14314 w 537"/>
                  <a:gd name="T27" fmla="*/ 82550 h 992"/>
                  <a:gd name="T28" fmla="*/ 10338 w 537"/>
                  <a:gd name="T29" fmla="*/ 98425 h 992"/>
                  <a:gd name="T30" fmla="*/ 7157 w 537"/>
                  <a:gd name="T31" fmla="*/ 117475 h 992"/>
                  <a:gd name="T32" fmla="*/ 7157 w 537"/>
                  <a:gd name="T33" fmla="*/ 136525 h 992"/>
                  <a:gd name="T34" fmla="*/ 10338 w 537"/>
                  <a:gd name="T35" fmla="*/ 139700 h 992"/>
                  <a:gd name="T36" fmla="*/ 10338 w 537"/>
                  <a:gd name="T37" fmla="*/ 139700 h 992"/>
                  <a:gd name="T38" fmla="*/ 3976 w 537"/>
                  <a:gd name="T39" fmla="*/ 158750 h 992"/>
                  <a:gd name="T40" fmla="*/ 0 w 537"/>
                  <a:gd name="T41" fmla="*/ 174625 h 992"/>
                  <a:gd name="T42" fmla="*/ 0 w 537"/>
                  <a:gd name="T43" fmla="*/ 184150 h 992"/>
                  <a:gd name="T44" fmla="*/ 3976 w 537"/>
                  <a:gd name="T45" fmla="*/ 190500 h 992"/>
                  <a:gd name="T46" fmla="*/ 17495 w 537"/>
                  <a:gd name="T47" fmla="*/ 193675 h 992"/>
                  <a:gd name="T48" fmla="*/ 24652 w 537"/>
                  <a:gd name="T49" fmla="*/ 196850 h 992"/>
                  <a:gd name="T50" fmla="*/ 24652 w 537"/>
                  <a:gd name="T51" fmla="*/ 180975 h 992"/>
                  <a:gd name="T52" fmla="*/ 31014 w 537"/>
                  <a:gd name="T53" fmla="*/ 168275 h 992"/>
                  <a:gd name="T54" fmla="*/ 42147 w 537"/>
                  <a:gd name="T55" fmla="*/ 155575 h 992"/>
                  <a:gd name="T56" fmla="*/ 31014 w 537"/>
                  <a:gd name="T57" fmla="*/ 149225 h 992"/>
                  <a:gd name="T58" fmla="*/ 34990 w 537"/>
                  <a:gd name="T59" fmla="*/ 142875 h 992"/>
                  <a:gd name="T60" fmla="*/ 42147 w 537"/>
                  <a:gd name="T61" fmla="*/ 136525 h 992"/>
                  <a:gd name="T62" fmla="*/ 45328 w 537"/>
                  <a:gd name="T63" fmla="*/ 130175 h 992"/>
                  <a:gd name="T64" fmla="*/ 45328 w 537"/>
                  <a:gd name="T65" fmla="*/ 123825 h 992"/>
                  <a:gd name="T66" fmla="*/ 52485 w 537"/>
                  <a:gd name="T67" fmla="*/ 123825 h 992"/>
                  <a:gd name="T68" fmla="*/ 48509 w 537"/>
                  <a:gd name="T69" fmla="*/ 120650 h 992"/>
                  <a:gd name="T70" fmla="*/ 45328 w 537"/>
                  <a:gd name="T71" fmla="*/ 111125 h 992"/>
                  <a:gd name="T72" fmla="*/ 58847 w 537"/>
                  <a:gd name="T73" fmla="*/ 111125 h 992"/>
                  <a:gd name="T74" fmla="*/ 58847 w 537"/>
                  <a:gd name="T75" fmla="*/ 98425 h 992"/>
                  <a:gd name="T76" fmla="*/ 69185 w 537"/>
                  <a:gd name="T77" fmla="*/ 98425 h 992"/>
                  <a:gd name="T78" fmla="*/ 89861 w 537"/>
                  <a:gd name="T79" fmla="*/ 85725 h 992"/>
                  <a:gd name="T80" fmla="*/ 86680 w 537"/>
                  <a:gd name="T81" fmla="*/ 79375 h 992"/>
                  <a:gd name="T82" fmla="*/ 79523 w 537"/>
                  <a:gd name="T83" fmla="*/ 73025 h 9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37"/>
                  <a:gd name="T127" fmla="*/ 0 h 992"/>
                  <a:gd name="T128" fmla="*/ 537 w 537"/>
                  <a:gd name="T129" fmla="*/ 992 h 99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37" h="992">
                    <a:moveTo>
                      <a:pt x="399" y="351"/>
                    </a:moveTo>
                    <a:lnTo>
                      <a:pt x="399" y="351"/>
                    </a:lnTo>
                    <a:lnTo>
                      <a:pt x="434" y="239"/>
                    </a:lnTo>
                    <a:lnTo>
                      <a:pt x="503" y="159"/>
                    </a:lnTo>
                    <a:lnTo>
                      <a:pt x="537" y="143"/>
                    </a:lnTo>
                    <a:lnTo>
                      <a:pt x="520" y="96"/>
                    </a:lnTo>
                    <a:lnTo>
                      <a:pt x="503" y="96"/>
                    </a:lnTo>
                    <a:lnTo>
                      <a:pt x="503" y="128"/>
                    </a:lnTo>
                    <a:lnTo>
                      <a:pt x="468" y="143"/>
                    </a:lnTo>
                    <a:lnTo>
                      <a:pt x="451" y="159"/>
                    </a:lnTo>
                    <a:lnTo>
                      <a:pt x="399" y="143"/>
                    </a:lnTo>
                    <a:lnTo>
                      <a:pt x="416" y="111"/>
                    </a:lnTo>
                    <a:lnTo>
                      <a:pt x="416" y="96"/>
                    </a:lnTo>
                    <a:lnTo>
                      <a:pt x="382" y="63"/>
                    </a:lnTo>
                    <a:lnTo>
                      <a:pt x="330" y="63"/>
                    </a:lnTo>
                    <a:lnTo>
                      <a:pt x="295" y="15"/>
                    </a:lnTo>
                    <a:lnTo>
                      <a:pt x="261" y="0"/>
                    </a:lnTo>
                    <a:lnTo>
                      <a:pt x="244" y="15"/>
                    </a:lnTo>
                    <a:lnTo>
                      <a:pt x="192" y="0"/>
                    </a:lnTo>
                    <a:lnTo>
                      <a:pt x="155" y="32"/>
                    </a:lnTo>
                    <a:lnTo>
                      <a:pt x="155" y="63"/>
                    </a:lnTo>
                    <a:lnTo>
                      <a:pt x="121" y="80"/>
                    </a:lnTo>
                    <a:lnTo>
                      <a:pt x="138" y="128"/>
                    </a:lnTo>
                    <a:lnTo>
                      <a:pt x="103" y="176"/>
                    </a:lnTo>
                    <a:lnTo>
                      <a:pt x="69" y="272"/>
                    </a:lnTo>
                    <a:lnTo>
                      <a:pt x="86" y="335"/>
                    </a:lnTo>
                    <a:lnTo>
                      <a:pt x="69" y="383"/>
                    </a:lnTo>
                    <a:lnTo>
                      <a:pt x="69" y="416"/>
                    </a:lnTo>
                    <a:lnTo>
                      <a:pt x="52" y="431"/>
                    </a:lnTo>
                    <a:lnTo>
                      <a:pt x="52" y="495"/>
                    </a:lnTo>
                    <a:lnTo>
                      <a:pt x="34" y="527"/>
                    </a:lnTo>
                    <a:lnTo>
                      <a:pt x="34" y="591"/>
                    </a:lnTo>
                    <a:lnTo>
                      <a:pt x="34" y="623"/>
                    </a:lnTo>
                    <a:lnTo>
                      <a:pt x="34" y="687"/>
                    </a:lnTo>
                    <a:lnTo>
                      <a:pt x="52" y="687"/>
                    </a:lnTo>
                    <a:lnTo>
                      <a:pt x="52" y="704"/>
                    </a:lnTo>
                    <a:lnTo>
                      <a:pt x="34" y="704"/>
                    </a:lnTo>
                    <a:lnTo>
                      <a:pt x="52" y="704"/>
                    </a:lnTo>
                    <a:lnTo>
                      <a:pt x="34" y="767"/>
                    </a:lnTo>
                    <a:lnTo>
                      <a:pt x="17" y="800"/>
                    </a:lnTo>
                    <a:lnTo>
                      <a:pt x="17" y="830"/>
                    </a:lnTo>
                    <a:lnTo>
                      <a:pt x="0" y="878"/>
                    </a:lnTo>
                    <a:lnTo>
                      <a:pt x="0" y="911"/>
                    </a:lnTo>
                    <a:lnTo>
                      <a:pt x="0" y="926"/>
                    </a:lnTo>
                    <a:lnTo>
                      <a:pt x="17" y="911"/>
                    </a:lnTo>
                    <a:lnTo>
                      <a:pt x="17" y="959"/>
                    </a:lnTo>
                    <a:lnTo>
                      <a:pt x="34" y="974"/>
                    </a:lnTo>
                    <a:lnTo>
                      <a:pt x="86" y="974"/>
                    </a:lnTo>
                    <a:lnTo>
                      <a:pt x="121" y="974"/>
                    </a:lnTo>
                    <a:lnTo>
                      <a:pt x="121" y="992"/>
                    </a:lnTo>
                    <a:lnTo>
                      <a:pt x="103" y="926"/>
                    </a:lnTo>
                    <a:lnTo>
                      <a:pt x="121" y="911"/>
                    </a:lnTo>
                    <a:lnTo>
                      <a:pt x="138" y="896"/>
                    </a:lnTo>
                    <a:lnTo>
                      <a:pt x="155" y="848"/>
                    </a:lnTo>
                    <a:lnTo>
                      <a:pt x="209" y="815"/>
                    </a:lnTo>
                    <a:lnTo>
                      <a:pt x="209" y="782"/>
                    </a:lnTo>
                    <a:lnTo>
                      <a:pt x="192" y="782"/>
                    </a:lnTo>
                    <a:lnTo>
                      <a:pt x="155" y="752"/>
                    </a:lnTo>
                    <a:lnTo>
                      <a:pt x="155" y="734"/>
                    </a:lnTo>
                    <a:lnTo>
                      <a:pt x="174" y="719"/>
                    </a:lnTo>
                    <a:lnTo>
                      <a:pt x="209" y="704"/>
                    </a:lnTo>
                    <a:lnTo>
                      <a:pt x="209" y="687"/>
                    </a:lnTo>
                    <a:lnTo>
                      <a:pt x="226" y="687"/>
                    </a:lnTo>
                    <a:lnTo>
                      <a:pt x="226" y="656"/>
                    </a:lnTo>
                    <a:lnTo>
                      <a:pt x="244" y="639"/>
                    </a:lnTo>
                    <a:lnTo>
                      <a:pt x="226" y="623"/>
                    </a:lnTo>
                    <a:lnTo>
                      <a:pt x="244" y="623"/>
                    </a:lnTo>
                    <a:lnTo>
                      <a:pt x="261" y="623"/>
                    </a:lnTo>
                    <a:lnTo>
                      <a:pt x="261" y="608"/>
                    </a:lnTo>
                    <a:lnTo>
                      <a:pt x="244" y="608"/>
                    </a:lnTo>
                    <a:lnTo>
                      <a:pt x="226" y="608"/>
                    </a:lnTo>
                    <a:lnTo>
                      <a:pt x="226" y="560"/>
                    </a:lnTo>
                    <a:lnTo>
                      <a:pt x="261" y="575"/>
                    </a:lnTo>
                    <a:lnTo>
                      <a:pt x="295" y="560"/>
                    </a:lnTo>
                    <a:lnTo>
                      <a:pt x="313" y="512"/>
                    </a:lnTo>
                    <a:lnTo>
                      <a:pt x="295" y="495"/>
                    </a:lnTo>
                    <a:lnTo>
                      <a:pt x="313" y="495"/>
                    </a:lnTo>
                    <a:lnTo>
                      <a:pt x="347" y="495"/>
                    </a:lnTo>
                    <a:lnTo>
                      <a:pt x="434" y="479"/>
                    </a:lnTo>
                    <a:lnTo>
                      <a:pt x="451" y="431"/>
                    </a:lnTo>
                    <a:lnTo>
                      <a:pt x="451" y="416"/>
                    </a:lnTo>
                    <a:lnTo>
                      <a:pt x="434" y="399"/>
                    </a:lnTo>
                    <a:lnTo>
                      <a:pt x="434" y="383"/>
                    </a:lnTo>
                    <a:lnTo>
                      <a:pt x="399" y="368"/>
                    </a:lnTo>
                    <a:lnTo>
                      <a:pt x="399" y="35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44" name="Freeform 78">
                <a:extLst>
                  <a:ext uri="{FF2B5EF4-FFF2-40B4-BE49-F238E27FC236}">
                    <a16:creationId xmlns:a16="http://schemas.microsoft.com/office/drawing/2014/main" id="{6EAE80E0-4EEA-414C-8382-065F6E680AE4}"/>
                  </a:ext>
                </a:extLst>
              </p:cNvPr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auto">
              <a:xfrm>
                <a:off x="3441700" y="5283201"/>
                <a:ext cx="125413" cy="101600"/>
              </a:xfrm>
              <a:custGeom>
                <a:avLst/>
                <a:gdLst>
                  <a:gd name="T0" fmla="*/ 27781 w 158"/>
                  <a:gd name="T1" fmla="*/ 18902 h 129"/>
                  <a:gd name="T2" fmla="*/ 27781 w 158"/>
                  <a:gd name="T3" fmla="*/ 18902 h 129"/>
                  <a:gd name="T4" fmla="*/ 31750 w 158"/>
                  <a:gd name="T5" fmla="*/ 12602 h 129"/>
                  <a:gd name="T6" fmla="*/ 27781 w 158"/>
                  <a:gd name="T7" fmla="*/ 9451 h 129"/>
                  <a:gd name="T8" fmla="*/ 17463 w 158"/>
                  <a:gd name="T9" fmla="*/ 3150 h 129"/>
                  <a:gd name="T10" fmla="*/ 14288 w 158"/>
                  <a:gd name="T11" fmla="*/ 3150 h 129"/>
                  <a:gd name="T12" fmla="*/ 10319 w 158"/>
                  <a:gd name="T13" fmla="*/ 0 h 129"/>
                  <a:gd name="T14" fmla="*/ 7144 w 158"/>
                  <a:gd name="T15" fmla="*/ 0 h 129"/>
                  <a:gd name="T16" fmla="*/ 0 w 158"/>
                  <a:gd name="T17" fmla="*/ 22053 h 129"/>
                  <a:gd name="T18" fmla="*/ 3969 w 158"/>
                  <a:gd name="T19" fmla="*/ 22053 h 129"/>
                  <a:gd name="T20" fmla="*/ 14288 w 158"/>
                  <a:gd name="T21" fmla="*/ 25203 h 129"/>
                  <a:gd name="T22" fmla="*/ 23813 w 158"/>
                  <a:gd name="T23" fmla="*/ 25203 h 129"/>
                  <a:gd name="T24" fmla="*/ 27781 w 158"/>
                  <a:gd name="T25" fmla="*/ 18902 h 12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58"/>
                  <a:gd name="T40" fmla="*/ 0 h 129"/>
                  <a:gd name="T41" fmla="*/ 158 w 158"/>
                  <a:gd name="T42" fmla="*/ 129 h 12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58" h="129">
                    <a:moveTo>
                      <a:pt x="140" y="96"/>
                    </a:moveTo>
                    <a:lnTo>
                      <a:pt x="140" y="96"/>
                    </a:lnTo>
                    <a:lnTo>
                      <a:pt x="158" y="64"/>
                    </a:lnTo>
                    <a:lnTo>
                      <a:pt x="140" y="48"/>
                    </a:lnTo>
                    <a:lnTo>
                      <a:pt x="88" y="16"/>
                    </a:lnTo>
                    <a:lnTo>
                      <a:pt x="71" y="16"/>
                    </a:lnTo>
                    <a:lnTo>
                      <a:pt x="54" y="0"/>
                    </a:lnTo>
                    <a:lnTo>
                      <a:pt x="35" y="0"/>
                    </a:lnTo>
                    <a:lnTo>
                      <a:pt x="0" y="112"/>
                    </a:lnTo>
                    <a:lnTo>
                      <a:pt x="17" y="112"/>
                    </a:lnTo>
                    <a:lnTo>
                      <a:pt x="71" y="129"/>
                    </a:lnTo>
                    <a:lnTo>
                      <a:pt x="123" y="129"/>
                    </a:lnTo>
                    <a:lnTo>
                      <a:pt x="140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45" name="Freeform 79">
                <a:extLst>
                  <a:ext uri="{FF2B5EF4-FFF2-40B4-BE49-F238E27FC236}">
                    <a16:creationId xmlns:a16="http://schemas.microsoft.com/office/drawing/2014/main" id="{8B6A2C34-C757-E743-A932-BD30104994ED}"/>
                  </a:ext>
                </a:extLst>
              </p:cNvPr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3113088" y="4546601"/>
                <a:ext cx="850900" cy="812800"/>
              </a:xfrm>
              <a:custGeom>
                <a:avLst/>
                <a:gdLst>
                  <a:gd name="T0" fmla="*/ 122917 w 1073"/>
                  <a:gd name="T1" fmla="*/ 6362 h 1022"/>
                  <a:gd name="T2" fmla="*/ 112607 w 1073"/>
                  <a:gd name="T3" fmla="*/ 12725 h 1022"/>
                  <a:gd name="T4" fmla="*/ 105470 w 1073"/>
                  <a:gd name="T5" fmla="*/ 12725 h 1022"/>
                  <a:gd name="T6" fmla="*/ 95161 w 1073"/>
                  <a:gd name="T7" fmla="*/ 15906 h 1022"/>
                  <a:gd name="T8" fmla="*/ 81680 w 1073"/>
                  <a:gd name="T9" fmla="*/ 19087 h 1022"/>
                  <a:gd name="T10" fmla="*/ 75336 w 1073"/>
                  <a:gd name="T11" fmla="*/ 12725 h 1022"/>
                  <a:gd name="T12" fmla="*/ 75336 w 1073"/>
                  <a:gd name="T13" fmla="*/ 0 h 1022"/>
                  <a:gd name="T14" fmla="*/ 68199 w 1073"/>
                  <a:gd name="T15" fmla="*/ 3181 h 1022"/>
                  <a:gd name="T16" fmla="*/ 47581 w 1073"/>
                  <a:gd name="T17" fmla="*/ 3181 h 1022"/>
                  <a:gd name="T18" fmla="*/ 50753 w 1073"/>
                  <a:gd name="T19" fmla="*/ 12725 h 1022"/>
                  <a:gd name="T20" fmla="*/ 44409 w 1073"/>
                  <a:gd name="T21" fmla="*/ 22268 h 1022"/>
                  <a:gd name="T22" fmla="*/ 37271 w 1073"/>
                  <a:gd name="T23" fmla="*/ 19087 h 1022"/>
                  <a:gd name="T24" fmla="*/ 19825 w 1073"/>
                  <a:gd name="T25" fmla="*/ 15906 h 1022"/>
                  <a:gd name="T26" fmla="*/ 23790 w 1073"/>
                  <a:gd name="T27" fmla="*/ 22268 h 1022"/>
                  <a:gd name="T28" fmla="*/ 23790 w 1073"/>
                  <a:gd name="T29" fmla="*/ 31812 h 1022"/>
                  <a:gd name="T30" fmla="*/ 6344 w 1073"/>
                  <a:gd name="T31" fmla="*/ 50899 h 1022"/>
                  <a:gd name="T32" fmla="*/ 3172 w 1073"/>
                  <a:gd name="T33" fmla="*/ 73168 h 1022"/>
                  <a:gd name="T34" fmla="*/ 16653 w 1073"/>
                  <a:gd name="T35" fmla="*/ 73168 h 1022"/>
                  <a:gd name="T36" fmla="*/ 23790 w 1073"/>
                  <a:gd name="T37" fmla="*/ 79530 h 1022"/>
                  <a:gd name="T38" fmla="*/ 37271 w 1073"/>
                  <a:gd name="T39" fmla="*/ 73168 h 1022"/>
                  <a:gd name="T40" fmla="*/ 44409 w 1073"/>
                  <a:gd name="T41" fmla="*/ 82712 h 1022"/>
                  <a:gd name="T42" fmla="*/ 68199 w 1073"/>
                  <a:gd name="T43" fmla="*/ 92255 h 1022"/>
                  <a:gd name="T44" fmla="*/ 71371 w 1073"/>
                  <a:gd name="T45" fmla="*/ 101799 h 1022"/>
                  <a:gd name="T46" fmla="*/ 81680 w 1073"/>
                  <a:gd name="T47" fmla="*/ 108161 h 1022"/>
                  <a:gd name="T48" fmla="*/ 84852 w 1073"/>
                  <a:gd name="T49" fmla="*/ 117705 h 1022"/>
                  <a:gd name="T50" fmla="*/ 84852 w 1073"/>
                  <a:gd name="T51" fmla="*/ 136792 h 1022"/>
                  <a:gd name="T52" fmla="*/ 99126 w 1073"/>
                  <a:gd name="T53" fmla="*/ 139973 h 1022"/>
                  <a:gd name="T54" fmla="*/ 105470 w 1073"/>
                  <a:gd name="T55" fmla="*/ 149517 h 1022"/>
                  <a:gd name="T56" fmla="*/ 105470 w 1073"/>
                  <a:gd name="T57" fmla="*/ 155879 h 1022"/>
                  <a:gd name="T58" fmla="*/ 102298 w 1073"/>
                  <a:gd name="T59" fmla="*/ 168604 h 1022"/>
                  <a:gd name="T60" fmla="*/ 91989 w 1073"/>
                  <a:gd name="T61" fmla="*/ 184510 h 1022"/>
                  <a:gd name="T62" fmla="*/ 99126 w 1073"/>
                  <a:gd name="T63" fmla="*/ 187692 h 1022"/>
                  <a:gd name="T64" fmla="*/ 112607 w 1073"/>
                  <a:gd name="T65" fmla="*/ 197235 h 1022"/>
                  <a:gd name="T66" fmla="*/ 115779 w 1073"/>
                  <a:gd name="T67" fmla="*/ 197235 h 1022"/>
                  <a:gd name="T68" fmla="*/ 130054 w 1073"/>
                  <a:gd name="T69" fmla="*/ 178148 h 1022"/>
                  <a:gd name="T70" fmla="*/ 137191 w 1073"/>
                  <a:gd name="T71" fmla="*/ 159061 h 1022"/>
                  <a:gd name="T72" fmla="*/ 147500 w 1073"/>
                  <a:gd name="T73" fmla="*/ 149517 h 1022"/>
                  <a:gd name="T74" fmla="*/ 171290 w 1073"/>
                  <a:gd name="T75" fmla="*/ 143155 h 1022"/>
                  <a:gd name="T76" fmla="*/ 178427 w 1073"/>
                  <a:gd name="T77" fmla="*/ 136792 h 1022"/>
                  <a:gd name="T78" fmla="*/ 184771 w 1073"/>
                  <a:gd name="T79" fmla="*/ 124067 h 1022"/>
                  <a:gd name="T80" fmla="*/ 188736 w 1073"/>
                  <a:gd name="T81" fmla="*/ 114524 h 1022"/>
                  <a:gd name="T82" fmla="*/ 205390 w 1073"/>
                  <a:gd name="T83" fmla="*/ 73168 h 1022"/>
                  <a:gd name="T84" fmla="*/ 208562 w 1073"/>
                  <a:gd name="T85" fmla="*/ 50899 h 1022"/>
                  <a:gd name="T86" fmla="*/ 181599 w 1073"/>
                  <a:gd name="T87" fmla="*/ 38175 h 1022"/>
                  <a:gd name="T88" fmla="*/ 164153 w 1073"/>
                  <a:gd name="T89" fmla="*/ 38175 h 1022"/>
                  <a:gd name="T90" fmla="*/ 157809 w 1073"/>
                  <a:gd name="T91" fmla="*/ 34993 h 1022"/>
                  <a:gd name="T92" fmla="*/ 153844 w 1073"/>
                  <a:gd name="T93" fmla="*/ 31812 h 1022"/>
                  <a:gd name="T94" fmla="*/ 137191 w 1073"/>
                  <a:gd name="T95" fmla="*/ 31812 h 1022"/>
                  <a:gd name="T96" fmla="*/ 133226 w 1073"/>
                  <a:gd name="T97" fmla="*/ 25450 h 1022"/>
                  <a:gd name="T98" fmla="*/ 126882 w 1073"/>
                  <a:gd name="T99" fmla="*/ 31812 h 1022"/>
                  <a:gd name="T100" fmla="*/ 119745 w 1073"/>
                  <a:gd name="T101" fmla="*/ 31812 h 1022"/>
                  <a:gd name="T102" fmla="*/ 130054 w 1073"/>
                  <a:gd name="T103" fmla="*/ 19087 h 1022"/>
                  <a:gd name="T104" fmla="*/ 126882 w 1073"/>
                  <a:gd name="T105" fmla="*/ 15906 h 102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073"/>
                  <a:gd name="T160" fmla="*/ 0 h 1022"/>
                  <a:gd name="T161" fmla="*/ 1073 w 1073"/>
                  <a:gd name="T162" fmla="*/ 1022 h 102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073" h="1022">
                    <a:moveTo>
                      <a:pt x="623" y="30"/>
                    </a:moveTo>
                    <a:lnTo>
                      <a:pt x="623" y="30"/>
                    </a:lnTo>
                    <a:lnTo>
                      <a:pt x="606" y="30"/>
                    </a:lnTo>
                    <a:lnTo>
                      <a:pt x="570" y="63"/>
                    </a:lnTo>
                    <a:lnTo>
                      <a:pt x="552" y="78"/>
                    </a:lnTo>
                    <a:lnTo>
                      <a:pt x="535" y="63"/>
                    </a:lnTo>
                    <a:lnTo>
                      <a:pt x="501" y="63"/>
                    </a:lnTo>
                    <a:lnTo>
                      <a:pt x="483" y="78"/>
                    </a:lnTo>
                    <a:lnTo>
                      <a:pt x="466" y="78"/>
                    </a:lnTo>
                    <a:lnTo>
                      <a:pt x="414" y="96"/>
                    </a:lnTo>
                    <a:lnTo>
                      <a:pt x="397" y="96"/>
                    </a:lnTo>
                    <a:lnTo>
                      <a:pt x="380" y="63"/>
                    </a:lnTo>
                    <a:lnTo>
                      <a:pt x="380" y="15"/>
                    </a:lnTo>
                    <a:lnTo>
                      <a:pt x="380" y="0"/>
                    </a:lnTo>
                    <a:lnTo>
                      <a:pt x="362" y="0"/>
                    </a:lnTo>
                    <a:lnTo>
                      <a:pt x="345" y="15"/>
                    </a:lnTo>
                    <a:lnTo>
                      <a:pt x="293" y="30"/>
                    </a:lnTo>
                    <a:lnTo>
                      <a:pt x="241" y="15"/>
                    </a:lnTo>
                    <a:lnTo>
                      <a:pt x="259" y="30"/>
                    </a:lnTo>
                    <a:lnTo>
                      <a:pt x="259" y="63"/>
                    </a:lnTo>
                    <a:lnTo>
                      <a:pt x="276" y="78"/>
                    </a:lnTo>
                    <a:lnTo>
                      <a:pt x="224" y="111"/>
                    </a:lnTo>
                    <a:lnTo>
                      <a:pt x="207" y="111"/>
                    </a:lnTo>
                    <a:lnTo>
                      <a:pt x="190" y="96"/>
                    </a:lnTo>
                    <a:lnTo>
                      <a:pt x="172" y="78"/>
                    </a:lnTo>
                    <a:lnTo>
                      <a:pt x="103" y="78"/>
                    </a:lnTo>
                    <a:lnTo>
                      <a:pt x="103" y="96"/>
                    </a:lnTo>
                    <a:lnTo>
                      <a:pt x="120" y="111"/>
                    </a:lnTo>
                    <a:lnTo>
                      <a:pt x="103" y="111"/>
                    </a:lnTo>
                    <a:lnTo>
                      <a:pt x="120" y="159"/>
                    </a:lnTo>
                    <a:lnTo>
                      <a:pt x="103" y="222"/>
                    </a:lnTo>
                    <a:lnTo>
                      <a:pt x="34" y="255"/>
                    </a:lnTo>
                    <a:lnTo>
                      <a:pt x="0" y="318"/>
                    </a:lnTo>
                    <a:lnTo>
                      <a:pt x="17" y="366"/>
                    </a:lnTo>
                    <a:lnTo>
                      <a:pt x="51" y="383"/>
                    </a:lnTo>
                    <a:lnTo>
                      <a:pt x="86" y="366"/>
                    </a:lnTo>
                    <a:lnTo>
                      <a:pt x="86" y="399"/>
                    </a:lnTo>
                    <a:lnTo>
                      <a:pt x="120" y="399"/>
                    </a:lnTo>
                    <a:lnTo>
                      <a:pt x="155" y="399"/>
                    </a:lnTo>
                    <a:lnTo>
                      <a:pt x="190" y="366"/>
                    </a:lnTo>
                    <a:lnTo>
                      <a:pt x="224" y="366"/>
                    </a:lnTo>
                    <a:lnTo>
                      <a:pt x="224" y="414"/>
                    </a:lnTo>
                    <a:lnTo>
                      <a:pt x="241" y="431"/>
                    </a:lnTo>
                    <a:lnTo>
                      <a:pt x="345" y="462"/>
                    </a:lnTo>
                    <a:lnTo>
                      <a:pt x="362" y="495"/>
                    </a:lnTo>
                    <a:lnTo>
                      <a:pt x="362" y="510"/>
                    </a:lnTo>
                    <a:lnTo>
                      <a:pt x="380" y="543"/>
                    </a:lnTo>
                    <a:lnTo>
                      <a:pt x="414" y="543"/>
                    </a:lnTo>
                    <a:lnTo>
                      <a:pt x="414" y="558"/>
                    </a:lnTo>
                    <a:lnTo>
                      <a:pt x="431" y="591"/>
                    </a:lnTo>
                    <a:lnTo>
                      <a:pt x="431" y="639"/>
                    </a:lnTo>
                    <a:lnTo>
                      <a:pt x="431" y="687"/>
                    </a:lnTo>
                    <a:lnTo>
                      <a:pt x="483" y="702"/>
                    </a:lnTo>
                    <a:lnTo>
                      <a:pt x="501" y="702"/>
                    </a:lnTo>
                    <a:lnTo>
                      <a:pt x="501" y="735"/>
                    </a:lnTo>
                    <a:lnTo>
                      <a:pt x="535" y="750"/>
                    </a:lnTo>
                    <a:lnTo>
                      <a:pt x="518" y="783"/>
                    </a:lnTo>
                    <a:lnTo>
                      <a:pt x="535" y="783"/>
                    </a:lnTo>
                    <a:lnTo>
                      <a:pt x="552" y="830"/>
                    </a:lnTo>
                    <a:lnTo>
                      <a:pt x="518" y="846"/>
                    </a:lnTo>
                    <a:lnTo>
                      <a:pt x="449" y="926"/>
                    </a:lnTo>
                    <a:lnTo>
                      <a:pt x="466" y="926"/>
                    </a:lnTo>
                    <a:lnTo>
                      <a:pt x="483" y="942"/>
                    </a:lnTo>
                    <a:lnTo>
                      <a:pt x="501" y="942"/>
                    </a:lnTo>
                    <a:lnTo>
                      <a:pt x="552" y="974"/>
                    </a:lnTo>
                    <a:lnTo>
                      <a:pt x="570" y="990"/>
                    </a:lnTo>
                    <a:lnTo>
                      <a:pt x="552" y="1022"/>
                    </a:lnTo>
                    <a:lnTo>
                      <a:pt x="587" y="990"/>
                    </a:lnTo>
                    <a:lnTo>
                      <a:pt x="623" y="959"/>
                    </a:lnTo>
                    <a:lnTo>
                      <a:pt x="658" y="894"/>
                    </a:lnTo>
                    <a:lnTo>
                      <a:pt x="693" y="863"/>
                    </a:lnTo>
                    <a:lnTo>
                      <a:pt x="693" y="798"/>
                    </a:lnTo>
                    <a:lnTo>
                      <a:pt x="710" y="767"/>
                    </a:lnTo>
                    <a:lnTo>
                      <a:pt x="744" y="750"/>
                    </a:lnTo>
                    <a:lnTo>
                      <a:pt x="796" y="719"/>
                    </a:lnTo>
                    <a:lnTo>
                      <a:pt x="865" y="719"/>
                    </a:lnTo>
                    <a:lnTo>
                      <a:pt x="865" y="702"/>
                    </a:lnTo>
                    <a:lnTo>
                      <a:pt x="900" y="687"/>
                    </a:lnTo>
                    <a:lnTo>
                      <a:pt x="900" y="671"/>
                    </a:lnTo>
                    <a:lnTo>
                      <a:pt x="934" y="623"/>
                    </a:lnTo>
                    <a:lnTo>
                      <a:pt x="934" y="591"/>
                    </a:lnTo>
                    <a:lnTo>
                      <a:pt x="952" y="575"/>
                    </a:lnTo>
                    <a:lnTo>
                      <a:pt x="952" y="462"/>
                    </a:lnTo>
                    <a:lnTo>
                      <a:pt x="1038" y="366"/>
                    </a:lnTo>
                    <a:lnTo>
                      <a:pt x="1073" y="318"/>
                    </a:lnTo>
                    <a:lnTo>
                      <a:pt x="1055" y="255"/>
                    </a:lnTo>
                    <a:lnTo>
                      <a:pt x="1004" y="255"/>
                    </a:lnTo>
                    <a:lnTo>
                      <a:pt x="917" y="191"/>
                    </a:lnTo>
                    <a:lnTo>
                      <a:pt x="883" y="207"/>
                    </a:lnTo>
                    <a:lnTo>
                      <a:pt x="831" y="191"/>
                    </a:lnTo>
                    <a:lnTo>
                      <a:pt x="796" y="191"/>
                    </a:lnTo>
                    <a:lnTo>
                      <a:pt x="796" y="174"/>
                    </a:lnTo>
                    <a:lnTo>
                      <a:pt x="796" y="159"/>
                    </a:lnTo>
                    <a:lnTo>
                      <a:pt x="779" y="159"/>
                    </a:lnTo>
                    <a:lnTo>
                      <a:pt x="710" y="144"/>
                    </a:lnTo>
                    <a:lnTo>
                      <a:pt x="693" y="159"/>
                    </a:lnTo>
                    <a:lnTo>
                      <a:pt x="693" y="126"/>
                    </a:lnTo>
                    <a:lnTo>
                      <a:pt x="675" y="126"/>
                    </a:lnTo>
                    <a:lnTo>
                      <a:pt x="641" y="126"/>
                    </a:lnTo>
                    <a:lnTo>
                      <a:pt x="641" y="159"/>
                    </a:lnTo>
                    <a:lnTo>
                      <a:pt x="623" y="144"/>
                    </a:lnTo>
                    <a:lnTo>
                      <a:pt x="606" y="159"/>
                    </a:lnTo>
                    <a:lnTo>
                      <a:pt x="623" y="126"/>
                    </a:lnTo>
                    <a:lnTo>
                      <a:pt x="658" y="96"/>
                    </a:lnTo>
                    <a:lnTo>
                      <a:pt x="658" y="78"/>
                    </a:lnTo>
                    <a:lnTo>
                      <a:pt x="641" y="78"/>
                    </a:lnTo>
                    <a:lnTo>
                      <a:pt x="623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46" name="Freeform 80">
                <a:extLst>
                  <a:ext uri="{FF2B5EF4-FFF2-40B4-BE49-F238E27FC236}">
                    <a16:creationId xmlns:a16="http://schemas.microsoft.com/office/drawing/2014/main" id="{C5F8731B-9534-B24B-8B97-F24294BE0C2E}"/>
                  </a:ext>
                </a:extLst>
              </p:cNvPr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3540125" y="4529138"/>
                <a:ext cx="53975" cy="76200"/>
              </a:xfrm>
              <a:custGeom>
                <a:avLst/>
                <a:gdLst>
                  <a:gd name="T0" fmla="*/ 0 w 69"/>
                  <a:gd name="T1" fmla="*/ 16669 h 96"/>
                  <a:gd name="T2" fmla="*/ 0 w 69"/>
                  <a:gd name="T3" fmla="*/ 16669 h 96"/>
                  <a:gd name="T4" fmla="*/ 3129 w 69"/>
                  <a:gd name="T5" fmla="*/ 19050 h 96"/>
                  <a:gd name="T6" fmla="*/ 6258 w 69"/>
                  <a:gd name="T7" fmla="*/ 16669 h 96"/>
                  <a:gd name="T8" fmla="*/ 13298 w 69"/>
                  <a:gd name="T9" fmla="*/ 9525 h 96"/>
                  <a:gd name="T10" fmla="*/ 0 w 69"/>
                  <a:gd name="T11" fmla="*/ 0 h 96"/>
                  <a:gd name="T12" fmla="*/ 0 w 69"/>
                  <a:gd name="T13" fmla="*/ 3969 h 96"/>
                  <a:gd name="T14" fmla="*/ 0 w 69"/>
                  <a:gd name="T15" fmla="*/ 9525 h 96"/>
                  <a:gd name="T16" fmla="*/ 0 w 69"/>
                  <a:gd name="T17" fmla="*/ 16669 h 9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9"/>
                  <a:gd name="T28" fmla="*/ 0 h 96"/>
                  <a:gd name="T29" fmla="*/ 69 w 69"/>
                  <a:gd name="T30" fmla="*/ 96 h 9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9" h="96">
                    <a:moveTo>
                      <a:pt x="0" y="81"/>
                    </a:moveTo>
                    <a:lnTo>
                      <a:pt x="0" y="81"/>
                    </a:lnTo>
                    <a:lnTo>
                      <a:pt x="17" y="96"/>
                    </a:lnTo>
                    <a:lnTo>
                      <a:pt x="35" y="81"/>
                    </a:lnTo>
                    <a:lnTo>
                      <a:pt x="69" y="48"/>
                    </a:lnTo>
                    <a:lnTo>
                      <a:pt x="0" y="0"/>
                    </a:lnTo>
                    <a:lnTo>
                      <a:pt x="0" y="18"/>
                    </a:lnTo>
                    <a:lnTo>
                      <a:pt x="0" y="48"/>
                    </a:lnTo>
                    <a:lnTo>
                      <a:pt x="0" y="8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47" name="Freeform 81">
                <a:extLst>
                  <a:ext uri="{FF2B5EF4-FFF2-40B4-BE49-F238E27FC236}">
                    <a16:creationId xmlns:a16="http://schemas.microsoft.com/office/drawing/2014/main" id="{979FECCE-6B70-0F45-A89E-D1B1C3393FE2}"/>
                  </a:ext>
                </a:extLst>
              </p:cNvPr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3457575" y="4529138"/>
                <a:ext cx="82550" cy="76200"/>
              </a:xfrm>
              <a:custGeom>
                <a:avLst/>
                <a:gdLst>
                  <a:gd name="T0" fmla="*/ 20638 w 104"/>
                  <a:gd name="T1" fmla="*/ 16669 h 96"/>
                  <a:gd name="T2" fmla="*/ 20638 w 104"/>
                  <a:gd name="T3" fmla="*/ 16669 h 96"/>
                  <a:gd name="T4" fmla="*/ 20638 w 104"/>
                  <a:gd name="T5" fmla="*/ 9525 h 96"/>
                  <a:gd name="T6" fmla="*/ 20638 w 104"/>
                  <a:gd name="T7" fmla="*/ 3969 h 96"/>
                  <a:gd name="T8" fmla="*/ 20638 w 104"/>
                  <a:gd name="T9" fmla="*/ 0 h 96"/>
                  <a:gd name="T10" fmla="*/ 7144 w 104"/>
                  <a:gd name="T11" fmla="*/ 0 h 96"/>
                  <a:gd name="T12" fmla="*/ 0 w 104"/>
                  <a:gd name="T13" fmla="*/ 7144 h 96"/>
                  <a:gd name="T14" fmla="*/ 7144 w 104"/>
                  <a:gd name="T15" fmla="*/ 19050 h 96"/>
                  <a:gd name="T16" fmla="*/ 10319 w 104"/>
                  <a:gd name="T17" fmla="*/ 19050 h 96"/>
                  <a:gd name="T18" fmla="*/ 14288 w 104"/>
                  <a:gd name="T19" fmla="*/ 16669 h 96"/>
                  <a:gd name="T20" fmla="*/ 20638 w 104"/>
                  <a:gd name="T21" fmla="*/ 16669 h 9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04"/>
                  <a:gd name="T34" fmla="*/ 0 h 96"/>
                  <a:gd name="T35" fmla="*/ 104 w 104"/>
                  <a:gd name="T36" fmla="*/ 96 h 9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04" h="96">
                    <a:moveTo>
                      <a:pt x="104" y="81"/>
                    </a:moveTo>
                    <a:lnTo>
                      <a:pt x="104" y="81"/>
                    </a:lnTo>
                    <a:lnTo>
                      <a:pt x="104" y="48"/>
                    </a:lnTo>
                    <a:lnTo>
                      <a:pt x="104" y="18"/>
                    </a:lnTo>
                    <a:lnTo>
                      <a:pt x="104" y="0"/>
                    </a:lnTo>
                    <a:lnTo>
                      <a:pt x="35" y="0"/>
                    </a:lnTo>
                    <a:lnTo>
                      <a:pt x="0" y="33"/>
                    </a:lnTo>
                    <a:lnTo>
                      <a:pt x="35" y="96"/>
                    </a:lnTo>
                    <a:lnTo>
                      <a:pt x="52" y="96"/>
                    </a:lnTo>
                    <a:lnTo>
                      <a:pt x="69" y="81"/>
                    </a:lnTo>
                    <a:lnTo>
                      <a:pt x="104" y="8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48" name="Freeform 82">
                <a:extLst>
                  <a:ext uri="{FF2B5EF4-FFF2-40B4-BE49-F238E27FC236}">
                    <a16:creationId xmlns:a16="http://schemas.microsoft.com/office/drawing/2014/main" id="{8894D90C-47D3-A84D-8177-DEF6E490B0F9}"/>
                  </a:ext>
                </a:extLst>
              </p:cNvPr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3387725" y="4483101"/>
                <a:ext cx="95250" cy="139700"/>
              </a:xfrm>
              <a:custGeom>
                <a:avLst/>
                <a:gdLst>
                  <a:gd name="T0" fmla="*/ 6298 w 121"/>
                  <a:gd name="T1" fmla="*/ 0 h 177"/>
                  <a:gd name="T2" fmla="*/ 6298 w 121"/>
                  <a:gd name="T3" fmla="*/ 0 h 177"/>
                  <a:gd name="T4" fmla="*/ 13382 w 121"/>
                  <a:gd name="T5" fmla="*/ 2368 h 177"/>
                  <a:gd name="T6" fmla="*/ 13382 w 121"/>
                  <a:gd name="T7" fmla="*/ 6314 h 177"/>
                  <a:gd name="T8" fmla="*/ 16531 w 121"/>
                  <a:gd name="T9" fmla="*/ 6314 h 177"/>
                  <a:gd name="T10" fmla="*/ 23616 w 121"/>
                  <a:gd name="T11" fmla="*/ 11839 h 177"/>
                  <a:gd name="T12" fmla="*/ 16531 w 121"/>
                  <a:gd name="T13" fmla="*/ 18942 h 177"/>
                  <a:gd name="T14" fmla="*/ 23616 w 121"/>
                  <a:gd name="T15" fmla="*/ 30781 h 177"/>
                  <a:gd name="T16" fmla="*/ 13382 w 121"/>
                  <a:gd name="T17" fmla="*/ 34728 h 177"/>
                  <a:gd name="T18" fmla="*/ 10233 w 121"/>
                  <a:gd name="T19" fmla="*/ 34728 h 177"/>
                  <a:gd name="T20" fmla="*/ 6298 w 121"/>
                  <a:gd name="T21" fmla="*/ 28414 h 177"/>
                  <a:gd name="T22" fmla="*/ 6298 w 121"/>
                  <a:gd name="T23" fmla="*/ 18942 h 177"/>
                  <a:gd name="T24" fmla="*/ 6298 w 121"/>
                  <a:gd name="T25" fmla="*/ 15785 h 177"/>
                  <a:gd name="T26" fmla="*/ 3149 w 121"/>
                  <a:gd name="T27" fmla="*/ 15785 h 177"/>
                  <a:gd name="T28" fmla="*/ 0 w 121"/>
                  <a:gd name="T29" fmla="*/ 11839 h 177"/>
                  <a:gd name="T30" fmla="*/ 0 w 121"/>
                  <a:gd name="T31" fmla="*/ 6314 h 177"/>
                  <a:gd name="T32" fmla="*/ 3149 w 121"/>
                  <a:gd name="T33" fmla="*/ 6314 h 177"/>
                  <a:gd name="T34" fmla="*/ 3149 w 121"/>
                  <a:gd name="T35" fmla="*/ 2368 h 177"/>
                  <a:gd name="T36" fmla="*/ 6298 w 121"/>
                  <a:gd name="T37" fmla="*/ 0 h 17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21"/>
                  <a:gd name="T58" fmla="*/ 0 h 177"/>
                  <a:gd name="T59" fmla="*/ 121 w 121"/>
                  <a:gd name="T60" fmla="*/ 177 h 17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21" h="177">
                    <a:moveTo>
                      <a:pt x="35" y="0"/>
                    </a:moveTo>
                    <a:lnTo>
                      <a:pt x="35" y="0"/>
                    </a:lnTo>
                    <a:lnTo>
                      <a:pt x="69" y="15"/>
                    </a:lnTo>
                    <a:lnTo>
                      <a:pt x="69" y="33"/>
                    </a:lnTo>
                    <a:lnTo>
                      <a:pt x="86" y="33"/>
                    </a:lnTo>
                    <a:lnTo>
                      <a:pt x="121" y="63"/>
                    </a:lnTo>
                    <a:lnTo>
                      <a:pt x="86" y="96"/>
                    </a:lnTo>
                    <a:lnTo>
                      <a:pt x="121" y="159"/>
                    </a:lnTo>
                    <a:lnTo>
                      <a:pt x="69" y="177"/>
                    </a:lnTo>
                    <a:lnTo>
                      <a:pt x="52" y="177"/>
                    </a:lnTo>
                    <a:lnTo>
                      <a:pt x="35" y="144"/>
                    </a:lnTo>
                    <a:lnTo>
                      <a:pt x="35" y="96"/>
                    </a:lnTo>
                    <a:lnTo>
                      <a:pt x="35" y="81"/>
                    </a:lnTo>
                    <a:lnTo>
                      <a:pt x="17" y="81"/>
                    </a:lnTo>
                    <a:lnTo>
                      <a:pt x="0" y="63"/>
                    </a:lnTo>
                    <a:lnTo>
                      <a:pt x="0" y="33"/>
                    </a:lnTo>
                    <a:lnTo>
                      <a:pt x="17" y="33"/>
                    </a:lnTo>
                    <a:lnTo>
                      <a:pt x="17" y="15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49" name="Freeform 83">
                <a:extLst>
                  <a:ext uri="{FF2B5EF4-FFF2-40B4-BE49-F238E27FC236}">
                    <a16:creationId xmlns:a16="http://schemas.microsoft.com/office/drawing/2014/main" id="{A98977C2-905D-E444-8F85-B91BC34482CF}"/>
                  </a:ext>
                </a:extLst>
              </p:cNvPr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auto">
              <a:xfrm>
                <a:off x="3125788" y="4406901"/>
                <a:ext cx="290513" cy="228600"/>
              </a:xfrm>
              <a:custGeom>
                <a:avLst/>
                <a:gdLst>
                  <a:gd name="T0" fmla="*/ 73225 w 365"/>
                  <a:gd name="T1" fmla="*/ 19050 h 288"/>
                  <a:gd name="T2" fmla="*/ 73225 w 365"/>
                  <a:gd name="T3" fmla="*/ 19050 h 288"/>
                  <a:gd name="T4" fmla="*/ 69246 w 365"/>
                  <a:gd name="T5" fmla="*/ 21431 h 288"/>
                  <a:gd name="T6" fmla="*/ 69246 w 365"/>
                  <a:gd name="T7" fmla="*/ 26194 h 288"/>
                  <a:gd name="T8" fmla="*/ 66062 w 365"/>
                  <a:gd name="T9" fmla="*/ 26194 h 288"/>
                  <a:gd name="T10" fmla="*/ 66062 w 365"/>
                  <a:gd name="T11" fmla="*/ 30956 h 288"/>
                  <a:gd name="T12" fmla="*/ 69246 w 365"/>
                  <a:gd name="T13" fmla="*/ 34925 h 288"/>
                  <a:gd name="T14" fmla="*/ 66062 w 365"/>
                  <a:gd name="T15" fmla="*/ 38100 h 288"/>
                  <a:gd name="T16" fmla="*/ 55715 w 365"/>
                  <a:gd name="T17" fmla="*/ 40481 h 288"/>
                  <a:gd name="T18" fmla="*/ 44572 w 365"/>
                  <a:gd name="T19" fmla="*/ 38100 h 288"/>
                  <a:gd name="T20" fmla="*/ 48551 w 365"/>
                  <a:gd name="T21" fmla="*/ 40481 h 288"/>
                  <a:gd name="T22" fmla="*/ 48551 w 365"/>
                  <a:gd name="T23" fmla="*/ 47625 h 288"/>
                  <a:gd name="T24" fmla="*/ 52531 w 365"/>
                  <a:gd name="T25" fmla="*/ 50006 h 288"/>
                  <a:gd name="T26" fmla="*/ 41388 w 365"/>
                  <a:gd name="T27" fmla="*/ 57150 h 288"/>
                  <a:gd name="T28" fmla="*/ 38204 w 365"/>
                  <a:gd name="T29" fmla="*/ 57150 h 288"/>
                  <a:gd name="T30" fmla="*/ 35021 w 365"/>
                  <a:gd name="T31" fmla="*/ 54769 h 288"/>
                  <a:gd name="T32" fmla="*/ 31041 w 365"/>
                  <a:gd name="T33" fmla="*/ 50006 h 288"/>
                  <a:gd name="T34" fmla="*/ 31041 w 365"/>
                  <a:gd name="T35" fmla="*/ 44450 h 288"/>
                  <a:gd name="T36" fmla="*/ 27857 w 365"/>
                  <a:gd name="T37" fmla="*/ 38100 h 288"/>
                  <a:gd name="T38" fmla="*/ 31041 w 365"/>
                  <a:gd name="T39" fmla="*/ 28575 h 288"/>
                  <a:gd name="T40" fmla="*/ 20694 w 365"/>
                  <a:gd name="T41" fmla="*/ 28575 h 288"/>
                  <a:gd name="T42" fmla="*/ 17510 w 365"/>
                  <a:gd name="T43" fmla="*/ 26194 h 288"/>
                  <a:gd name="T44" fmla="*/ 7163 w 365"/>
                  <a:gd name="T45" fmla="*/ 26194 h 288"/>
                  <a:gd name="T46" fmla="*/ 3980 w 365"/>
                  <a:gd name="T47" fmla="*/ 21431 h 288"/>
                  <a:gd name="T48" fmla="*/ 3980 w 365"/>
                  <a:gd name="T49" fmla="*/ 19050 h 288"/>
                  <a:gd name="T50" fmla="*/ 0 w 365"/>
                  <a:gd name="T51" fmla="*/ 11906 h 288"/>
                  <a:gd name="T52" fmla="*/ 3980 w 365"/>
                  <a:gd name="T53" fmla="*/ 7144 h 288"/>
                  <a:gd name="T54" fmla="*/ 7163 w 365"/>
                  <a:gd name="T55" fmla="*/ 2381 h 288"/>
                  <a:gd name="T56" fmla="*/ 10347 w 365"/>
                  <a:gd name="T57" fmla="*/ 7144 h 288"/>
                  <a:gd name="T58" fmla="*/ 7163 w 365"/>
                  <a:gd name="T59" fmla="*/ 9525 h 288"/>
                  <a:gd name="T60" fmla="*/ 7163 w 365"/>
                  <a:gd name="T61" fmla="*/ 15875 h 288"/>
                  <a:gd name="T62" fmla="*/ 10347 w 365"/>
                  <a:gd name="T63" fmla="*/ 11906 h 288"/>
                  <a:gd name="T64" fmla="*/ 10347 w 365"/>
                  <a:gd name="T65" fmla="*/ 7144 h 288"/>
                  <a:gd name="T66" fmla="*/ 17510 w 365"/>
                  <a:gd name="T67" fmla="*/ 2381 h 288"/>
                  <a:gd name="T68" fmla="*/ 17510 w 365"/>
                  <a:gd name="T69" fmla="*/ 0 h 288"/>
                  <a:gd name="T70" fmla="*/ 17510 w 365"/>
                  <a:gd name="T71" fmla="*/ 2381 h 288"/>
                  <a:gd name="T72" fmla="*/ 27857 w 365"/>
                  <a:gd name="T73" fmla="*/ 2381 h 288"/>
                  <a:gd name="T74" fmla="*/ 27857 w 365"/>
                  <a:gd name="T75" fmla="*/ 7144 h 288"/>
                  <a:gd name="T76" fmla="*/ 38204 w 365"/>
                  <a:gd name="T77" fmla="*/ 7144 h 288"/>
                  <a:gd name="T78" fmla="*/ 44572 w 365"/>
                  <a:gd name="T79" fmla="*/ 9525 h 288"/>
                  <a:gd name="T80" fmla="*/ 52531 w 365"/>
                  <a:gd name="T81" fmla="*/ 7144 h 288"/>
                  <a:gd name="T82" fmla="*/ 58899 w 365"/>
                  <a:gd name="T83" fmla="*/ 7144 h 288"/>
                  <a:gd name="T84" fmla="*/ 55715 w 365"/>
                  <a:gd name="T85" fmla="*/ 7144 h 288"/>
                  <a:gd name="T86" fmla="*/ 58899 w 365"/>
                  <a:gd name="T87" fmla="*/ 9525 h 288"/>
                  <a:gd name="T88" fmla="*/ 66062 w 365"/>
                  <a:gd name="T89" fmla="*/ 11906 h 288"/>
                  <a:gd name="T90" fmla="*/ 66062 w 365"/>
                  <a:gd name="T91" fmla="*/ 19050 h 288"/>
                  <a:gd name="T92" fmla="*/ 69246 w 365"/>
                  <a:gd name="T93" fmla="*/ 15875 h 288"/>
                  <a:gd name="T94" fmla="*/ 73225 w 365"/>
                  <a:gd name="T95" fmla="*/ 19050 h 28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65"/>
                  <a:gd name="T145" fmla="*/ 0 h 288"/>
                  <a:gd name="T146" fmla="*/ 365 w 365"/>
                  <a:gd name="T147" fmla="*/ 288 h 28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65" h="288">
                    <a:moveTo>
                      <a:pt x="365" y="96"/>
                    </a:moveTo>
                    <a:lnTo>
                      <a:pt x="365" y="96"/>
                    </a:lnTo>
                    <a:lnTo>
                      <a:pt x="347" y="111"/>
                    </a:lnTo>
                    <a:lnTo>
                      <a:pt x="347" y="129"/>
                    </a:lnTo>
                    <a:lnTo>
                      <a:pt x="330" y="129"/>
                    </a:lnTo>
                    <a:lnTo>
                      <a:pt x="330" y="159"/>
                    </a:lnTo>
                    <a:lnTo>
                      <a:pt x="347" y="177"/>
                    </a:lnTo>
                    <a:lnTo>
                      <a:pt x="330" y="192"/>
                    </a:lnTo>
                    <a:lnTo>
                      <a:pt x="278" y="207"/>
                    </a:lnTo>
                    <a:lnTo>
                      <a:pt x="224" y="192"/>
                    </a:lnTo>
                    <a:lnTo>
                      <a:pt x="242" y="207"/>
                    </a:lnTo>
                    <a:lnTo>
                      <a:pt x="242" y="240"/>
                    </a:lnTo>
                    <a:lnTo>
                      <a:pt x="261" y="255"/>
                    </a:lnTo>
                    <a:lnTo>
                      <a:pt x="207" y="288"/>
                    </a:lnTo>
                    <a:lnTo>
                      <a:pt x="190" y="288"/>
                    </a:lnTo>
                    <a:lnTo>
                      <a:pt x="173" y="273"/>
                    </a:lnTo>
                    <a:lnTo>
                      <a:pt x="155" y="255"/>
                    </a:lnTo>
                    <a:lnTo>
                      <a:pt x="155" y="225"/>
                    </a:lnTo>
                    <a:lnTo>
                      <a:pt x="138" y="192"/>
                    </a:lnTo>
                    <a:lnTo>
                      <a:pt x="155" y="144"/>
                    </a:lnTo>
                    <a:lnTo>
                      <a:pt x="103" y="144"/>
                    </a:lnTo>
                    <a:lnTo>
                      <a:pt x="86" y="129"/>
                    </a:lnTo>
                    <a:lnTo>
                      <a:pt x="34" y="129"/>
                    </a:lnTo>
                    <a:lnTo>
                      <a:pt x="17" y="111"/>
                    </a:lnTo>
                    <a:lnTo>
                      <a:pt x="17" y="96"/>
                    </a:lnTo>
                    <a:lnTo>
                      <a:pt x="0" y="63"/>
                    </a:lnTo>
                    <a:lnTo>
                      <a:pt x="17" y="33"/>
                    </a:lnTo>
                    <a:lnTo>
                      <a:pt x="34" y="15"/>
                    </a:lnTo>
                    <a:lnTo>
                      <a:pt x="52" y="33"/>
                    </a:lnTo>
                    <a:lnTo>
                      <a:pt x="34" y="48"/>
                    </a:lnTo>
                    <a:lnTo>
                      <a:pt x="34" y="81"/>
                    </a:lnTo>
                    <a:lnTo>
                      <a:pt x="52" y="63"/>
                    </a:lnTo>
                    <a:lnTo>
                      <a:pt x="52" y="33"/>
                    </a:lnTo>
                    <a:lnTo>
                      <a:pt x="86" y="15"/>
                    </a:lnTo>
                    <a:lnTo>
                      <a:pt x="86" y="0"/>
                    </a:lnTo>
                    <a:lnTo>
                      <a:pt x="86" y="15"/>
                    </a:lnTo>
                    <a:lnTo>
                      <a:pt x="138" y="15"/>
                    </a:lnTo>
                    <a:lnTo>
                      <a:pt x="138" y="33"/>
                    </a:lnTo>
                    <a:lnTo>
                      <a:pt x="190" y="33"/>
                    </a:lnTo>
                    <a:lnTo>
                      <a:pt x="224" y="48"/>
                    </a:lnTo>
                    <a:lnTo>
                      <a:pt x="261" y="33"/>
                    </a:lnTo>
                    <a:lnTo>
                      <a:pt x="295" y="33"/>
                    </a:lnTo>
                    <a:lnTo>
                      <a:pt x="278" y="33"/>
                    </a:lnTo>
                    <a:lnTo>
                      <a:pt x="295" y="48"/>
                    </a:lnTo>
                    <a:lnTo>
                      <a:pt x="330" y="63"/>
                    </a:lnTo>
                    <a:lnTo>
                      <a:pt x="330" y="96"/>
                    </a:lnTo>
                    <a:lnTo>
                      <a:pt x="347" y="81"/>
                    </a:lnTo>
                    <a:lnTo>
                      <a:pt x="365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50" name="Freeform 84">
                <a:extLst>
                  <a:ext uri="{FF2B5EF4-FFF2-40B4-BE49-F238E27FC236}">
                    <a16:creationId xmlns:a16="http://schemas.microsoft.com/office/drawing/2014/main" id="{0A0E4B77-B5A3-5842-A82D-E4513991B392}"/>
                  </a:ext>
                </a:extLst>
              </p:cNvPr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2178050" y="3954463"/>
                <a:ext cx="646113" cy="393700"/>
              </a:xfrm>
              <a:custGeom>
                <a:avLst/>
                <a:gdLst>
                  <a:gd name="T0" fmla="*/ 107156 w 814"/>
                  <a:gd name="T1" fmla="*/ 38023 h 497"/>
                  <a:gd name="T2" fmla="*/ 103188 w 814"/>
                  <a:gd name="T3" fmla="*/ 57035 h 497"/>
                  <a:gd name="T4" fmla="*/ 107156 w 814"/>
                  <a:gd name="T5" fmla="*/ 63372 h 497"/>
                  <a:gd name="T6" fmla="*/ 123825 w 814"/>
                  <a:gd name="T7" fmla="*/ 79215 h 497"/>
                  <a:gd name="T8" fmla="*/ 141288 w 814"/>
                  <a:gd name="T9" fmla="*/ 76047 h 497"/>
                  <a:gd name="T10" fmla="*/ 141288 w 814"/>
                  <a:gd name="T11" fmla="*/ 72878 h 497"/>
                  <a:gd name="T12" fmla="*/ 148431 w 814"/>
                  <a:gd name="T13" fmla="*/ 63372 h 497"/>
                  <a:gd name="T14" fmla="*/ 161925 w 814"/>
                  <a:gd name="T15" fmla="*/ 63372 h 497"/>
                  <a:gd name="T16" fmla="*/ 157956 w 814"/>
                  <a:gd name="T17" fmla="*/ 79215 h 497"/>
                  <a:gd name="T18" fmla="*/ 151606 w 814"/>
                  <a:gd name="T19" fmla="*/ 79215 h 497"/>
                  <a:gd name="T20" fmla="*/ 138113 w 814"/>
                  <a:gd name="T21" fmla="*/ 82384 h 497"/>
                  <a:gd name="T22" fmla="*/ 138113 w 814"/>
                  <a:gd name="T23" fmla="*/ 88721 h 497"/>
                  <a:gd name="T24" fmla="*/ 123825 w 814"/>
                  <a:gd name="T25" fmla="*/ 88721 h 497"/>
                  <a:gd name="T26" fmla="*/ 113506 w 814"/>
                  <a:gd name="T27" fmla="*/ 91890 h 497"/>
                  <a:gd name="T28" fmla="*/ 85725 w 814"/>
                  <a:gd name="T29" fmla="*/ 82384 h 497"/>
                  <a:gd name="T30" fmla="*/ 73025 w 814"/>
                  <a:gd name="T31" fmla="*/ 79215 h 497"/>
                  <a:gd name="T32" fmla="*/ 62706 w 814"/>
                  <a:gd name="T33" fmla="*/ 66541 h 497"/>
                  <a:gd name="T34" fmla="*/ 62706 w 814"/>
                  <a:gd name="T35" fmla="*/ 57035 h 497"/>
                  <a:gd name="T36" fmla="*/ 40481 w 814"/>
                  <a:gd name="T37" fmla="*/ 38023 h 497"/>
                  <a:gd name="T38" fmla="*/ 34925 w 814"/>
                  <a:gd name="T39" fmla="*/ 28518 h 497"/>
                  <a:gd name="T40" fmla="*/ 30956 w 814"/>
                  <a:gd name="T41" fmla="*/ 25349 h 497"/>
                  <a:gd name="T42" fmla="*/ 19844 w 814"/>
                  <a:gd name="T43" fmla="*/ 6337 h 497"/>
                  <a:gd name="T44" fmla="*/ 10319 w 814"/>
                  <a:gd name="T45" fmla="*/ 3169 h 497"/>
                  <a:gd name="T46" fmla="*/ 30956 w 814"/>
                  <a:gd name="T47" fmla="*/ 34855 h 497"/>
                  <a:gd name="T48" fmla="*/ 38100 w 814"/>
                  <a:gd name="T49" fmla="*/ 47529 h 497"/>
                  <a:gd name="T50" fmla="*/ 38100 w 814"/>
                  <a:gd name="T51" fmla="*/ 53866 h 497"/>
                  <a:gd name="T52" fmla="*/ 23813 w 814"/>
                  <a:gd name="T53" fmla="*/ 44361 h 497"/>
                  <a:gd name="T54" fmla="*/ 23813 w 814"/>
                  <a:gd name="T55" fmla="*/ 34855 h 497"/>
                  <a:gd name="T56" fmla="*/ 10319 w 814"/>
                  <a:gd name="T57" fmla="*/ 25349 h 497"/>
                  <a:gd name="T58" fmla="*/ 17463 w 814"/>
                  <a:gd name="T59" fmla="*/ 22180 h 497"/>
                  <a:gd name="T60" fmla="*/ 0 w 814"/>
                  <a:gd name="T61" fmla="*/ 0 h 497"/>
                  <a:gd name="T62" fmla="*/ 30956 w 814"/>
                  <a:gd name="T63" fmla="*/ 6337 h 497"/>
                  <a:gd name="T64" fmla="*/ 65881 w 814"/>
                  <a:gd name="T65" fmla="*/ 9506 h 497"/>
                  <a:gd name="T66" fmla="*/ 73025 w 814"/>
                  <a:gd name="T67" fmla="*/ 19012 h 497"/>
                  <a:gd name="T68" fmla="*/ 79375 w 814"/>
                  <a:gd name="T69" fmla="*/ 15843 h 497"/>
                  <a:gd name="T70" fmla="*/ 96044 w 814"/>
                  <a:gd name="T71" fmla="*/ 34855 h 49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814"/>
                  <a:gd name="T109" fmla="*/ 0 h 497"/>
                  <a:gd name="T110" fmla="*/ 814 w 814"/>
                  <a:gd name="T111" fmla="*/ 497 h 49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814" h="497">
                    <a:moveTo>
                      <a:pt x="537" y="192"/>
                    </a:moveTo>
                    <a:lnTo>
                      <a:pt x="537" y="192"/>
                    </a:lnTo>
                    <a:lnTo>
                      <a:pt x="520" y="224"/>
                    </a:lnTo>
                    <a:lnTo>
                      <a:pt x="520" y="288"/>
                    </a:lnTo>
                    <a:lnTo>
                      <a:pt x="537" y="305"/>
                    </a:lnTo>
                    <a:lnTo>
                      <a:pt x="537" y="320"/>
                    </a:lnTo>
                    <a:lnTo>
                      <a:pt x="572" y="384"/>
                    </a:lnTo>
                    <a:lnTo>
                      <a:pt x="624" y="401"/>
                    </a:lnTo>
                    <a:lnTo>
                      <a:pt x="676" y="384"/>
                    </a:lnTo>
                    <a:lnTo>
                      <a:pt x="710" y="384"/>
                    </a:lnTo>
                    <a:lnTo>
                      <a:pt x="693" y="384"/>
                    </a:lnTo>
                    <a:lnTo>
                      <a:pt x="710" y="368"/>
                    </a:lnTo>
                    <a:lnTo>
                      <a:pt x="727" y="320"/>
                    </a:lnTo>
                    <a:lnTo>
                      <a:pt x="745" y="320"/>
                    </a:lnTo>
                    <a:lnTo>
                      <a:pt x="796" y="305"/>
                    </a:lnTo>
                    <a:lnTo>
                      <a:pt x="814" y="320"/>
                    </a:lnTo>
                    <a:lnTo>
                      <a:pt x="796" y="384"/>
                    </a:lnTo>
                    <a:lnTo>
                      <a:pt x="796" y="401"/>
                    </a:lnTo>
                    <a:lnTo>
                      <a:pt x="779" y="384"/>
                    </a:lnTo>
                    <a:lnTo>
                      <a:pt x="762" y="401"/>
                    </a:lnTo>
                    <a:lnTo>
                      <a:pt x="710" y="401"/>
                    </a:lnTo>
                    <a:lnTo>
                      <a:pt x="693" y="416"/>
                    </a:lnTo>
                    <a:lnTo>
                      <a:pt x="727" y="449"/>
                    </a:lnTo>
                    <a:lnTo>
                      <a:pt x="693" y="449"/>
                    </a:lnTo>
                    <a:lnTo>
                      <a:pt x="676" y="497"/>
                    </a:lnTo>
                    <a:lnTo>
                      <a:pt x="624" y="449"/>
                    </a:lnTo>
                    <a:lnTo>
                      <a:pt x="589" y="449"/>
                    </a:lnTo>
                    <a:lnTo>
                      <a:pt x="572" y="464"/>
                    </a:lnTo>
                    <a:lnTo>
                      <a:pt x="520" y="449"/>
                    </a:lnTo>
                    <a:lnTo>
                      <a:pt x="434" y="416"/>
                    </a:lnTo>
                    <a:lnTo>
                      <a:pt x="416" y="401"/>
                    </a:lnTo>
                    <a:lnTo>
                      <a:pt x="365" y="401"/>
                    </a:lnTo>
                    <a:lnTo>
                      <a:pt x="330" y="368"/>
                    </a:lnTo>
                    <a:lnTo>
                      <a:pt x="313" y="336"/>
                    </a:lnTo>
                    <a:lnTo>
                      <a:pt x="330" y="320"/>
                    </a:lnTo>
                    <a:lnTo>
                      <a:pt x="313" y="288"/>
                    </a:lnTo>
                    <a:lnTo>
                      <a:pt x="244" y="209"/>
                    </a:lnTo>
                    <a:lnTo>
                      <a:pt x="207" y="192"/>
                    </a:lnTo>
                    <a:lnTo>
                      <a:pt x="207" y="176"/>
                    </a:lnTo>
                    <a:lnTo>
                      <a:pt x="173" y="144"/>
                    </a:lnTo>
                    <a:lnTo>
                      <a:pt x="173" y="128"/>
                    </a:lnTo>
                    <a:lnTo>
                      <a:pt x="155" y="128"/>
                    </a:lnTo>
                    <a:lnTo>
                      <a:pt x="138" y="96"/>
                    </a:lnTo>
                    <a:lnTo>
                      <a:pt x="103" y="32"/>
                    </a:lnTo>
                    <a:lnTo>
                      <a:pt x="86" y="32"/>
                    </a:lnTo>
                    <a:lnTo>
                      <a:pt x="52" y="17"/>
                    </a:lnTo>
                    <a:lnTo>
                      <a:pt x="69" y="65"/>
                    </a:lnTo>
                    <a:lnTo>
                      <a:pt x="155" y="176"/>
                    </a:lnTo>
                    <a:lnTo>
                      <a:pt x="173" y="240"/>
                    </a:lnTo>
                    <a:lnTo>
                      <a:pt x="190" y="240"/>
                    </a:lnTo>
                    <a:lnTo>
                      <a:pt x="207" y="257"/>
                    </a:lnTo>
                    <a:lnTo>
                      <a:pt x="190" y="272"/>
                    </a:lnTo>
                    <a:lnTo>
                      <a:pt x="173" y="257"/>
                    </a:lnTo>
                    <a:lnTo>
                      <a:pt x="121" y="224"/>
                    </a:lnTo>
                    <a:lnTo>
                      <a:pt x="138" y="209"/>
                    </a:lnTo>
                    <a:lnTo>
                      <a:pt x="121" y="176"/>
                    </a:lnTo>
                    <a:lnTo>
                      <a:pt x="69" y="161"/>
                    </a:lnTo>
                    <a:lnTo>
                      <a:pt x="52" y="128"/>
                    </a:lnTo>
                    <a:lnTo>
                      <a:pt x="69" y="144"/>
                    </a:lnTo>
                    <a:lnTo>
                      <a:pt x="86" y="113"/>
                    </a:lnTo>
                    <a:lnTo>
                      <a:pt x="34" y="80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155" y="32"/>
                    </a:lnTo>
                    <a:lnTo>
                      <a:pt x="295" y="17"/>
                    </a:lnTo>
                    <a:lnTo>
                      <a:pt x="330" y="48"/>
                    </a:lnTo>
                    <a:lnTo>
                      <a:pt x="330" y="80"/>
                    </a:lnTo>
                    <a:lnTo>
                      <a:pt x="365" y="96"/>
                    </a:lnTo>
                    <a:lnTo>
                      <a:pt x="382" y="96"/>
                    </a:lnTo>
                    <a:lnTo>
                      <a:pt x="399" y="80"/>
                    </a:lnTo>
                    <a:lnTo>
                      <a:pt x="416" y="80"/>
                    </a:lnTo>
                    <a:lnTo>
                      <a:pt x="485" y="176"/>
                    </a:lnTo>
                    <a:lnTo>
                      <a:pt x="537" y="19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51" name="Freeform 85">
                <a:extLst>
                  <a:ext uri="{FF2B5EF4-FFF2-40B4-BE49-F238E27FC236}">
                    <a16:creationId xmlns:a16="http://schemas.microsoft.com/office/drawing/2014/main" id="{50DB78FB-92F7-DC4A-86AF-5B3FF0772FC7}"/>
                  </a:ext>
                </a:extLst>
              </p:cNvPr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2714625" y="4271963"/>
                <a:ext cx="82550" cy="88900"/>
              </a:xfrm>
              <a:custGeom>
                <a:avLst/>
                <a:gdLst>
                  <a:gd name="T0" fmla="*/ 17632 w 103"/>
                  <a:gd name="T1" fmla="*/ 9611 h 111"/>
                  <a:gd name="T2" fmla="*/ 17632 w 103"/>
                  <a:gd name="T3" fmla="*/ 9611 h 111"/>
                  <a:gd name="T4" fmla="*/ 20838 w 103"/>
                  <a:gd name="T5" fmla="*/ 12814 h 111"/>
                  <a:gd name="T6" fmla="*/ 14426 w 103"/>
                  <a:gd name="T7" fmla="*/ 19222 h 111"/>
                  <a:gd name="T8" fmla="*/ 10419 w 103"/>
                  <a:gd name="T9" fmla="*/ 22425 h 111"/>
                  <a:gd name="T10" fmla="*/ 0 w 103"/>
                  <a:gd name="T11" fmla="*/ 19222 h 111"/>
                  <a:gd name="T12" fmla="*/ 4007 w 103"/>
                  <a:gd name="T13" fmla="*/ 9611 h 111"/>
                  <a:gd name="T14" fmla="*/ 10419 w 103"/>
                  <a:gd name="T15" fmla="*/ 9611 h 111"/>
                  <a:gd name="T16" fmla="*/ 4007 w 103"/>
                  <a:gd name="T17" fmla="*/ 3204 h 111"/>
                  <a:gd name="T18" fmla="*/ 7213 w 103"/>
                  <a:gd name="T19" fmla="*/ 0 h 111"/>
                  <a:gd name="T20" fmla="*/ 17632 w 103"/>
                  <a:gd name="T21" fmla="*/ 0 h 111"/>
                  <a:gd name="T22" fmla="*/ 17632 w 103"/>
                  <a:gd name="T23" fmla="*/ 9611 h 11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03"/>
                  <a:gd name="T37" fmla="*/ 0 h 111"/>
                  <a:gd name="T38" fmla="*/ 103 w 103"/>
                  <a:gd name="T39" fmla="*/ 111 h 11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03" h="111">
                    <a:moveTo>
                      <a:pt x="86" y="48"/>
                    </a:moveTo>
                    <a:lnTo>
                      <a:pt x="86" y="48"/>
                    </a:lnTo>
                    <a:lnTo>
                      <a:pt x="103" y="63"/>
                    </a:lnTo>
                    <a:lnTo>
                      <a:pt x="69" y="96"/>
                    </a:lnTo>
                    <a:lnTo>
                      <a:pt x="51" y="111"/>
                    </a:lnTo>
                    <a:lnTo>
                      <a:pt x="0" y="96"/>
                    </a:lnTo>
                    <a:lnTo>
                      <a:pt x="17" y="48"/>
                    </a:lnTo>
                    <a:lnTo>
                      <a:pt x="51" y="48"/>
                    </a:lnTo>
                    <a:lnTo>
                      <a:pt x="17" y="15"/>
                    </a:lnTo>
                    <a:lnTo>
                      <a:pt x="34" y="0"/>
                    </a:lnTo>
                    <a:lnTo>
                      <a:pt x="86" y="0"/>
                    </a:lnTo>
                    <a:lnTo>
                      <a:pt x="86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52" name="Freeform 86">
                <a:extLst>
                  <a:ext uri="{FF2B5EF4-FFF2-40B4-BE49-F238E27FC236}">
                    <a16:creationId xmlns:a16="http://schemas.microsoft.com/office/drawing/2014/main" id="{92717982-F3C0-8543-9EB0-BB88413006ED}"/>
                  </a:ext>
                </a:extLst>
              </p:cNvPr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2771775" y="4322763"/>
                <a:ext cx="134938" cy="50800"/>
              </a:xfrm>
              <a:custGeom>
                <a:avLst/>
                <a:gdLst>
                  <a:gd name="T0" fmla="*/ 7144 w 170"/>
                  <a:gd name="T1" fmla="*/ 0 h 63"/>
                  <a:gd name="T2" fmla="*/ 7144 w 170"/>
                  <a:gd name="T3" fmla="*/ 0 h 63"/>
                  <a:gd name="T4" fmla="*/ 23019 w 170"/>
                  <a:gd name="T5" fmla="*/ 0 h 63"/>
                  <a:gd name="T6" fmla="*/ 34131 w 170"/>
                  <a:gd name="T7" fmla="*/ 3225 h 63"/>
                  <a:gd name="T8" fmla="*/ 26988 w 170"/>
                  <a:gd name="T9" fmla="*/ 7257 h 63"/>
                  <a:gd name="T10" fmla="*/ 14288 w 170"/>
                  <a:gd name="T11" fmla="*/ 12902 h 63"/>
                  <a:gd name="T12" fmla="*/ 9525 w 170"/>
                  <a:gd name="T13" fmla="*/ 12902 h 63"/>
                  <a:gd name="T14" fmla="*/ 9525 w 170"/>
                  <a:gd name="T15" fmla="*/ 9676 h 63"/>
                  <a:gd name="T16" fmla="*/ 0 w 170"/>
                  <a:gd name="T17" fmla="*/ 7257 h 63"/>
                  <a:gd name="T18" fmla="*/ 7144 w 170"/>
                  <a:gd name="T19" fmla="*/ 0 h 6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70"/>
                  <a:gd name="T31" fmla="*/ 0 h 63"/>
                  <a:gd name="T32" fmla="*/ 170 w 170"/>
                  <a:gd name="T33" fmla="*/ 63 h 6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70" h="63">
                    <a:moveTo>
                      <a:pt x="34" y="0"/>
                    </a:moveTo>
                    <a:lnTo>
                      <a:pt x="34" y="0"/>
                    </a:lnTo>
                    <a:lnTo>
                      <a:pt x="119" y="0"/>
                    </a:lnTo>
                    <a:lnTo>
                      <a:pt x="170" y="15"/>
                    </a:lnTo>
                    <a:lnTo>
                      <a:pt x="136" y="33"/>
                    </a:lnTo>
                    <a:lnTo>
                      <a:pt x="69" y="63"/>
                    </a:lnTo>
                    <a:lnTo>
                      <a:pt x="51" y="63"/>
                    </a:lnTo>
                    <a:lnTo>
                      <a:pt x="51" y="48"/>
                    </a:lnTo>
                    <a:lnTo>
                      <a:pt x="0" y="33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53" name="Freeform 87">
                <a:extLst>
                  <a:ext uri="{FF2B5EF4-FFF2-40B4-BE49-F238E27FC236}">
                    <a16:creationId xmlns:a16="http://schemas.microsoft.com/office/drawing/2014/main" id="{132D1DA8-AA2F-D24B-86F5-807D6EE4F613}"/>
                  </a:ext>
                </a:extLst>
              </p:cNvPr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2755900" y="4348163"/>
                <a:ext cx="57150" cy="25400"/>
              </a:xfrm>
              <a:custGeom>
                <a:avLst/>
                <a:gdLst>
                  <a:gd name="T0" fmla="*/ 4025 w 71"/>
                  <a:gd name="T1" fmla="*/ 0 h 30"/>
                  <a:gd name="T2" fmla="*/ 4025 w 71"/>
                  <a:gd name="T3" fmla="*/ 0 h 30"/>
                  <a:gd name="T4" fmla="*/ 0 w 71"/>
                  <a:gd name="T5" fmla="*/ 3387 h 30"/>
                  <a:gd name="T6" fmla="*/ 4025 w 71"/>
                  <a:gd name="T7" fmla="*/ 7620 h 30"/>
                  <a:gd name="T8" fmla="*/ 14489 w 71"/>
                  <a:gd name="T9" fmla="*/ 7620 h 30"/>
                  <a:gd name="T10" fmla="*/ 14489 w 71"/>
                  <a:gd name="T11" fmla="*/ 3387 h 30"/>
                  <a:gd name="T12" fmla="*/ 4025 w 71"/>
                  <a:gd name="T13" fmla="*/ 0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1"/>
                  <a:gd name="T22" fmla="*/ 0 h 30"/>
                  <a:gd name="T23" fmla="*/ 71 w 71"/>
                  <a:gd name="T24" fmla="*/ 30 h 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1" h="30">
                    <a:moveTo>
                      <a:pt x="20" y="0"/>
                    </a:moveTo>
                    <a:lnTo>
                      <a:pt x="20" y="0"/>
                    </a:lnTo>
                    <a:lnTo>
                      <a:pt x="0" y="15"/>
                    </a:lnTo>
                    <a:lnTo>
                      <a:pt x="20" y="30"/>
                    </a:lnTo>
                    <a:lnTo>
                      <a:pt x="71" y="30"/>
                    </a:lnTo>
                    <a:lnTo>
                      <a:pt x="71" y="15"/>
                    </a:lnTo>
                    <a:lnTo>
                      <a:pt x="2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54" name="Freeform 88">
                <a:extLst>
                  <a:ext uri="{FF2B5EF4-FFF2-40B4-BE49-F238E27FC236}">
                    <a16:creationId xmlns:a16="http://schemas.microsoft.com/office/drawing/2014/main" id="{B6C1C465-5DAF-B041-B46B-3453EA908B23}"/>
                  </a:ext>
                </a:extLst>
              </p:cNvPr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2824163" y="4335463"/>
                <a:ext cx="82550" cy="88900"/>
              </a:xfrm>
              <a:custGeom>
                <a:avLst/>
                <a:gdLst>
                  <a:gd name="T0" fmla="*/ 20838 w 103"/>
                  <a:gd name="T1" fmla="*/ 0 h 114"/>
                  <a:gd name="T2" fmla="*/ 20838 w 103"/>
                  <a:gd name="T3" fmla="*/ 0 h 114"/>
                  <a:gd name="T4" fmla="*/ 20838 w 103"/>
                  <a:gd name="T5" fmla="*/ 3119 h 114"/>
                  <a:gd name="T6" fmla="*/ 17632 w 103"/>
                  <a:gd name="T7" fmla="*/ 17936 h 114"/>
                  <a:gd name="T8" fmla="*/ 20838 w 103"/>
                  <a:gd name="T9" fmla="*/ 21835 h 114"/>
                  <a:gd name="T10" fmla="*/ 17632 w 103"/>
                  <a:gd name="T11" fmla="*/ 21835 h 114"/>
                  <a:gd name="T12" fmla="*/ 7213 w 103"/>
                  <a:gd name="T13" fmla="*/ 17936 h 114"/>
                  <a:gd name="T14" fmla="*/ 0 w 103"/>
                  <a:gd name="T15" fmla="*/ 12477 h 114"/>
                  <a:gd name="T16" fmla="*/ 0 w 103"/>
                  <a:gd name="T17" fmla="*/ 9358 h 114"/>
                  <a:gd name="T18" fmla="*/ 14426 w 103"/>
                  <a:gd name="T19" fmla="*/ 3119 h 114"/>
                  <a:gd name="T20" fmla="*/ 20838 w 103"/>
                  <a:gd name="T21" fmla="*/ 0 h 11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03"/>
                  <a:gd name="T34" fmla="*/ 0 h 114"/>
                  <a:gd name="T35" fmla="*/ 103 w 103"/>
                  <a:gd name="T36" fmla="*/ 114 h 11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03" h="114">
                    <a:moveTo>
                      <a:pt x="103" y="0"/>
                    </a:moveTo>
                    <a:lnTo>
                      <a:pt x="103" y="0"/>
                    </a:lnTo>
                    <a:lnTo>
                      <a:pt x="103" y="18"/>
                    </a:lnTo>
                    <a:lnTo>
                      <a:pt x="86" y="96"/>
                    </a:lnTo>
                    <a:lnTo>
                      <a:pt x="103" y="114"/>
                    </a:lnTo>
                    <a:lnTo>
                      <a:pt x="86" y="114"/>
                    </a:lnTo>
                    <a:lnTo>
                      <a:pt x="34" y="96"/>
                    </a:lnTo>
                    <a:lnTo>
                      <a:pt x="0" y="66"/>
                    </a:lnTo>
                    <a:lnTo>
                      <a:pt x="0" y="48"/>
                    </a:lnTo>
                    <a:lnTo>
                      <a:pt x="69" y="18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55" name="Freeform 89">
                <a:extLst>
                  <a:ext uri="{FF2B5EF4-FFF2-40B4-BE49-F238E27FC236}">
                    <a16:creationId xmlns:a16="http://schemas.microsoft.com/office/drawing/2014/main" id="{139F5DD3-E2BC-724B-908F-F4429EA3E2D0}"/>
                  </a:ext>
                </a:extLst>
              </p:cNvPr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2854325" y="4411663"/>
                <a:ext cx="68263" cy="63500"/>
              </a:xfrm>
              <a:custGeom>
                <a:avLst/>
                <a:gdLst>
                  <a:gd name="T0" fmla="*/ 16477 w 87"/>
                  <a:gd name="T1" fmla="*/ 15679 h 81"/>
                  <a:gd name="T2" fmla="*/ 16477 w 87"/>
                  <a:gd name="T3" fmla="*/ 15679 h 81"/>
                  <a:gd name="T4" fmla="*/ 16477 w 87"/>
                  <a:gd name="T5" fmla="*/ 9407 h 81"/>
                  <a:gd name="T6" fmla="*/ 13339 w 87"/>
                  <a:gd name="T7" fmla="*/ 6272 h 81"/>
                  <a:gd name="T8" fmla="*/ 13339 w 87"/>
                  <a:gd name="T9" fmla="*/ 3136 h 81"/>
                  <a:gd name="T10" fmla="*/ 10200 w 87"/>
                  <a:gd name="T11" fmla="*/ 3136 h 81"/>
                  <a:gd name="T12" fmla="*/ 0 w 87"/>
                  <a:gd name="T13" fmla="*/ 0 h 81"/>
                  <a:gd name="T14" fmla="*/ 0 w 87"/>
                  <a:gd name="T15" fmla="*/ 6272 h 81"/>
                  <a:gd name="T16" fmla="*/ 3139 w 87"/>
                  <a:gd name="T17" fmla="*/ 9407 h 81"/>
                  <a:gd name="T18" fmla="*/ 6277 w 87"/>
                  <a:gd name="T19" fmla="*/ 6272 h 81"/>
                  <a:gd name="T20" fmla="*/ 10200 w 87"/>
                  <a:gd name="T21" fmla="*/ 12543 h 81"/>
                  <a:gd name="T22" fmla="*/ 16477 w 87"/>
                  <a:gd name="T23" fmla="*/ 15679 h 8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7"/>
                  <a:gd name="T37" fmla="*/ 0 h 81"/>
                  <a:gd name="T38" fmla="*/ 87 w 87"/>
                  <a:gd name="T39" fmla="*/ 81 h 8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7" h="81">
                    <a:moveTo>
                      <a:pt x="87" y="81"/>
                    </a:moveTo>
                    <a:lnTo>
                      <a:pt x="87" y="81"/>
                    </a:lnTo>
                    <a:lnTo>
                      <a:pt x="87" y="48"/>
                    </a:lnTo>
                    <a:lnTo>
                      <a:pt x="69" y="33"/>
                    </a:lnTo>
                    <a:lnTo>
                      <a:pt x="69" y="18"/>
                    </a:lnTo>
                    <a:lnTo>
                      <a:pt x="52" y="18"/>
                    </a:lnTo>
                    <a:lnTo>
                      <a:pt x="0" y="0"/>
                    </a:lnTo>
                    <a:lnTo>
                      <a:pt x="0" y="33"/>
                    </a:lnTo>
                    <a:lnTo>
                      <a:pt x="18" y="48"/>
                    </a:lnTo>
                    <a:lnTo>
                      <a:pt x="35" y="33"/>
                    </a:lnTo>
                    <a:lnTo>
                      <a:pt x="52" y="66"/>
                    </a:lnTo>
                    <a:lnTo>
                      <a:pt x="87" y="8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56" name="Freeform 90">
                <a:extLst>
                  <a:ext uri="{FF2B5EF4-FFF2-40B4-BE49-F238E27FC236}">
                    <a16:creationId xmlns:a16="http://schemas.microsoft.com/office/drawing/2014/main" id="{F4190163-C57E-CC4E-A100-06AC92C2B52E}"/>
                  </a:ext>
                </a:extLst>
              </p:cNvPr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>
                <a:off x="2922588" y="4449763"/>
                <a:ext cx="66675" cy="50800"/>
              </a:xfrm>
              <a:custGeom>
                <a:avLst/>
                <a:gdLst>
                  <a:gd name="T0" fmla="*/ 0 w 84"/>
                  <a:gd name="T1" fmla="*/ 6158 h 66"/>
                  <a:gd name="T2" fmla="*/ 0 w 84"/>
                  <a:gd name="T3" fmla="*/ 6158 h 66"/>
                  <a:gd name="T4" fmla="*/ 9525 w 84"/>
                  <a:gd name="T5" fmla="*/ 8467 h 66"/>
                  <a:gd name="T6" fmla="*/ 9525 w 84"/>
                  <a:gd name="T7" fmla="*/ 12315 h 66"/>
                  <a:gd name="T8" fmla="*/ 14288 w 84"/>
                  <a:gd name="T9" fmla="*/ 8467 h 66"/>
                  <a:gd name="T10" fmla="*/ 9525 w 84"/>
                  <a:gd name="T11" fmla="*/ 6158 h 66"/>
                  <a:gd name="T12" fmla="*/ 16669 w 84"/>
                  <a:gd name="T13" fmla="*/ 3079 h 66"/>
                  <a:gd name="T14" fmla="*/ 14288 w 84"/>
                  <a:gd name="T15" fmla="*/ 0 h 66"/>
                  <a:gd name="T16" fmla="*/ 7144 w 84"/>
                  <a:gd name="T17" fmla="*/ 3079 h 66"/>
                  <a:gd name="T18" fmla="*/ 3969 w 84"/>
                  <a:gd name="T19" fmla="*/ 3079 h 66"/>
                  <a:gd name="T20" fmla="*/ 0 w 84"/>
                  <a:gd name="T21" fmla="*/ 0 h 66"/>
                  <a:gd name="T22" fmla="*/ 0 w 84"/>
                  <a:gd name="T23" fmla="*/ 6158 h 6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4"/>
                  <a:gd name="T37" fmla="*/ 0 h 66"/>
                  <a:gd name="T38" fmla="*/ 84 w 84"/>
                  <a:gd name="T39" fmla="*/ 66 h 6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4" h="66">
                    <a:moveTo>
                      <a:pt x="0" y="33"/>
                    </a:moveTo>
                    <a:lnTo>
                      <a:pt x="0" y="33"/>
                    </a:lnTo>
                    <a:lnTo>
                      <a:pt x="51" y="48"/>
                    </a:lnTo>
                    <a:lnTo>
                      <a:pt x="51" y="66"/>
                    </a:lnTo>
                    <a:lnTo>
                      <a:pt x="69" y="48"/>
                    </a:lnTo>
                    <a:lnTo>
                      <a:pt x="51" y="33"/>
                    </a:lnTo>
                    <a:lnTo>
                      <a:pt x="84" y="18"/>
                    </a:lnTo>
                    <a:lnTo>
                      <a:pt x="69" y="0"/>
                    </a:lnTo>
                    <a:lnTo>
                      <a:pt x="34" y="18"/>
                    </a:lnTo>
                    <a:lnTo>
                      <a:pt x="17" y="18"/>
                    </a:lnTo>
                    <a:lnTo>
                      <a:pt x="0" y="0"/>
                    </a:lnTo>
                    <a:lnTo>
                      <a:pt x="0" y="3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57" name="Freeform 91">
                <a:extLst>
                  <a:ext uri="{FF2B5EF4-FFF2-40B4-BE49-F238E27FC236}">
                    <a16:creationId xmlns:a16="http://schemas.microsoft.com/office/drawing/2014/main" id="{57509661-B28F-A64B-8893-B0F41FBB718F}"/>
                  </a:ext>
                </a:extLst>
              </p:cNvPr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2990850" y="4449763"/>
                <a:ext cx="55563" cy="50800"/>
              </a:xfrm>
              <a:custGeom>
                <a:avLst/>
                <a:gdLst>
                  <a:gd name="T0" fmla="*/ 10468 w 69"/>
                  <a:gd name="T1" fmla="*/ 3079 h 66"/>
                  <a:gd name="T2" fmla="*/ 10468 w 69"/>
                  <a:gd name="T3" fmla="*/ 3079 h 66"/>
                  <a:gd name="T4" fmla="*/ 14495 w 69"/>
                  <a:gd name="T5" fmla="*/ 6158 h 66"/>
                  <a:gd name="T6" fmla="*/ 10468 w 69"/>
                  <a:gd name="T7" fmla="*/ 8467 h 66"/>
                  <a:gd name="T8" fmla="*/ 10468 w 69"/>
                  <a:gd name="T9" fmla="*/ 12315 h 66"/>
                  <a:gd name="T10" fmla="*/ 7247 w 69"/>
                  <a:gd name="T11" fmla="*/ 6158 h 66"/>
                  <a:gd name="T12" fmla="*/ 0 w 69"/>
                  <a:gd name="T13" fmla="*/ 3079 h 66"/>
                  <a:gd name="T14" fmla="*/ 0 w 69"/>
                  <a:gd name="T15" fmla="*/ 0 h 66"/>
                  <a:gd name="T16" fmla="*/ 4026 w 69"/>
                  <a:gd name="T17" fmla="*/ 0 h 66"/>
                  <a:gd name="T18" fmla="*/ 7247 w 69"/>
                  <a:gd name="T19" fmla="*/ 0 h 66"/>
                  <a:gd name="T20" fmla="*/ 10468 w 69"/>
                  <a:gd name="T21" fmla="*/ 3079 h 6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9"/>
                  <a:gd name="T34" fmla="*/ 0 h 66"/>
                  <a:gd name="T35" fmla="*/ 69 w 69"/>
                  <a:gd name="T36" fmla="*/ 66 h 6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9" h="66">
                    <a:moveTo>
                      <a:pt x="52" y="18"/>
                    </a:moveTo>
                    <a:lnTo>
                      <a:pt x="52" y="18"/>
                    </a:lnTo>
                    <a:lnTo>
                      <a:pt x="69" y="33"/>
                    </a:lnTo>
                    <a:lnTo>
                      <a:pt x="52" y="48"/>
                    </a:lnTo>
                    <a:lnTo>
                      <a:pt x="52" y="66"/>
                    </a:lnTo>
                    <a:lnTo>
                      <a:pt x="35" y="33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35" y="0"/>
                    </a:lnTo>
                    <a:lnTo>
                      <a:pt x="52" y="1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58" name="Freeform 92">
                <a:extLst>
                  <a:ext uri="{FF2B5EF4-FFF2-40B4-BE49-F238E27FC236}">
                    <a16:creationId xmlns:a16="http://schemas.microsoft.com/office/drawing/2014/main" id="{83ACA4FF-5C3D-9D49-BE8D-DB97D402B74C}"/>
                  </a:ext>
                </a:extLst>
              </p:cNvPr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>
                <a:off x="2976563" y="4449763"/>
                <a:ext cx="14288" cy="12700"/>
              </a:xfrm>
              <a:custGeom>
                <a:avLst/>
                <a:gdLst>
                  <a:gd name="T0" fmla="*/ 4202 w 17"/>
                  <a:gd name="T1" fmla="*/ 2822 h 18"/>
                  <a:gd name="T2" fmla="*/ 4202 w 17"/>
                  <a:gd name="T3" fmla="*/ 2822 h 18"/>
                  <a:gd name="T4" fmla="*/ 4202 w 17"/>
                  <a:gd name="T5" fmla="*/ 0 h 18"/>
                  <a:gd name="T6" fmla="*/ 0 w 17"/>
                  <a:gd name="T7" fmla="*/ 0 h 18"/>
                  <a:gd name="T8" fmla="*/ 4202 w 17"/>
                  <a:gd name="T9" fmla="*/ 2822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18"/>
                  <a:gd name="T17" fmla="*/ 17 w 17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18">
                    <a:moveTo>
                      <a:pt x="17" y="18"/>
                    </a:moveTo>
                    <a:lnTo>
                      <a:pt x="17" y="18"/>
                    </a:lnTo>
                    <a:lnTo>
                      <a:pt x="17" y="0"/>
                    </a:lnTo>
                    <a:lnTo>
                      <a:pt x="0" y="0"/>
                    </a:lnTo>
                    <a:lnTo>
                      <a:pt x="17" y="1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59" name="Freeform 93">
                <a:extLst>
                  <a:ext uri="{FF2B5EF4-FFF2-40B4-BE49-F238E27FC236}">
                    <a16:creationId xmlns:a16="http://schemas.microsoft.com/office/drawing/2014/main" id="{D97C414F-08C2-D048-85CF-4C695027EEDD}"/>
                  </a:ext>
                </a:extLst>
              </p:cNvPr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7558087" y="4643438"/>
                <a:ext cx="217488" cy="177800"/>
              </a:xfrm>
              <a:custGeom>
                <a:avLst/>
                <a:gdLst>
                  <a:gd name="T0" fmla="*/ 53779 w 275"/>
                  <a:gd name="T1" fmla="*/ 12644 h 225"/>
                  <a:gd name="T2" fmla="*/ 53779 w 275"/>
                  <a:gd name="T3" fmla="*/ 12644 h 225"/>
                  <a:gd name="T4" fmla="*/ 53779 w 275"/>
                  <a:gd name="T5" fmla="*/ 25287 h 225"/>
                  <a:gd name="T6" fmla="*/ 53779 w 275"/>
                  <a:gd name="T7" fmla="*/ 44252 h 225"/>
                  <a:gd name="T8" fmla="*/ 47452 w 275"/>
                  <a:gd name="T9" fmla="*/ 37931 h 225"/>
                  <a:gd name="T10" fmla="*/ 37171 w 275"/>
                  <a:gd name="T11" fmla="*/ 41092 h 225"/>
                  <a:gd name="T12" fmla="*/ 40334 w 275"/>
                  <a:gd name="T13" fmla="*/ 34770 h 225"/>
                  <a:gd name="T14" fmla="*/ 37171 w 275"/>
                  <a:gd name="T15" fmla="*/ 28448 h 225"/>
                  <a:gd name="T16" fmla="*/ 13445 w 275"/>
                  <a:gd name="T17" fmla="*/ 15804 h 225"/>
                  <a:gd name="T18" fmla="*/ 10281 w 275"/>
                  <a:gd name="T19" fmla="*/ 18965 h 225"/>
                  <a:gd name="T20" fmla="*/ 10281 w 275"/>
                  <a:gd name="T21" fmla="*/ 15804 h 225"/>
                  <a:gd name="T22" fmla="*/ 6327 w 275"/>
                  <a:gd name="T23" fmla="*/ 12644 h 225"/>
                  <a:gd name="T24" fmla="*/ 13445 w 275"/>
                  <a:gd name="T25" fmla="*/ 12644 h 225"/>
                  <a:gd name="T26" fmla="*/ 16608 w 275"/>
                  <a:gd name="T27" fmla="*/ 9483 h 225"/>
                  <a:gd name="T28" fmla="*/ 6327 w 275"/>
                  <a:gd name="T29" fmla="*/ 9483 h 225"/>
                  <a:gd name="T30" fmla="*/ 3163 w 275"/>
                  <a:gd name="T31" fmla="*/ 6322 h 225"/>
                  <a:gd name="T32" fmla="*/ 0 w 275"/>
                  <a:gd name="T33" fmla="*/ 6322 h 225"/>
                  <a:gd name="T34" fmla="*/ 6327 w 275"/>
                  <a:gd name="T35" fmla="*/ 0 h 225"/>
                  <a:gd name="T36" fmla="*/ 10281 w 275"/>
                  <a:gd name="T37" fmla="*/ 0 h 225"/>
                  <a:gd name="T38" fmla="*/ 16608 w 275"/>
                  <a:gd name="T39" fmla="*/ 3161 h 225"/>
                  <a:gd name="T40" fmla="*/ 16608 w 275"/>
                  <a:gd name="T41" fmla="*/ 9483 h 225"/>
                  <a:gd name="T42" fmla="*/ 22935 w 275"/>
                  <a:gd name="T43" fmla="*/ 15804 h 225"/>
                  <a:gd name="T44" fmla="*/ 30053 w 275"/>
                  <a:gd name="T45" fmla="*/ 9483 h 225"/>
                  <a:gd name="T46" fmla="*/ 37171 w 275"/>
                  <a:gd name="T47" fmla="*/ 6322 h 225"/>
                  <a:gd name="T48" fmla="*/ 53779 w 275"/>
                  <a:gd name="T49" fmla="*/ 12644 h 22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75"/>
                  <a:gd name="T76" fmla="*/ 0 h 225"/>
                  <a:gd name="T77" fmla="*/ 275 w 275"/>
                  <a:gd name="T78" fmla="*/ 225 h 22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75" h="225">
                    <a:moveTo>
                      <a:pt x="275" y="65"/>
                    </a:moveTo>
                    <a:lnTo>
                      <a:pt x="275" y="65"/>
                    </a:lnTo>
                    <a:lnTo>
                      <a:pt x="275" y="129"/>
                    </a:lnTo>
                    <a:lnTo>
                      <a:pt x="275" y="225"/>
                    </a:lnTo>
                    <a:lnTo>
                      <a:pt x="240" y="192"/>
                    </a:lnTo>
                    <a:lnTo>
                      <a:pt x="189" y="209"/>
                    </a:lnTo>
                    <a:lnTo>
                      <a:pt x="206" y="177"/>
                    </a:lnTo>
                    <a:lnTo>
                      <a:pt x="189" y="144"/>
                    </a:lnTo>
                    <a:lnTo>
                      <a:pt x="68" y="81"/>
                    </a:lnTo>
                    <a:lnTo>
                      <a:pt x="52" y="96"/>
                    </a:lnTo>
                    <a:lnTo>
                      <a:pt x="52" y="81"/>
                    </a:lnTo>
                    <a:lnTo>
                      <a:pt x="35" y="65"/>
                    </a:lnTo>
                    <a:lnTo>
                      <a:pt x="68" y="65"/>
                    </a:lnTo>
                    <a:lnTo>
                      <a:pt x="85" y="48"/>
                    </a:lnTo>
                    <a:lnTo>
                      <a:pt x="35" y="48"/>
                    </a:lnTo>
                    <a:lnTo>
                      <a:pt x="18" y="33"/>
                    </a:lnTo>
                    <a:lnTo>
                      <a:pt x="0" y="33"/>
                    </a:lnTo>
                    <a:lnTo>
                      <a:pt x="35" y="0"/>
                    </a:lnTo>
                    <a:lnTo>
                      <a:pt x="52" y="0"/>
                    </a:lnTo>
                    <a:lnTo>
                      <a:pt x="85" y="18"/>
                    </a:lnTo>
                    <a:lnTo>
                      <a:pt x="85" y="48"/>
                    </a:lnTo>
                    <a:lnTo>
                      <a:pt x="119" y="81"/>
                    </a:lnTo>
                    <a:lnTo>
                      <a:pt x="154" y="48"/>
                    </a:lnTo>
                    <a:lnTo>
                      <a:pt x="189" y="33"/>
                    </a:lnTo>
                    <a:lnTo>
                      <a:pt x="275" y="6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60" name="Freeform 94">
                <a:extLst>
                  <a:ext uri="{FF2B5EF4-FFF2-40B4-BE49-F238E27FC236}">
                    <a16:creationId xmlns:a16="http://schemas.microsoft.com/office/drawing/2014/main" id="{2AFB53A2-D865-F54C-8B9C-6D963626B84F}"/>
                  </a:ext>
                </a:extLst>
              </p:cNvPr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7775574" y="4694238"/>
                <a:ext cx="207963" cy="165100"/>
              </a:xfrm>
              <a:custGeom>
                <a:avLst/>
                <a:gdLst>
                  <a:gd name="T0" fmla="*/ 0 w 261"/>
                  <a:gd name="T1" fmla="*/ 31750 h 208"/>
                  <a:gd name="T2" fmla="*/ 0 w 261"/>
                  <a:gd name="T3" fmla="*/ 31750 h 208"/>
                  <a:gd name="T4" fmla="*/ 0 w 261"/>
                  <a:gd name="T5" fmla="*/ 12700 h 208"/>
                  <a:gd name="T6" fmla="*/ 0 w 261"/>
                  <a:gd name="T7" fmla="*/ 0 h 208"/>
                  <a:gd name="T8" fmla="*/ 14342 w 261"/>
                  <a:gd name="T9" fmla="*/ 3175 h 208"/>
                  <a:gd name="T10" fmla="*/ 24701 w 261"/>
                  <a:gd name="T11" fmla="*/ 9525 h 208"/>
                  <a:gd name="T12" fmla="*/ 24701 w 261"/>
                  <a:gd name="T13" fmla="*/ 12700 h 208"/>
                  <a:gd name="T14" fmla="*/ 38246 w 261"/>
                  <a:gd name="T15" fmla="*/ 19050 h 208"/>
                  <a:gd name="T16" fmla="*/ 31872 w 261"/>
                  <a:gd name="T17" fmla="*/ 22225 h 208"/>
                  <a:gd name="T18" fmla="*/ 35059 w 261"/>
                  <a:gd name="T19" fmla="*/ 22225 h 208"/>
                  <a:gd name="T20" fmla="*/ 38246 w 261"/>
                  <a:gd name="T21" fmla="*/ 24606 h 208"/>
                  <a:gd name="T22" fmla="*/ 42230 w 261"/>
                  <a:gd name="T23" fmla="*/ 31750 h 208"/>
                  <a:gd name="T24" fmla="*/ 45417 w 261"/>
                  <a:gd name="T25" fmla="*/ 31750 h 208"/>
                  <a:gd name="T26" fmla="*/ 45417 w 261"/>
                  <a:gd name="T27" fmla="*/ 34925 h 208"/>
                  <a:gd name="T28" fmla="*/ 52588 w 261"/>
                  <a:gd name="T29" fmla="*/ 38100 h 208"/>
                  <a:gd name="T30" fmla="*/ 52588 w 261"/>
                  <a:gd name="T31" fmla="*/ 41275 h 208"/>
                  <a:gd name="T32" fmla="*/ 35059 w 261"/>
                  <a:gd name="T33" fmla="*/ 38100 h 208"/>
                  <a:gd name="T34" fmla="*/ 27888 w 261"/>
                  <a:gd name="T35" fmla="*/ 24606 h 208"/>
                  <a:gd name="T36" fmla="*/ 20717 w 261"/>
                  <a:gd name="T37" fmla="*/ 24606 h 208"/>
                  <a:gd name="T38" fmla="*/ 17529 w 261"/>
                  <a:gd name="T39" fmla="*/ 24606 h 208"/>
                  <a:gd name="T40" fmla="*/ 10358 w 261"/>
                  <a:gd name="T41" fmla="*/ 28575 h 208"/>
                  <a:gd name="T42" fmla="*/ 14342 w 261"/>
                  <a:gd name="T43" fmla="*/ 31750 h 208"/>
                  <a:gd name="T44" fmla="*/ 7171 w 261"/>
                  <a:gd name="T45" fmla="*/ 31750 h 208"/>
                  <a:gd name="T46" fmla="*/ 0 w 261"/>
                  <a:gd name="T47" fmla="*/ 31750 h 20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61"/>
                  <a:gd name="T73" fmla="*/ 0 h 208"/>
                  <a:gd name="T74" fmla="*/ 261 w 261"/>
                  <a:gd name="T75" fmla="*/ 208 h 208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61" h="208">
                    <a:moveTo>
                      <a:pt x="0" y="160"/>
                    </a:moveTo>
                    <a:lnTo>
                      <a:pt x="0" y="160"/>
                    </a:lnTo>
                    <a:lnTo>
                      <a:pt x="0" y="64"/>
                    </a:lnTo>
                    <a:lnTo>
                      <a:pt x="0" y="0"/>
                    </a:lnTo>
                    <a:lnTo>
                      <a:pt x="69" y="16"/>
                    </a:lnTo>
                    <a:lnTo>
                      <a:pt x="121" y="48"/>
                    </a:lnTo>
                    <a:lnTo>
                      <a:pt x="121" y="64"/>
                    </a:lnTo>
                    <a:lnTo>
                      <a:pt x="192" y="96"/>
                    </a:lnTo>
                    <a:lnTo>
                      <a:pt x="157" y="112"/>
                    </a:lnTo>
                    <a:lnTo>
                      <a:pt x="175" y="112"/>
                    </a:lnTo>
                    <a:lnTo>
                      <a:pt x="192" y="127"/>
                    </a:lnTo>
                    <a:lnTo>
                      <a:pt x="209" y="160"/>
                    </a:lnTo>
                    <a:lnTo>
                      <a:pt x="226" y="160"/>
                    </a:lnTo>
                    <a:lnTo>
                      <a:pt x="226" y="175"/>
                    </a:lnTo>
                    <a:lnTo>
                      <a:pt x="261" y="192"/>
                    </a:lnTo>
                    <a:lnTo>
                      <a:pt x="261" y="208"/>
                    </a:lnTo>
                    <a:lnTo>
                      <a:pt x="175" y="192"/>
                    </a:lnTo>
                    <a:lnTo>
                      <a:pt x="140" y="127"/>
                    </a:lnTo>
                    <a:lnTo>
                      <a:pt x="104" y="127"/>
                    </a:lnTo>
                    <a:lnTo>
                      <a:pt x="86" y="127"/>
                    </a:lnTo>
                    <a:lnTo>
                      <a:pt x="52" y="144"/>
                    </a:lnTo>
                    <a:lnTo>
                      <a:pt x="69" y="160"/>
                    </a:lnTo>
                    <a:lnTo>
                      <a:pt x="34" y="160"/>
                    </a:lnTo>
                    <a:lnTo>
                      <a:pt x="0" y="16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61" name="Freeform 95">
                <a:extLst>
                  <a:ext uri="{FF2B5EF4-FFF2-40B4-BE49-F238E27FC236}">
                    <a16:creationId xmlns:a16="http://schemas.microsoft.com/office/drawing/2014/main" id="{31E840DD-ACF3-6240-8E7E-780ED532296B}"/>
                  </a:ext>
                </a:extLst>
              </p:cNvPr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7170737" y="4859338"/>
                <a:ext cx="881063" cy="635000"/>
              </a:xfrm>
              <a:custGeom>
                <a:avLst/>
                <a:gdLst>
                  <a:gd name="T0" fmla="*/ 11123 w 1109"/>
                  <a:gd name="T1" fmla="*/ 127000 h 800"/>
                  <a:gd name="T2" fmla="*/ 27806 w 1109"/>
                  <a:gd name="T3" fmla="*/ 133350 h 800"/>
                  <a:gd name="T4" fmla="*/ 55613 w 1109"/>
                  <a:gd name="T5" fmla="*/ 123825 h 800"/>
                  <a:gd name="T6" fmla="*/ 73091 w 1109"/>
                  <a:gd name="T7" fmla="*/ 114300 h 800"/>
                  <a:gd name="T8" fmla="*/ 114403 w 1109"/>
                  <a:gd name="T9" fmla="*/ 117475 h 800"/>
                  <a:gd name="T10" fmla="*/ 117581 w 1109"/>
                  <a:gd name="T11" fmla="*/ 120650 h 800"/>
                  <a:gd name="T12" fmla="*/ 135059 w 1109"/>
                  <a:gd name="T13" fmla="*/ 117475 h 800"/>
                  <a:gd name="T14" fmla="*/ 131087 w 1109"/>
                  <a:gd name="T15" fmla="*/ 133350 h 800"/>
                  <a:gd name="T16" fmla="*/ 135059 w 1109"/>
                  <a:gd name="T17" fmla="*/ 127000 h 800"/>
                  <a:gd name="T18" fmla="*/ 135059 w 1109"/>
                  <a:gd name="T19" fmla="*/ 136525 h 800"/>
                  <a:gd name="T20" fmla="*/ 145387 w 1109"/>
                  <a:gd name="T21" fmla="*/ 142875 h 800"/>
                  <a:gd name="T22" fmla="*/ 148565 w 1109"/>
                  <a:gd name="T23" fmla="*/ 149225 h 800"/>
                  <a:gd name="T24" fmla="*/ 162071 w 1109"/>
                  <a:gd name="T25" fmla="*/ 152400 h 800"/>
                  <a:gd name="T26" fmla="*/ 172399 w 1109"/>
                  <a:gd name="T27" fmla="*/ 149225 h 800"/>
                  <a:gd name="T28" fmla="*/ 176371 w 1109"/>
                  <a:gd name="T29" fmla="*/ 152400 h 800"/>
                  <a:gd name="T30" fmla="*/ 182727 w 1109"/>
                  <a:gd name="T31" fmla="*/ 158750 h 800"/>
                  <a:gd name="T32" fmla="*/ 200205 w 1109"/>
                  <a:gd name="T33" fmla="*/ 149225 h 800"/>
                  <a:gd name="T34" fmla="*/ 216889 w 1109"/>
                  <a:gd name="T35" fmla="*/ 107950 h 800"/>
                  <a:gd name="T36" fmla="*/ 216889 w 1109"/>
                  <a:gd name="T37" fmla="*/ 79375 h 800"/>
                  <a:gd name="T38" fmla="*/ 206561 w 1109"/>
                  <a:gd name="T39" fmla="*/ 66675 h 800"/>
                  <a:gd name="T40" fmla="*/ 200205 w 1109"/>
                  <a:gd name="T41" fmla="*/ 57150 h 800"/>
                  <a:gd name="T42" fmla="*/ 193055 w 1109"/>
                  <a:gd name="T43" fmla="*/ 50006 h 800"/>
                  <a:gd name="T44" fmla="*/ 179549 w 1109"/>
                  <a:gd name="T45" fmla="*/ 31750 h 800"/>
                  <a:gd name="T46" fmla="*/ 176371 w 1109"/>
                  <a:gd name="T47" fmla="*/ 21431 h 800"/>
                  <a:gd name="T48" fmla="*/ 166043 w 1109"/>
                  <a:gd name="T49" fmla="*/ 19050 h 800"/>
                  <a:gd name="T50" fmla="*/ 158893 w 1109"/>
                  <a:gd name="T51" fmla="*/ 0 h 800"/>
                  <a:gd name="T52" fmla="*/ 155715 w 1109"/>
                  <a:gd name="T53" fmla="*/ 21431 h 800"/>
                  <a:gd name="T54" fmla="*/ 145387 w 1109"/>
                  <a:gd name="T55" fmla="*/ 34925 h 800"/>
                  <a:gd name="T56" fmla="*/ 127909 w 1109"/>
                  <a:gd name="T57" fmla="*/ 25400 h 800"/>
                  <a:gd name="T58" fmla="*/ 120759 w 1109"/>
                  <a:gd name="T59" fmla="*/ 21431 h 800"/>
                  <a:gd name="T60" fmla="*/ 127909 w 1109"/>
                  <a:gd name="T61" fmla="*/ 11906 h 800"/>
                  <a:gd name="T62" fmla="*/ 127909 w 1109"/>
                  <a:gd name="T63" fmla="*/ 6350 h 800"/>
                  <a:gd name="T64" fmla="*/ 124731 w 1109"/>
                  <a:gd name="T65" fmla="*/ 6350 h 800"/>
                  <a:gd name="T66" fmla="*/ 103281 w 1109"/>
                  <a:gd name="T67" fmla="*/ 2381 h 800"/>
                  <a:gd name="T68" fmla="*/ 103281 w 1109"/>
                  <a:gd name="T69" fmla="*/ 6350 h 800"/>
                  <a:gd name="T70" fmla="*/ 92953 w 1109"/>
                  <a:gd name="T71" fmla="*/ 9525 h 800"/>
                  <a:gd name="T72" fmla="*/ 89775 w 1109"/>
                  <a:gd name="T73" fmla="*/ 11906 h 800"/>
                  <a:gd name="T74" fmla="*/ 89775 w 1109"/>
                  <a:gd name="T75" fmla="*/ 21431 h 800"/>
                  <a:gd name="T76" fmla="*/ 82624 w 1109"/>
                  <a:gd name="T77" fmla="*/ 21431 h 800"/>
                  <a:gd name="T78" fmla="*/ 79447 w 1109"/>
                  <a:gd name="T79" fmla="*/ 15875 h 800"/>
                  <a:gd name="T80" fmla="*/ 69119 w 1109"/>
                  <a:gd name="T81" fmla="*/ 19050 h 800"/>
                  <a:gd name="T82" fmla="*/ 62763 w 1109"/>
                  <a:gd name="T83" fmla="*/ 28575 h 800"/>
                  <a:gd name="T84" fmla="*/ 55613 w 1109"/>
                  <a:gd name="T85" fmla="*/ 28575 h 800"/>
                  <a:gd name="T86" fmla="*/ 55613 w 1109"/>
                  <a:gd name="T87" fmla="*/ 34925 h 800"/>
                  <a:gd name="T88" fmla="*/ 48462 w 1109"/>
                  <a:gd name="T89" fmla="*/ 34925 h 800"/>
                  <a:gd name="T90" fmla="*/ 42107 w 1109"/>
                  <a:gd name="T91" fmla="*/ 44450 h 800"/>
                  <a:gd name="T92" fmla="*/ 7150 w 1109"/>
                  <a:gd name="T93" fmla="*/ 60325 h 800"/>
                  <a:gd name="T94" fmla="*/ 3972 w 1109"/>
                  <a:gd name="T95" fmla="*/ 60325 h 800"/>
                  <a:gd name="T96" fmla="*/ 0 w 1109"/>
                  <a:gd name="T97" fmla="*/ 66675 h 800"/>
                  <a:gd name="T98" fmla="*/ 3972 w 1109"/>
                  <a:gd name="T99" fmla="*/ 76200 h 800"/>
                  <a:gd name="T100" fmla="*/ 0 w 1109"/>
                  <a:gd name="T101" fmla="*/ 79375 h 800"/>
                  <a:gd name="T102" fmla="*/ 14300 w 1109"/>
                  <a:gd name="T103" fmla="*/ 111125 h 800"/>
                  <a:gd name="T104" fmla="*/ 11123 w 1109"/>
                  <a:gd name="T105" fmla="*/ 123825 h 80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109"/>
                  <a:gd name="T160" fmla="*/ 0 h 800"/>
                  <a:gd name="T161" fmla="*/ 1109 w 1109"/>
                  <a:gd name="T162" fmla="*/ 800 h 80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109" h="800">
                    <a:moveTo>
                      <a:pt x="54" y="639"/>
                    </a:moveTo>
                    <a:lnTo>
                      <a:pt x="54" y="639"/>
                    </a:lnTo>
                    <a:lnTo>
                      <a:pt x="105" y="671"/>
                    </a:lnTo>
                    <a:lnTo>
                      <a:pt x="140" y="671"/>
                    </a:lnTo>
                    <a:lnTo>
                      <a:pt x="192" y="623"/>
                    </a:lnTo>
                    <a:lnTo>
                      <a:pt x="278" y="623"/>
                    </a:lnTo>
                    <a:lnTo>
                      <a:pt x="295" y="608"/>
                    </a:lnTo>
                    <a:lnTo>
                      <a:pt x="365" y="575"/>
                    </a:lnTo>
                    <a:lnTo>
                      <a:pt x="503" y="560"/>
                    </a:lnTo>
                    <a:lnTo>
                      <a:pt x="574" y="591"/>
                    </a:lnTo>
                    <a:lnTo>
                      <a:pt x="574" y="608"/>
                    </a:lnTo>
                    <a:lnTo>
                      <a:pt x="591" y="608"/>
                    </a:lnTo>
                    <a:lnTo>
                      <a:pt x="626" y="671"/>
                    </a:lnTo>
                    <a:lnTo>
                      <a:pt x="677" y="591"/>
                    </a:lnTo>
                    <a:lnTo>
                      <a:pt x="677" y="623"/>
                    </a:lnTo>
                    <a:lnTo>
                      <a:pt x="660" y="671"/>
                    </a:lnTo>
                    <a:lnTo>
                      <a:pt x="677" y="671"/>
                    </a:lnTo>
                    <a:lnTo>
                      <a:pt x="677" y="639"/>
                    </a:lnTo>
                    <a:lnTo>
                      <a:pt x="695" y="671"/>
                    </a:lnTo>
                    <a:lnTo>
                      <a:pt x="677" y="687"/>
                    </a:lnTo>
                    <a:lnTo>
                      <a:pt x="712" y="687"/>
                    </a:lnTo>
                    <a:lnTo>
                      <a:pt x="729" y="719"/>
                    </a:lnTo>
                    <a:lnTo>
                      <a:pt x="729" y="735"/>
                    </a:lnTo>
                    <a:lnTo>
                      <a:pt x="747" y="752"/>
                    </a:lnTo>
                    <a:lnTo>
                      <a:pt x="781" y="767"/>
                    </a:lnTo>
                    <a:lnTo>
                      <a:pt x="816" y="767"/>
                    </a:lnTo>
                    <a:lnTo>
                      <a:pt x="833" y="783"/>
                    </a:lnTo>
                    <a:lnTo>
                      <a:pt x="868" y="752"/>
                    </a:lnTo>
                    <a:lnTo>
                      <a:pt x="868" y="767"/>
                    </a:lnTo>
                    <a:lnTo>
                      <a:pt x="885" y="767"/>
                    </a:lnTo>
                    <a:lnTo>
                      <a:pt x="885" y="783"/>
                    </a:lnTo>
                    <a:lnTo>
                      <a:pt x="919" y="800"/>
                    </a:lnTo>
                    <a:lnTo>
                      <a:pt x="954" y="752"/>
                    </a:lnTo>
                    <a:lnTo>
                      <a:pt x="1006" y="752"/>
                    </a:lnTo>
                    <a:lnTo>
                      <a:pt x="1023" y="687"/>
                    </a:lnTo>
                    <a:lnTo>
                      <a:pt x="1092" y="543"/>
                    </a:lnTo>
                    <a:lnTo>
                      <a:pt x="1109" y="479"/>
                    </a:lnTo>
                    <a:lnTo>
                      <a:pt x="1092" y="399"/>
                    </a:lnTo>
                    <a:lnTo>
                      <a:pt x="1058" y="351"/>
                    </a:lnTo>
                    <a:lnTo>
                      <a:pt x="1040" y="336"/>
                    </a:lnTo>
                    <a:lnTo>
                      <a:pt x="1023" y="303"/>
                    </a:lnTo>
                    <a:lnTo>
                      <a:pt x="1006" y="288"/>
                    </a:lnTo>
                    <a:lnTo>
                      <a:pt x="1006" y="303"/>
                    </a:lnTo>
                    <a:lnTo>
                      <a:pt x="971" y="255"/>
                    </a:lnTo>
                    <a:lnTo>
                      <a:pt x="919" y="207"/>
                    </a:lnTo>
                    <a:lnTo>
                      <a:pt x="902" y="159"/>
                    </a:lnTo>
                    <a:lnTo>
                      <a:pt x="885" y="144"/>
                    </a:lnTo>
                    <a:lnTo>
                      <a:pt x="885" y="111"/>
                    </a:lnTo>
                    <a:lnTo>
                      <a:pt x="868" y="96"/>
                    </a:lnTo>
                    <a:lnTo>
                      <a:pt x="833" y="96"/>
                    </a:lnTo>
                    <a:lnTo>
                      <a:pt x="816" y="0"/>
                    </a:lnTo>
                    <a:lnTo>
                      <a:pt x="798" y="0"/>
                    </a:lnTo>
                    <a:lnTo>
                      <a:pt x="781" y="32"/>
                    </a:lnTo>
                    <a:lnTo>
                      <a:pt x="781" y="111"/>
                    </a:lnTo>
                    <a:lnTo>
                      <a:pt x="764" y="176"/>
                    </a:lnTo>
                    <a:lnTo>
                      <a:pt x="729" y="176"/>
                    </a:lnTo>
                    <a:lnTo>
                      <a:pt x="660" y="128"/>
                    </a:lnTo>
                    <a:lnTo>
                      <a:pt x="643" y="128"/>
                    </a:lnTo>
                    <a:lnTo>
                      <a:pt x="643" y="111"/>
                    </a:lnTo>
                    <a:lnTo>
                      <a:pt x="608" y="111"/>
                    </a:lnTo>
                    <a:lnTo>
                      <a:pt x="626" y="63"/>
                    </a:lnTo>
                    <a:lnTo>
                      <a:pt x="643" y="63"/>
                    </a:lnTo>
                    <a:lnTo>
                      <a:pt x="660" y="32"/>
                    </a:lnTo>
                    <a:lnTo>
                      <a:pt x="643" y="32"/>
                    </a:lnTo>
                    <a:lnTo>
                      <a:pt x="626" y="48"/>
                    </a:lnTo>
                    <a:lnTo>
                      <a:pt x="626" y="32"/>
                    </a:lnTo>
                    <a:lnTo>
                      <a:pt x="608" y="32"/>
                    </a:lnTo>
                    <a:lnTo>
                      <a:pt x="520" y="15"/>
                    </a:lnTo>
                    <a:lnTo>
                      <a:pt x="537" y="32"/>
                    </a:lnTo>
                    <a:lnTo>
                      <a:pt x="520" y="32"/>
                    </a:lnTo>
                    <a:lnTo>
                      <a:pt x="485" y="32"/>
                    </a:lnTo>
                    <a:lnTo>
                      <a:pt x="468" y="48"/>
                    </a:lnTo>
                    <a:lnTo>
                      <a:pt x="468" y="63"/>
                    </a:lnTo>
                    <a:lnTo>
                      <a:pt x="451" y="63"/>
                    </a:lnTo>
                    <a:lnTo>
                      <a:pt x="451" y="96"/>
                    </a:lnTo>
                    <a:lnTo>
                      <a:pt x="451" y="111"/>
                    </a:lnTo>
                    <a:lnTo>
                      <a:pt x="416" y="96"/>
                    </a:lnTo>
                    <a:lnTo>
                      <a:pt x="416" y="111"/>
                    </a:lnTo>
                    <a:lnTo>
                      <a:pt x="416" y="96"/>
                    </a:lnTo>
                    <a:lnTo>
                      <a:pt x="399" y="80"/>
                    </a:lnTo>
                    <a:lnTo>
                      <a:pt x="382" y="80"/>
                    </a:lnTo>
                    <a:lnTo>
                      <a:pt x="347" y="96"/>
                    </a:lnTo>
                    <a:lnTo>
                      <a:pt x="330" y="96"/>
                    </a:lnTo>
                    <a:lnTo>
                      <a:pt x="313" y="144"/>
                    </a:lnTo>
                    <a:lnTo>
                      <a:pt x="295" y="144"/>
                    </a:lnTo>
                    <a:lnTo>
                      <a:pt x="278" y="144"/>
                    </a:lnTo>
                    <a:lnTo>
                      <a:pt x="295" y="159"/>
                    </a:lnTo>
                    <a:lnTo>
                      <a:pt x="278" y="176"/>
                    </a:lnTo>
                    <a:lnTo>
                      <a:pt x="278" y="144"/>
                    </a:lnTo>
                    <a:lnTo>
                      <a:pt x="244" y="176"/>
                    </a:lnTo>
                    <a:lnTo>
                      <a:pt x="261" y="192"/>
                    </a:lnTo>
                    <a:lnTo>
                      <a:pt x="209" y="224"/>
                    </a:lnTo>
                    <a:lnTo>
                      <a:pt x="88" y="255"/>
                    </a:lnTo>
                    <a:lnTo>
                      <a:pt x="36" y="303"/>
                    </a:lnTo>
                    <a:lnTo>
                      <a:pt x="17" y="288"/>
                    </a:lnTo>
                    <a:lnTo>
                      <a:pt x="17" y="303"/>
                    </a:lnTo>
                    <a:lnTo>
                      <a:pt x="17" y="336"/>
                    </a:lnTo>
                    <a:lnTo>
                      <a:pt x="0" y="336"/>
                    </a:lnTo>
                    <a:lnTo>
                      <a:pt x="36" y="416"/>
                    </a:lnTo>
                    <a:lnTo>
                      <a:pt x="17" y="384"/>
                    </a:lnTo>
                    <a:lnTo>
                      <a:pt x="17" y="416"/>
                    </a:lnTo>
                    <a:lnTo>
                      <a:pt x="0" y="399"/>
                    </a:lnTo>
                    <a:lnTo>
                      <a:pt x="54" y="495"/>
                    </a:lnTo>
                    <a:lnTo>
                      <a:pt x="71" y="560"/>
                    </a:lnTo>
                    <a:lnTo>
                      <a:pt x="71" y="608"/>
                    </a:lnTo>
                    <a:lnTo>
                      <a:pt x="54" y="623"/>
                    </a:lnTo>
                    <a:lnTo>
                      <a:pt x="54" y="639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62" name="Freeform 96">
                <a:extLst>
                  <a:ext uri="{FF2B5EF4-FFF2-40B4-BE49-F238E27FC236}">
                    <a16:creationId xmlns:a16="http://schemas.microsoft.com/office/drawing/2014/main" id="{71FF3F30-0B57-FB47-BDAA-F8556DF2123F}"/>
                  </a:ext>
                </a:extLst>
              </p:cNvPr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7542212" y="4872038"/>
                <a:ext cx="26988" cy="12700"/>
              </a:xfrm>
              <a:custGeom>
                <a:avLst/>
                <a:gdLst>
                  <a:gd name="T0" fmla="*/ 0 w 35"/>
                  <a:gd name="T1" fmla="*/ 2988 h 17"/>
                  <a:gd name="T2" fmla="*/ 0 w 35"/>
                  <a:gd name="T3" fmla="*/ 2988 h 17"/>
                  <a:gd name="T4" fmla="*/ 3084 w 35"/>
                  <a:gd name="T5" fmla="*/ 2988 h 17"/>
                  <a:gd name="T6" fmla="*/ 6169 w 35"/>
                  <a:gd name="T7" fmla="*/ 0 h 17"/>
                  <a:gd name="T8" fmla="*/ 0 w 35"/>
                  <a:gd name="T9" fmla="*/ 0 h 17"/>
                  <a:gd name="T10" fmla="*/ 0 w 35"/>
                  <a:gd name="T11" fmla="*/ 2988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"/>
                  <a:gd name="T19" fmla="*/ 0 h 17"/>
                  <a:gd name="T20" fmla="*/ 35 w 35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" h="17">
                    <a:moveTo>
                      <a:pt x="0" y="17"/>
                    </a:moveTo>
                    <a:lnTo>
                      <a:pt x="0" y="17"/>
                    </a:lnTo>
                    <a:lnTo>
                      <a:pt x="17" y="17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63" name="Freeform 97">
                <a:extLst>
                  <a:ext uri="{FF2B5EF4-FFF2-40B4-BE49-F238E27FC236}">
                    <a16:creationId xmlns:a16="http://schemas.microsoft.com/office/drawing/2014/main" id="{276FB939-9976-C040-A355-E5F36917CA72}"/>
                  </a:ext>
                </a:extLst>
              </p:cNvPr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7680324" y="5403851"/>
                <a:ext cx="26988" cy="14288"/>
              </a:xfrm>
              <a:custGeom>
                <a:avLst/>
                <a:gdLst>
                  <a:gd name="T0" fmla="*/ 0 w 33"/>
                  <a:gd name="T1" fmla="*/ 0 h 17"/>
                  <a:gd name="T2" fmla="*/ 0 w 33"/>
                  <a:gd name="T3" fmla="*/ 0 h 17"/>
                  <a:gd name="T4" fmla="*/ 7360 w 33"/>
                  <a:gd name="T5" fmla="*/ 4202 h 17"/>
                  <a:gd name="T6" fmla="*/ 7360 w 33"/>
                  <a:gd name="T7" fmla="*/ 0 h 17"/>
                  <a:gd name="T8" fmla="*/ 4089 w 33"/>
                  <a:gd name="T9" fmla="*/ 0 h 17"/>
                  <a:gd name="T10" fmla="*/ 0 w 33"/>
                  <a:gd name="T11" fmla="*/ 0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3"/>
                  <a:gd name="T19" fmla="*/ 0 h 17"/>
                  <a:gd name="T20" fmla="*/ 33 w 33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3" h="17">
                    <a:moveTo>
                      <a:pt x="0" y="0"/>
                    </a:moveTo>
                    <a:lnTo>
                      <a:pt x="0" y="0"/>
                    </a:lnTo>
                    <a:lnTo>
                      <a:pt x="33" y="17"/>
                    </a:lnTo>
                    <a:lnTo>
                      <a:pt x="33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64" name="Freeform 98">
                <a:extLst>
                  <a:ext uri="{FF2B5EF4-FFF2-40B4-BE49-F238E27FC236}">
                    <a16:creationId xmlns:a16="http://schemas.microsoft.com/office/drawing/2014/main" id="{9F6E953A-82B9-5944-AD23-1CE4235D7589}"/>
                  </a:ext>
                </a:extLst>
              </p:cNvPr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7856537" y="5532438"/>
                <a:ext cx="84138" cy="76200"/>
              </a:xfrm>
              <a:custGeom>
                <a:avLst/>
                <a:gdLst>
                  <a:gd name="T0" fmla="*/ 0 w 105"/>
                  <a:gd name="T1" fmla="*/ 0 h 96"/>
                  <a:gd name="T2" fmla="*/ 0 w 105"/>
                  <a:gd name="T3" fmla="*/ 0 h 96"/>
                  <a:gd name="T4" fmla="*/ 4007 w 105"/>
                  <a:gd name="T5" fmla="*/ 15875 h 96"/>
                  <a:gd name="T6" fmla="*/ 11218 w 105"/>
                  <a:gd name="T7" fmla="*/ 19050 h 96"/>
                  <a:gd name="T8" fmla="*/ 14424 w 105"/>
                  <a:gd name="T9" fmla="*/ 11906 h 96"/>
                  <a:gd name="T10" fmla="*/ 17629 w 105"/>
                  <a:gd name="T11" fmla="*/ 15875 h 96"/>
                  <a:gd name="T12" fmla="*/ 21635 w 105"/>
                  <a:gd name="T13" fmla="*/ 0 h 96"/>
                  <a:gd name="T14" fmla="*/ 17629 w 105"/>
                  <a:gd name="T15" fmla="*/ 0 h 96"/>
                  <a:gd name="T16" fmla="*/ 7212 w 105"/>
                  <a:gd name="T17" fmla="*/ 2381 h 96"/>
                  <a:gd name="T18" fmla="*/ 0 w 105"/>
                  <a:gd name="T19" fmla="*/ 0 h 9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05"/>
                  <a:gd name="T31" fmla="*/ 0 h 96"/>
                  <a:gd name="T32" fmla="*/ 105 w 105"/>
                  <a:gd name="T33" fmla="*/ 96 h 9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05" h="96">
                    <a:moveTo>
                      <a:pt x="0" y="0"/>
                    </a:moveTo>
                    <a:lnTo>
                      <a:pt x="0" y="0"/>
                    </a:lnTo>
                    <a:lnTo>
                      <a:pt x="19" y="79"/>
                    </a:lnTo>
                    <a:lnTo>
                      <a:pt x="53" y="96"/>
                    </a:lnTo>
                    <a:lnTo>
                      <a:pt x="71" y="63"/>
                    </a:lnTo>
                    <a:lnTo>
                      <a:pt x="88" y="79"/>
                    </a:lnTo>
                    <a:lnTo>
                      <a:pt x="105" y="0"/>
                    </a:lnTo>
                    <a:lnTo>
                      <a:pt x="88" y="0"/>
                    </a:lnTo>
                    <a:lnTo>
                      <a:pt x="36" y="1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65" name="Freeform 99">
                <a:extLst>
                  <a:ext uri="{FF2B5EF4-FFF2-40B4-BE49-F238E27FC236}">
                    <a16:creationId xmlns:a16="http://schemas.microsoft.com/office/drawing/2014/main" id="{EE8D7204-78D5-D34B-B047-7D035A9EACB0}"/>
                  </a:ext>
                </a:extLst>
              </p:cNvPr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8461374" y="5380038"/>
                <a:ext cx="125413" cy="176213"/>
              </a:xfrm>
              <a:custGeom>
                <a:avLst/>
                <a:gdLst>
                  <a:gd name="T0" fmla="*/ 7189 w 157"/>
                  <a:gd name="T1" fmla="*/ 28447 h 223"/>
                  <a:gd name="T2" fmla="*/ 7189 w 157"/>
                  <a:gd name="T3" fmla="*/ 28447 h 223"/>
                  <a:gd name="T4" fmla="*/ 14379 w 157"/>
                  <a:gd name="T5" fmla="*/ 30818 h 223"/>
                  <a:gd name="T6" fmla="*/ 10385 w 157"/>
                  <a:gd name="T7" fmla="*/ 40300 h 223"/>
                  <a:gd name="T8" fmla="*/ 14379 w 157"/>
                  <a:gd name="T9" fmla="*/ 43461 h 223"/>
                  <a:gd name="T10" fmla="*/ 17574 w 157"/>
                  <a:gd name="T11" fmla="*/ 40300 h 223"/>
                  <a:gd name="T12" fmla="*/ 24763 w 157"/>
                  <a:gd name="T13" fmla="*/ 28447 h 223"/>
                  <a:gd name="T14" fmla="*/ 27958 w 157"/>
                  <a:gd name="T15" fmla="*/ 28447 h 223"/>
                  <a:gd name="T16" fmla="*/ 31952 w 157"/>
                  <a:gd name="T17" fmla="*/ 24496 h 223"/>
                  <a:gd name="T18" fmla="*/ 31952 w 157"/>
                  <a:gd name="T19" fmla="*/ 18965 h 223"/>
                  <a:gd name="T20" fmla="*/ 27958 w 157"/>
                  <a:gd name="T21" fmla="*/ 15014 h 223"/>
                  <a:gd name="T22" fmla="*/ 24763 w 157"/>
                  <a:gd name="T23" fmla="*/ 18965 h 223"/>
                  <a:gd name="T24" fmla="*/ 17574 w 157"/>
                  <a:gd name="T25" fmla="*/ 18965 h 223"/>
                  <a:gd name="T26" fmla="*/ 17574 w 157"/>
                  <a:gd name="T27" fmla="*/ 11853 h 223"/>
                  <a:gd name="T28" fmla="*/ 14379 w 157"/>
                  <a:gd name="T29" fmla="*/ 11853 h 223"/>
                  <a:gd name="T30" fmla="*/ 14379 w 157"/>
                  <a:gd name="T31" fmla="*/ 15014 h 223"/>
                  <a:gd name="T32" fmla="*/ 10385 w 157"/>
                  <a:gd name="T33" fmla="*/ 11853 h 223"/>
                  <a:gd name="T34" fmla="*/ 10385 w 157"/>
                  <a:gd name="T35" fmla="*/ 2371 h 223"/>
                  <a:gd name="T36" fmla="*/ 0 w 157"/>
                  <a:gd name="T37" fmla="*/ 0 h 223"/>
                  <a:gd name="T38" fmla="*/ 10385 w 157"/>
                  <a:gd name="T39" fmla="*/ 11853 h 223"/>
                  <a:gd name="T40" fmla="*/ 10385 w 157"/>
                  <a:gd name="T41" fmla="*/ 24496 h 223"/>
                  <a:gd name="T42" fmla="*/ 7189 w 157"/>
                  <a:gd name="T43" fmla="*/ 28447 h 22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57"/>
                  <a:gd name="T67" fmla="*/ 0 h 223"/>
                  <a:gd name="T68" fmla="*/ 157 w 157"/>
                  <a:gd name="T69" fmla="*/ 223 h 22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57" h="223">
                    <a:moveTo>
                      <a:pt x="34" y="144"/>
                    </a:moveTo>
                    <a:lnTo>
                      <a:pt x="34" y="144"/>
                    </a:lnTo>
                    <a:lnTo>
                      <a:pt x="69" y="159"/>
                    </a:lnTo>
                    <a:lnTo>
                      <a:pt x="52" y="207"/>
                    </a:lnTo>
                    <a:lnTo>
                      <a:pt x="69" y="223"/>
                    </a:lnTo>
                    <a:lnTo>
                      <a:pt x="86" y="207"/>
                    </a:lnTo>
                    <a:lnTo>
                      <a:pt x="121" y="144"/>
                    </a:lnTo>
                    <a:lnTo>
                      <a:pt x="140" y="144"/>
                    </a:lnTo>
                    <a:lnTo>
                      <a:pt x="157" y="127"/>
                    </a:lnTo>
                    <a:lnTo>
                      <a:pt x="157" y="96"/>
                    </a:lnTo>
                    <a:lnTo>
                      <a:pt x="140" y="79"/>
                    </a:lnTo>
                    <a:lnTo>
                      <a:pt x="121" y="96"/>
                    </a:lnTo>
                    <a:lnTo>
                      <a:pt x="86" y="96"/>
                    </a:lnTo>
                    <a:lnTo>
                      <a:pt x="86" y="63"/>
                    </a:lnTo>
                    <a:lnTo>
                      <a:pt x="69" y="63"/>
                    </a:lnTo>
                    <a:lnTo>
                      <a:pt x="69" y="79"/>
                    </a:lnTo>
                    <a:lnTo>
                      <a:pt x="52" y="63"/>
                    </a:lnTo>
                    <a:lnTo>
                      <a:pt x="52" y="15"/>
                    </a:lnTo>
                    <a:lnTo>
                      <a:pt x="0" y="0"/>
                    </a:lnTo>
                    <a:lnTo>
                      <a:pt x="52" y="63"/>
                    </a:lnTo>
                    <a:lnTo>
                      <a:pt x="52" y="127"/>
                    </a:lnTo>
                    <a:lnTo>
                      <a:pt x="34" y="14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66" name="Freeform 100">
                <a:extLst>
                  <a:ext uri="{FF2B5EF4-FFF2-40B4-BE49-F238E27FC236}">
                    <a16:creationId xmlns:a16="http://schemas.microsoft.com/office/drawing/2014/main" id="{D6A61110-25EE-284B-9A8D-B3EE869114F3}"/>
                  </a:ext>
                </a:extLst>
              </p:cNvPr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8324849" y="5532438"/>
                <a:ext cx="177800" cy="165100"/>
              </a:xfrm>
              <a:custGeom>
                <a:avLst/>
                <a:gdLst>
                  <a:gd name="T0" fmla="*/ 0 w 223"/>
                  <a:gd name="T1" fmla="*/ 35094 h 207"/>
                  <a:gd name="T2" fmla="*/ 0 w 223"/>
                  <a:gd name="T3" fmla="*/ 35094 h 207"/>
                  <a:gd name="T4" fmla="*/ 3987 w 223"/>
                  <a:gd name="T5" fmla="*/ 38284 h 207"/>
                  <a:gd name="T6" fmla="*/ 7176 w 223"/>
                  <a:gd name="T7" fmla="*/ 38284 h 207"/>
                  <a:gd name="T8" fmla="*/ 14352 w 223"/>
                  <a:gd name="T9" fmla="*/ 41474 h 207"/>
                  <a:gd name="T10" fmla="*/ 20730 w 223"/>
                  <a:gd name="T11" fmla="*/ 38284 h 207"/>
                  <a:gd name="T12" fmla="*/ 24717 w 223"/>
                  <a:gd name="T13" fmla="*/ 31903 h 207"/>
                  <a:gd name="T14" fmla="*/ 27906 w 223"/>
                  <a:gd name="T15" fmla="*/ 25523 h 207"/>
                  <a:gd name="T16" fmla="*/ 34284 w 223"/>
                  <a:gd name="T17" fmla="*/ 19142 h 207"/>
                  <a:gd name="T18" fmla="*/ 37474 w 223"/>
                  <a:gd name="T19" fmla="*/ 19142 h 207"/>
                  <a:gd name="T20" fmla="*/ 34284 w 223"/>
                  <a:gd name="T21" fmla="*/ 15952 h 207"/>
                  <a:gd name="T22" fmla="*/ 44649 w 223"/>
                  <a:gd name="T23" fmla="*/ 6381 h 207"/>
                  <a:gd name="T24" fmla="*/ 44649 w 223"/>
                  <a:gd name="T25" fmla="*/ 3190 h 207"/>
                  <a:gd name="T26" fmla="*/ 41460 w 223"/>
                  <a:gd name="T27" fmla="*/ 3190 h 207"/>
                  <a:gd name="T28" fmla="*/ 41460 w 223"/>
                  <a:gd name="T29" fmla="*/ 0 h 207"/>
                  <a:gd name="T30" fmla="*/ 37474 w 223"/>
                  <a:gd name="T31" fmla="*/ 3190 h 207"/>
                  <a:gd name="T32" fmla="*/ 37474 w 223"/>
                  <a:gd name="T33" fmla="*/ 0 h 207"/>
                  <a:gd name="T34" fmla="*/ 34284 w 223"/>
                  <a:gd name="T35" fmla="*/ 0 h 207"/>
                  <a:gd name="T36" fmla="*/ 31095 w 223"/>
                  <a:gd name="T37" fmla="*/ 0 h 207"/>
                  <a:gd name="T38" fmla="*/ 31095 w 223"/>
                  <a:gd name="T39" fmla="*/ 6381 h 207"/>
                  <a:gd name="T40" fmla="*/ 27906 w 223"/>
                  <a:gd name="T41" fmla="*/ 6381 h 207"/>
                  <a:gd name="T42" fmla="*/ 24717 w 223"/>
                  <a:gd name="T43" fmla="*/ 12761 h 207"/>
                  <a:gd name="T44" fmla="*/ 10365 w 223"/>
                  <a:gd name="T45" fmla="*/ 22332 h 207"/>
                  <a:gd name="T46" fmla="*/ 0 w 223"/>
                  <a:gd name="T47" fmla="*/ 35094 h 20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23"/>
                  <a:gd name="T73" fmla="*/ 0 h 207"/>
                  <a:gd name="T74" fmla="*/ 223 w 223"/>
                  <a:gd name="T75" fmla="*/ 207 h 20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23" h="207">
                    <a:moveTo>
                      <a:pt x="0" y="174"/>
                    </a:moveTo>
                    <a:lnTo>
                      <a:pt x="0" y="174"/>
                    </a:lnTo>
                    <a:lnTo>
                      <a:pt x="17" y="192"/>
                    </a:lnTo>
                    <a:lnTo>
                      <a:pt x="34" y="192"/>
                    </a:lnTo>
                    <a:lnTo>
                      <a:pt x="69" y="207"/>
                    </a:lnTo>
                    <a:lnTo>
                      <a:pt x="104" y="192"/>
                    </a:lnTo>
                    <a:lnTo>
                      <a:pt x="121" y="159"/>
                    </a:lnTo>
                    <a:lnTo>
                      <a:pt x="138" y="127"/>
                    </a:lnTo>
                    <a:lnTo>
                      <a:pt x="171" y="96"/>
                    </a:lnTo>
                    <a:lnTo>
                      <a:pt x="188" y="96"/>
                    </a:lnTo>
                    <a:lnTo>
                      <a:pt x="171" y="79"/>
                    </a:lnTo>
                    <a:lnTo>
                      <a:pt x="223" y="31"/>
                    </a:lnTo>
                    <a:lnTo>
                      <a:pt x="223" y="15"/>
                    </a:lnTo>
                    <a:lnTo>
                      <a:pt x="205" y="15"/>
                    </a:lnTo>
                    <a:lnTo>
                      <a:pt x="205" y="0"/>
                    </a:lnTo>
                    <a:lnTo>
                      <a:pt x="188" y="15"/>
                    </a:lnTo>
                    <a:lnTo>
                      <a:pt x="188" y="0"/>
                    </a:lnTo>
                    <a:lnTo>
                      <a:pt x="171" y="0"/>
                    </a:lnTo>
                    <a:lnTo>
                      <a:pt x="153" y="0"/>
                    </a:lnTo>
                    <a:lnTo>
                      <a:pt x="153" y="31"/>
                    </a:lnTo>
                    <a:lnTo>
                      <a:pt x="138" y="31"/>
                    </a:lnTo>
                    <a:lnTo>
                      <a:pt x="121" y="63"/>
                    </a:lnTo>
                    <a:lnTo>
                      <a:pt x="52" y="111"/>
                    </a:lnTo>
                    <a:lnTo>
                      <a:pt x="0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67" name="Freeform 101">
                <a:extLst>
                  <a:ext uri="{FF2B5EF4-FFF2-40B4-BE49-F238E27FC236}">
                    <a16:creationId xmlns:a16="http://schemas.microsoft.com/office/drawing/2014/main" id="{E9830928-F315-B841-A90D-B3ECDA8EC098}"/>
                  </a:ext>
                </a:extLst>
              </p:cNvPr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8351837" y="5697538"/>
                <a:ext cx="14288" cy="11113"/>
              </a:xfrm>
              <a:custGeom>
                <a:avLst/>
                <a:gdLst>
                  <a:gd name="T0" fmla="*/ 0 w 19"/>
                  <a:gd name="T1" fmla="*/ 2223 h 15"/>
                  <a:gd name="T2" fmla="*/ 0 w 19"/>
                  <a:gd name="T3" fmla="*/ 2223 h 15"/>
                  <a:gd name="T4" fmla="*/ 3008 w 19"/>
                  <a:gd name="T5" fmla="*/ 2223 h 15"/>
                  <a:gd name="T6" fmla="*/ 3008 w 19"/>
                  <a:gd name="T7" fmla="*/ 0 h 15"/>
                  <a:gd name="T8" fmla="*/ 0 w 19"/>
                  <a:gd name="T9" fmla="*/ 2223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5"/>
                  <a:gd name="T17" fmla="*/ 19 w 19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5">
                    <a:moveTo>
                      <a:pt x="0" y="15"/>
                    </a:moveTo>
                    <a:lnTo>
                      <a:pt x="0" y="15"/>
                    </a:lnTo>
                    <a:lnTo>
                      <a:pt x="19" y="15"/>
                    </a:lnTo>
                    <a:lnTo>
                      <a:pt x="19" y="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68" name="Freeform 102">
                <a:extLst>
                  <a:ext uri="{FF2B5EF4-FFF2-40B4-BE49-F238E27FC236}">
                    <a16:creationId xmlns:a16="http://schemas.microsoft.com/office/drawing/2014/main" id="{A4F331B6-828B-F246-8706-44323FA4418A}"/>
                  </a:ext>
                </a:extLst>
              </p:cNvPr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7238999" y="4808538"/>
                <a:ext cx="165100" cy="12700"/>
              </a:xfrm>
              <a:custGeom>
                <a:avLst/>
                <a:gdLst>
                  <a:gd name="T0" fmla="*/ 0 w 208"/>
                  <a:gd name="T1" fmla="*/ 3175 h 16"/>
                  <a:gd name="T2" fmla="*/ 0 w 208"/>
                  <a:gd name="T3" fmla="*/ 3175 h 16"/>
                  <a:gd name="T4" fmla="*/ 3969 w 208"/>
                  <a:gd name="T5" fmla="*/ 3175 h 16"/>
                  <a:gd name="T6" fmla="*/ 17463 w 208"/>
                  <a:gd name="T7" fmla="*/ 0 h 16"/>
                  <a:gd name="T8" fmla="*/ 30956 w 208"/>
                  <a:gd name="T9" fmla="*/ 3175 h 16"/>
                  <a:gd name="T10" fmla="*/ 41275 w 208"/>
                  <a:gd name="T11" fmla="*/ 0 h 16"/>
                  <a:gd name="T12" fmla="*/ 34925 w 208"/>
                  <a:gd name="T13" fmla="*/ 0 h 16"/>
                  <a:gd name="T14" fmla="*/ 23812 w 208"/>
                  <a:gd name="T15" fmla="*/ 0 h 16"/>
                  <a:gd name="T16" fmla="*/ 17463 w 208"/>
                  <a:gd name="T17" fmla="*/ 0 h 16"/>
                  <a:gd name="T18" fmla="*/ 7144 w 208"/>
                  <a:gd name="T19" fmla="*/ 0 h 16"/>
                  <a:gd name="T20" fmla="*/ 10319 w 208"/>
                  <a:gd name="T21" fmla="*/ 0 h 16"/>
                  <a:gd name="T22" fmla="*/ 0 w 208"/>
                  <a:gd name="T23" fmla="*/ 0 h 16"/>
                  <a:gd name="T24" fmla="*/ 0 w 208"/>
                  <a:gd name="T25" fmla="*/ 3175 h 1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08"/>
                  <a:gd name="T40" fmla="*/ 0 h 16"/>
                  <a:gd name="T41" fmla="*/ 208 w 208"/>
                  <a:gd name="T42" fmla="*/ 16 h 1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08" h="16">
                    <a:moveTo>
                      <a:pt x="0" y="16"/>
                    </a:moveTo>
                    <a:lnTo>
                      <a:pt x="0" y="16"/>
                    </a:lnTo>
                    <a:lnTo>
                      <a:pt x="17" y="16"/>
                    </a:lnTo>
                    <a:lnTo>
                      <a:pt x="87" y="0"/>
                    </a:lnTo>
                    <a:lnTo>
                      <a:pt x="156" y="16"/>
                    </a:lnTo>
                    <a:lnTo>
                      <a:pt x="208" y="0"/>
                    </a:lnTo>
                    <a:lnTo>
                      <a:pt x="173" y="0"/>
                    </a:lnTo>
                    <a:lnTo>
                      <a:pt x="121" y="0"/>
                    </a:lnTo>
                    <a:lnTo>
                      <a:pt x="87" y="0"/>
                    </a:lnTo>
                    <a:lnTo>
                      <a:pt x="35" y="0"/>
                    </a:lnTo>
                    <a:lnTo>
                      <a:pt x="52" y="0"/>
                    </a:lnTo>
                    <a:lnTo>
                      <a:pt x="0" y="0"/>
                    </a:lnTo>
                    <a:lnTo>
                      <a:pt x="0" y="1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69" name="Freeform 103">
                <a:extLst>
                  <a:ext uri="{FF2B5EF4-FFF2-40B4-BE49-F238E27FC236}">
                    <a16:creationId xmlns:a16="http://schemas.microsoft.com/office/drawing/2014/main" id="{180AC284-5E41-EA4D-8363-5A9E637D3E34}"/>
                  </a:ext>
                </a:extLst>
              </p:cNvPr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auto">
              <a:xfrm>
                <a:off x="7296149" y="4833938"/>
                <a:ext cx="41275" cy="12700"/>
              </a:xfrm>
              <a:custGeom>
                <a:avLst/>
                <a:gdLst>
                  <a:gd name="T0" fmla="*/ 0 w 52"/>
                  <a:gd name="T1" fmla="*/ 0 h 17"/>
                  <a:gd name="T2" fmla="*/ 0 w 52"/>
                  <a:gd name="T3" fmla="*/ 0 h 17"/>
                  <a:gd name="T4" fmla="*/ 7144 w 52"/>
                  <a:gd name="T5" fmla="*/ 2988 h 17"/>
                  <a:gd name="T6" fmla="*/ 10319 w 52"/>
                  <a:gd name="T7" fmla="*/ 2988 h 17"/>
                  <a:gd name="T8" fmla="*/ 7144 w 52"/>
                  <a:gd name="T9" fmla="*/ 0 h 17"/>
                  <a:gd name="T10" fmla="*/ 0 w 52"/>
                  <a:gd name="T11" fmla="*/ 0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"/>
                  <a:gd name="T19" fmla="*/ 0 h 17"/>
                  <a:gd name="T20" fmla="*/ 52 w 52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" h="17">
                    <a:moveTo>
                      <a:pt x="0" y="0"/>
                    </a:moveTo>
                    <a:lnTo>
                      <a:pt x="0" y="0"/>
                    </a:lnTo>
                    <a:lnTo>
                      <a:pt x="35" y="17"/>
                    </a:lnTo>
                    <a:lnTo>
                      <a:pt x="52" y="17"/>
                    </a:lnTo>
                    <a:lnTo>
                      <a:pt x="35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70" name="Freeform 104">
                <a:extLst>
                  <a:ext uri="{FF2B5EF4-FFF2-40B4-BE49-F238E27FC236}">
                    <a16:creationId xmlns:a16="http://schemas.microsoft.com/office/drawing/2014/main" id="{A2367B17-095B-6D4A-B593-CB9150A9F9B6}"/>
                  </a:ext>
                </a:extLst>
              </p:cNvPr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auto">
              <a:xfrm>
                <a:off x="7391399" y="4808538"/>
                <a:ext cx="82550" cy="38100"/>
              </a:xfrm>
              <a:custGeom>
                <a:avLst/>
                <a:gdLst>
                  <a:gd name="T0" fmla="*/ 0 w 104"/>
                  <a:gd name="T1" fmla="*/ 9525 h 48"/>
                  <a:gd name="T2" fmla="*/ 0 w 104"/>
                  <a:gd name="T3" fmla="*/ 9525 h 48"/>
                  <a:gd name="T4" fmla="*/ 7144 w 104"/>
                  <a:gd name="T5" fmla="*/ 9525 h 48"/>
                  <a:gd name="T6" fmla="*/ 20638 w 104"/>
                  <a:gd name="T7" fmla="*/ 0 h 48"/>
                  <a:gd name="T8" fmla="*/ 10319 w 104"/>
                  <a:gd name="T9" fmla="*/ 0 h 48"/>
                  <a:gd name="T10" fmla="*/ 3969 w 104"/>
                  <a:gd name="T11" fmla="*/ 5556 h 48"/>
                  <a:gd name="T12" fmla="*/ 0 w 104"/>
                  <a:gd name="T13" fmla="*/ 9525 h 4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4"/>
                  <a:gd name="T22" fmla="*/ 0 h 48"/>
                  <a:gd name="T23" fmla="*/ 104 w 104"/>
                  <a:gd name="T24" fmla="*/ 48 h 4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4" h="48">
                    <a:moveTo>
                      <a:pt x="0" y="48"/>
                    </a:moveTo>
                    <a:lnTo>
                      <a:pt x="0" y="48"/>
                    </a:lnTo>
                    <a:lnTo>
                      <a:pt x="35" y="48"/>
                    </a:lnTo>
                    <a:lnTo>
                      <a:pt x="104" y="0"/>
                    </a:lnTo>
                    <a:lnTo>
                      <a:pt x="52" y="0"/>
                    </a:lnTo>
                    <a:lnTo>
                      <a:pt x="17" y="31"/>
                    </a:lnTo>
                    <a:lnTo>
                      <a:pt x="0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71" name="Freeform 105">
                <a:extLst>
                  <a:ext uri="{FF2B5EF4-FFF2-40B4-BE49-F238E27FC236}">
                    <a16:creationId xmlns:a16="http://schemas.microsoft.com/office/drawing/2014/main" id="{CE7E3B94-203A-4748-8111-9CB003952C75}"/>
                  </a:ext>
                </a:extLst>
              </p:cNvPr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auto">
              <a:xfrm>
                <a:off x="7624762" y="4745038"/>
                <a:ext cx="15875" cy="38100"/>
              </a:xfrm>
              <a:custGeom>
                <a:avLst/>
                <a:gdLst>
                  <a:gd name="T0" fmla="*/ 0 w 19"/>
                  <a:gd name="T1" fmla="*/ 9525 h 48"/>
                  <a:gd name="T2" fmla="*/ 0 w 19"/>
                  <a:gd name="T3" fmla="*/ 9525 h 48"/>
                  <a:gd name="T4" fmla="*/ 4178 w 19"/>
                  <a:gd name="T5" fmla="*/ 2381 h 48"/>
                  <a:gd name="T6" fmla="*/ 4178 w 19"/>
                  <a:gd name="T7" fmla="*/ 0 h 48"/>
                  <a:gd name="T8" fmla="*/ 0 w 19"/>
                  <a:gd name="T9" fmla="*/ 9525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48"/>
                  <a:gd name="T17" fmla="*/ 19 w 19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48">
                    <a:moveTo>
                      <a:pt x="0" y="48"/>
                    </a:moveTo>
                    <a:lnTo>
                      <a:pt x="0" y="48"/>
                    </a:lnTo>
                    <a:lnTo>
                      <a:pt x="19" y="15"/>
                    </a:lnTo>
                    <a:lnTo>
                      <a:pt x="19" y="0"/>
                    </a:lnTo>
                    <a:lnTo>
                      <a:pt x="0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72" name="Freeform 106">
                <a:extLst>
                  <a:ext uri="{FF2B5EF4-FFF2-40B4-BE49-F238E27FC236}">
                    <a16:creationId xmlns:a16="http://schemas.microsoft.com/office/drawing/2014/main" id="{3B4392FA-B928-2A42-9DF9-5F097FEB3954}"/>
                  </a:ext>
                </a:extLst>
              </p:cNvPr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auto">
              <a:xfrm>
                <a:off x="7296149" y="4605338"/>
                <a:ext cx="136525" cy="152400"/>
              </a:xfrm>
              <a:custGeom>
                <a:avLst/>
                <a:gdLst>
                  <a:gd name="T0" fmla="*/ 0 w 173"/>
                  <a:gd name="T1" fmla="*/ 22225 h 192"/>
                  <a:gd name="T2" fmla="*/ 0 w 173"/>
                  <a:gd name="T3" fmla="*/ 22225 h 192"/>
                  <a:gd name="T4" fmla="*/ 0 w 173"/>
                  <a:gd name="T5" fmla="*/ 26194 h 192"/>
                  <a:gd name="T6" fmla="*/ 3157 w 173"/>
                  <a:gd name="T7" fmla="*/ 26194 h 192"/>
                  <a:gd name="T8" fmla="*/ 3157 w 173"/>
                  <a:gd name="T9" fmla="*/ 28575 h 192"/>
                  <a:gd name="T10" fmla="*/ 3157 w 173"/>
                  <a:gd name="T11" fmla="*/ 38100 h 192"/>
                  <a:gd name="T12" fmla="*/ 6313 w 173"/>
                  <a:gd name="T13" fmla="*/ 35719 h 192"/>
                  <a:gd name="T14" fmla="*/ 6313 w 173"/>
                  <a:gd name="T15" fmla="*/ 26194 h 192"/>
                  <a:gd name="T16" fmla="*/ 10259 w 173"/>
                  <a:gd name="T17" fmla="*/ 22225 h 192"/>
                  <a:gd name="T18" fmla="*/ 13416 w 173"/>
                  <a:gd name="T19" fmla="*/ 22225 h 192"/>
                  <a:gd name="T20" fmla="*/ 10259 w 173"/>
                  <a:gd name="T21" fmla="*/ 26194 h 192"/>
                  <a:gd name="T22" fmla="*/ 13416 w 173"/>
                  <a:gd name="T23" fmla="*/ 28575 h 192"/>
                  <a:gd name="T24" fmla="*/ 13416 w 173"/>
                  <a:gd name="T25" fmla="*/ 32544 h 192"/>
                  <a:gd name="T26" fmla="*/ 20518 w 173"/>
                  <a:gd name="T27" fmla="*/ 32544 h 192"/>
                  <a:gd name="T28" fmla="*/ 20518 w 173"/>
                  <a:gd name="T29" fmla="*/ 38100 h 192"/>
                  <a:gd name="T30" fmla="*/ 23675 w 173"/>
                  <a:gd name="T31" fmla="*/ 35719 h 192"/>
                  <a:gd name="T32" fmla="*/ 23675 w 173"/>
                  <a:gd name="T33" fmla="*/ 32544 h 192"/>
                  <a:gd name="T34" fmla="*/ 16572 w 173"/>
                  <a:gd name="T35" fmla="*/ 26194 h 192"/>
                  <a:gd name="T36" fmla="*/ 20518 w 173"/>
                  <a:gd name="T37" fmla="*/ 26194 h 192"/>
                  <a:gd name="T38" fmla="*/ 13416 w 173"/>
                  <a:gd name="T39" fmla="*/ 19050 h 192"/>
                  <a:gd name="T40" fmla="*/ 20518 w 173"/>
                  <a:gd name="T41" fmla="*/ 13494 h 192"/>
                  <a:gd name="T42" fmla="*/ 23675 w 173"/>
                  <a:gd name="T43" fmla="*/ 13494 h 192"/>
                  <a:gd name="T44" fmla="*/ 10259 w 173"/>
                  <a:gd name="T45" fmla="*/ 16669 h 192"/>
                  <a:gd name="T46" fmla="*/ 6313 w 173"/>
                  <a:gd name="T47" fmla="*/ 13494 h 192"/>
                  <a:gd name="T48" fmla="*/ 6313 w 173"/>
                  <a:gd name="T49" fmla="*/ 9525 h 192"/>
                  <a:gd name="T50" fmla="*/ 10259 w 173"/>
                  <a:gd name="T51" fmla="*/ 7144 h 192"/>
                  <a:gd name="T52" fmla="*/ 30777 w 173"/>
                  <a:gd name="T53" fmla="*/ 7144 h 192"/>
                  <a:gd name="T54" fmla="*/ 33934 w 173"/>
                  <a:gd name="T55" fmla="*/ 0 h 192"/>
                  <a:gd name="T56" fmla="*/ 26832 w 173"/>
                  <a:gd name="T57" fmla="*/ 3969 h 192"/>
                  <a:gd name="T58" fmla="*/ 20518 w 173"/>
                  <a:gd name="T59" fmla="*/ 7144 h 192"/>
                  <a:gd name="T60" fmla="*/ 10259 w 173"/>
                  <a:gd name="T61" fmla="*/ 3969 h 192"/>
                  <a:gd name="T62" fmla="*/ 10259 w 173"/>
                  <a:gd name="T63" fmla="*/ 7144 h 192"/>
                  <a:gd name="T64" fmla="*/ 6313 w 173"/>
                  <a:gd name="T65" fmla="*/ 7144 h 192"/>
                  <a:gd name="T66" fmla="*/ 6313 w 173"/>
                  <a:gd name="T67" fmla="*/ 13494 h 192"/>
                  <a:gd name="T68" fmla="*/ 0 w 173"/>
                  <a:gd name="T69" fmla="*/ 22225 h 19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73"/>
                  <a:gd name="T106" fmla="*/ 0 h 192"/>
                  <a:gd name="T107" fmla="*/ 173 w 173"/>
                  <a:gd name="T108" fmla="*/ 192 h 19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73" h="192">
                    <a:moveTo>
                      <a:pt x="0" y="113"/>
                    </a:moveTo>
                    <a:lnTo>
                      <a:pt x="0" y="113"/>
                    </a:lnTo>
                    <a:lnTo>
                      <a:pt x="0" y="129"/>
                    </a:lnTo>
                    <a:lnTo>
                      <a:pt x="17" y="129"/>
                    </a:lnTo>
                    <a:lnTo>
                      <a:pt x="17" y="144"/>
                    </a:lnTo>
                    <a:lnTo>
                      <a:pt x="17" y="192"/>
                    </a:lnTo>
                    <a:lnTo>
                      <a:pt x="35" y="177"/>
                    </a:lnTo>
                    <a:lnTo>
                      <a:pt x="35" y="129"/>
                    </a:lnTo>
                    <a:lnTo>
                      <a:pt x="52" y="113"/>
                    </a:lnTo>
                    <a:lnTo>
                      <a:pt x="69" y="113"/>
                    </a:lnTo>
                    <a:lnTo>
                      <a:pt x="52" y="129"/>
                    </a:lnTo>
                    <a:lnTo>
                      <a:pt x="69" y="144"/>
                    </a:lnTo>
                    <a:lnTo>
                      <a:pt x="69" y="161"/>
                    </a:lnTo>
                    <a:lnTo>
                      <a:pt x="104" y="161"/>
                    </a:lnTo>
                    <a:lnTo>
                      <a:pt x="104" y="192"/>
                    </a:lnTo>
                    <a:lnTo>
                      <a:pt x="121" y="177"/>
                    </a:lnTo>
                    <a:lnTo>
                      <a:pt x="121" y="161"/>
                    </a:lnTo>
                    <a:lnTo>
                      <a:pt x="87" y="129"/>
                    </a:lnTo>
                    <a:lnTo>
                      <a:pt x="104" y="129"/>
                    </a:lnTo>
                    <a:lnTo>
                      <a:pt x="69" y="96"/>
                    </a:lnTo>
                    <a:lnTo>
                      <a:pt x="104" y="66"/>
                    </a:lnTo>
                    <a:lnTo>
                      <a:pt x="121" y="66"/>
                    </a:lnTo>
                    <a:lnTo>
                      <a:pt x="52" y="81"/>
                    </a:lnTo>
                    <a:lnTo>
                      <a:pt x="35" y="66"/>
                    </a:lnTo>
                    <a:lnTo>
                      <a:pt x="35" y="48"/>
                    </a:lnTo>
                    <a:lnTo>
                      <a:pt x="52" y="33"/>
                    </a:lnTo>
                    <a:lnTo>
                      <a:pt x="156" y="33"/>
                    </a:lnTo>
                    <a:lnTo>
                      <a:pt x="173" y="0"/>
                    </a:lnTo>
                    <a:lnTo>
                      <a:pt x="138" y="18"/>
                    </a:lnTo>
                    <a:lnTo>
                      <a:pt x="104" y="33"/>
                    </a:lnTo>
                    <a:lnTo>
                      <a:pt x="52" y="18"/>
                    </a:lnTo>
                    <a:lnTo>
                      <a:pt x="52" y="33"/>
                    </a:lnTo>
                    <a:lnTo>
                      <a:pt x="35" y="33"/>
                    </a:lnTo>
                    <a:lnTo>
                      <a:pt x="35" y="66"/>
                    </a:lnTo>
                    <a:lnTo>
                      <a:pt x="0" y="11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73" name="Freeform 107">
                <a:extLst>
                  <a:ext uri="{FF2B5EF4-FFF2-40B4-BE49-F238E27FC236}">
                    <a16:creationId xmlns:a16="http://schemas.microsoft.com/office/drawing/2014/main" id="{5E185AC1-4649-A246-833B-B2561B5C3898}"/>
                  </a:ext>
                </a:extLst>
              </p:cNvPr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auto">
              <a:xfrm>
                <a:off x="7473949" y="4592638"/>
                <a:ext cx="26988" cy="63500"/>
              </a:xfrm>
              <a:custGeom>
                <a:avLst/>
                <a:gdLst>
                  <a:gd name="T0" fmla="*/ 0 w 34"/>
                  <a:gd name="T1" fmla="*/ 6272 h 81"/>
                  <a:gd name="T2" fmla="*/ 0 w 34"/>
                  <a:gd name="T3" fmla="*/ 6272 h 81"/>
                  <a:gd name="T4" fmla="*/ 3175 w 34"/>
                  <a:gd name="T5" fmla="*/ 11759 h 81"/>
                  <a:gd name="T6" fmla="*/ 7144 w 34"/>
                  <a:gd name="T7" fmla="*/ 15679 h 81"/>
                  <a:gd name="T8" fmla="*/ 3175 w 34"/>
                  <a:gd name="T9" fmla="*/ 11759 h 81"/>
                  <a:gd name="T10" fmla="*/ 3175 w 34"/>
                  <a:gd name="T11" fmla="*/ 9407 h 81"/>
                  <a:gd name="T12" fmla="*/ 7144 w 34"/>
                  <a:gd name="T13" fmla="*/ 9407 h 81"/>
                  <a:gd name="T14" fmla="*/ 7144 w 34"/>
                  <a:gd name="T15" fmla="*/ 6272 h 81"/>
                  <a:gd name="T16" fmla="*/ 7144 w 34"/>
                  <a:gd name="T17" fmla="*/ 2352 h 81"/>
                  <a:gd name="T18" fmla="*/ 7144 w 34"/>
                  <a:gd name="T19" fmla="*/ 6272 h 81"/>
                  <a:gd name="T20" fmla="*/ 3175 w 34"/>
                  <a:gd name="T21" fmla="*/ 0 h 81"/>
                  <a:gd name="T22" fmla="*/ 0 w 34"/>
                  <a:gd name="T23" fmla="*/ 6272 h 8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4"/>
                  <a:gd name="T37" fmla="*/ 0 h 81"/>
                  <a:gd name="T38" fmla="*/ 34 w 34"/>
                  <a:gd name="T39" fmla="*/ 81 h 8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4" h="81">
                    <a:moveTo>
                      <a:pt x="0" y="33"/>
                    </a:moveTo>
                    <a:lnTo>
                      <a:pt x="0" y="33"/>
                    </a:lnTo>
                    <a:lnTo>
                      <a:pt x="17" y="63"/>
                    </a:lnTo>
                    <a:lnTo>
                      <a:pt x="34" y="81"/>
                    </a:lnTo>
                    <a:lnTo>
                      <a:pt x="17" y="63"/>
                    </a:lnTo>
                    <a:lnTo>
                      <a:pt x="17" y="48"/>
                    </a:lnTo>
                    <a:lnTo>
                      <a:pt x="34" y="48"/>
                    </a:lnTo>
                    <a:lnTo>
                      <a:pt x="34" y="33"/>
                    </a:lnTo>
                    <a:lnTo>
                      <a:pt x="34" y="15"/>
                    </a:lnTo>
                    <a:lnTo>
                      <a:pt x="34" y="33"/>
                    </a:lnTo>
                    <a:lnTo>
                      <a:pt x="17" y="0"/>
                    </a:lnTo>
                    <a:lnTo>
                      <a:pt x="0" y="3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74" name="Freeform 108">
                <a:extLst>
                  <a:ext uri="{FF2B5EF4-FFF2-40B4-BE49-F238E27FC236}">
                    <a16:creationId xmlns:a16="http://schemas.microsoft.com/office/drawing/2014/main" id="{F3A63E4D-498F-1841-BD87-2531908DCB61}"/>
                  </a:ext>
                </a:extLst>
              </p:cNvPr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auto">
              <a:xfrm>
                <a:off x="7446962" y="4706938"/>
                <a:ext cx="26988" cy="12700"/>
              </a:xfrm>
              <a:custGeom>
                <a:avLst/>
                <a:gdLst>
                  <a:gd name="T0" fmla="*/ 0 w 35"/>
                  <a:gd name="T1" fmla="*/ 0 h 15"/>
                  <a:gd name="T2" fmla="*/ 0 w 35"/>
                  <a:gd name="T3" fmla="*/ 0 h 15"/>
                  <a:gd name="T4" fmla="*/ 6169 w 35"/>
                  <a:gd name="T5" fmla="*/ 3387 h 15"/>
                  <a:gd name="T6" fmla="*/ 6169 w 35"/>
                  <a:gd name="T7" fmla="*/ 0 h 15"/>
                  <a:gd name="T8" fmla="*/ 0 w 35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15"/>
                  <a:gd name="T17" fmla="*/ 35 w 35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15">
                    <a:moveTo>
                      <a:pt x="0" y="0"/>
                    </a:moveTo>
                    <a:lnTo>
                      <a:pt x="0" y="0"/>
                    </a:lnTo>
                    <a:lnTo>
                      <a:pt x="35" y="15"/>
                    </a:lnTo>
                    <a:lnTo>
                      <a:pt x="35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75" name="Freeform 109">
                <a:extLst>
                  <a:ext uri="{FF2B5EF4-FFF2-40B4-BE49-F238E27FC236}">
                    <a16:creationId xmlns:a16="http://schemas.microsoft.com/office/drawing/2014/main" id="{BAAE12E7-E6F7-B243-94BD-1228374194A0}"/>
                  </a:ext>
                </a:extLst>
              </p:cNvPr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auto">
              <a:xfrm>
                <a:off x="7488237" y="4694238"/>
                <a:ext cx="68263" cy="25400"/>
              </a:xfrm>
              <a:custGeom>
                <a:avLst/>
                <a:gdLst>
                  <a:gd name="T0" fmla="*/ 0 w 86"/>
                  <a:gd name="T1" fmla="*/ 3277 h 31"/>
                  <a:gd name="T2" fmla="*/ 0 w 86"/>
                  <a:gd name="T3" fmla="*/ 3277 h 31"/>
                  <a:gd name="T4" fmla="*/ 17463 w 86"/>
                  <a:gd name="T5" fmla="*/ 6555 h 31"/>
                  <a:gd name="T6" fmla="*/ 14288 w 86"/>
                  <a:gd name="T7" fmla="*/ 3277 h 31"/>
                  <a:gd name="T8" fmla="*/ 10319 w 86"/>
                  <a:gd name="T9" fmla="*/ 0 h 31"/>
                  <a:gd name="T10" fmla="*/ 3969 w 86"/>
                  <a:gd name="T11" fmla="*/ 0 h 31"/>
                  <a:gd name="T12" fmla="*/ 0 w 86"/>
                  <a:gd name="T13" fmla="*/ 3277 h 3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6"/>
                  <a:gd name="T22" fmla="*/ 0 h 31"/>
                  <a:gd name="T23" fmla="*/ 86 w 86"/>
                  <a:gd name="T24" fmla="*/ 31 h 3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6" h="31">
                    <a:moveTo>
                      <a:pt x="0" y="16"/>
                    </a:moveTo>
                    <a:lnTo>
                      <a:pt x="0" y="16"/>
                    </a:lnTo>
                    <a:lnTo>
                      <a:pt x="86" y="31"/>
                    </a:lnTo>
                    <a:lnTo>
                      <a:pt x="69" y="16"/>
                    </a:lnTo>
                    <a:lnTo>
                      <a:pt x="52" y="0"/>
                    </a:lnTo>
                    <a:lnTo>
                      <a:pt x="17" y="0"/>
                    </a:lnTo>
                    <a:lnTo>
                      <a:pt x="0" y="1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76" name="Freeform 110">
                <a:extLst>
                  <a:ext uri="{FF2B5EF4-FFF2-40B4-BE49-F238E27FC236}">
                    <a16:creationId xmlns:a16="http://schemas.microsoft.com/office/drawing/2014/main" id="{161AC926-CF79-624C-8FF3-84C5042495BE}"/>
                  </a:ext>
                </a:extLst>
              </p:cNvPr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auto">
              <a:xfrm>
                <a:off x="7473949" y="4668838"/>
                <a:ext cx="26988" cy="0"/>
              </a:xfrm>
              <a:custGeom>
                <a:avLst/>
                <a:gdLst>
                  <a:gd name="T0" fmla="*/ 0 w 34"/>
                  <a:gd name="T1" fmla="*/ 0 w 34"/>
                  <a:gd name="T2" fmla="*/ 7144 w 34"/>
                  <a:gd name="T3" fmla="*/ 3175 w 34"/>
                  <a:gd name="T4" fmla="*/ 0 w 34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  <a:gd name="T10" fmla="*/ 0 w 34"/>
                  <a:gd name="T11" fmla="*/ 34 w 34"/>
                </a:gdLst>
                <a:ahLst/>
                <a:cxnLst>
                  <a:cxn ang="T5">
                    <a:pos x="T0" y="0"/>
                  </a:cxn>
                  <a:cxn ang="T6">
                    <a:pos x="T1" y="0"/>
                  </a:cxn>
                  <a:cxn ang="T7">
                    <a:pos x="T2" y="0"/>
                  </a:cxn>
                  <a:cxn ang="T8">
                    <a:pos x="T3" y="0"/>
                  </a:cxn>
                  <a:cxn ang="T9">
                    <a:pos x="T4" y="0"/>
                  </a:cxn>
                </a:cxnLst>
                <a:rect l="T10" t="0" r="T11" b="0"/>
                <a:pathLst>
                  <a:path w="34">
                    <a:moveTo>
                      <a:pt x="0" y="0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77" name="Freeform 111">
                <a:extLst>
                  <a:ext uri="{FF2B5EF4-FFF2-40B4-BE49-F238E27FC236}">
                    <a16:creationId xmlns:a16="http://schemas.microsoft.com/office/drawing/2014/main" id="{F46B371F-312C-6649-86A0-61EEC1BFF13A}"/>
                  </a:ext>
                </a:extLst>
              </p:cNvPr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auto">
              <a:xfrm>
                <a:off x="7651749" y="4656138"/>
                <a:ext cx="14288" cy="12700"/>
              </a:xfrm>
              <a:custGeom>
                <a:avLst/>
                <a:gdLst>
                  <a:gd name="T0" fmla="*/ 0 w 18"/>
                  <a:gd name="T1" fmla="*/ 0 h 15"/>
                  <a:gd name="T2" fmla="*/ 0 w 18"/>
                  <a:gd name="T3" fmla="*/ 0 h 15"/>
                  <a:gd name="T4" fmla="*/ 3969 w 18"/>
                  <a:gd name="T5" fmla="*/ 3387 h 15"/>
                  <a:gd name="T6" fmla="*/ 3969 w 18"/>
                  <a:gd name="T7" fmla="*/ 0 h 15"/>
                  <a:gd name="T8" fmla="*/ 0 w 18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5"/>
                  <a:gd name="T17" fmla="*/ 18 w 18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5">
                    <a:moveTo>
                      <a:pt x="0" y="0"/>
                    </a:moveTo>
                    <a:lnTo>
                      <a:pt x="0" y="0"/>
                    </a:lnTo>
                    <a:lnTo>
                      <a:pt x="18" y="15"/>
                    </a:lnTo>
                    <a:lnTo>
                      <a:pt x="18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78" name="Freeform 112">
                <a:extLst>
                  <a:ext uri="{FF2B5EF4-FFF2-40B4-BE49-F238E27FC236}">
                    <a16:creationId xmlns:a16="http://schemas.microsoft.com/office/drawing/2014/main" id="{0788F1AB-A981-4A42-845A-FDF51063951A}"/>
                  </a:ext>
                </a:extLst>
              </p:cNvPr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auto">
              <a:xfrm>
                <a:off x="7926387" y="4719638"/>
                <a:ext cx="96838" cy="50800"/>
              </a:xfrm>
              <a:custGeom>
                <a:avLst/>
                <a:gdLst>
                  <a:gd name="T0" fmla="*/ 0 w 123"/>
                  <a:gd name="T1" fmla="*/ 6252 h 65"/>
                  <a:gd name="T2" fmla="*/ 0 w 123"/>
                  <a:gd name="T3" fmla="*/ 6252 h 65"/>
                  <a:gd name="T4" fmla="*/ 6298 w 123"/>
                  <a:gd name="T5" fmla="*/ 12505 h 65"/>
                  <a:gd name="T6" fmla="*/ 13384 w 123"/>
                  <a:gd name="T7" fmla="*/ 12505 h 65"/>
                  <a:gd name="T8" fmla="*/ 20470 w 123"/>
                  <a:gd name="T9" fmla="*/ 9378 h 65"/>
                  <a:gd name="T10" fmla="*/ 23619 w 123"/>
                  <a:gd name="T11" fmla="*/ 3126 h 65"/>
                  <a:gd name="T12" fmla="*/ 23619 w 123"/>
                  <a:gd name="T13" fmla="*/ 0 h 65"/>
                  <a:gd name="T14" fmla="*/ 20470 w 123"/>
                  <a:gd name="T15" fmla="*/ 0 h 65"/>
                  <a:gd name="T16" fmla="*/ 20470 w 123"/>
                  <a:gd name="T17" fmla="*/ 6252 h 65"/>
                  <a:gd name="T18" fmla="*/ 17321 w 123"/>
                  <a:gd name="T19" fmla="*/ 6252 h 65"/>
                  <a:gd name="T20" fmla="*/ 13384 w 123"/>
                  <a:gd name="T21" fmla="*/ 6252 h 65"/>
                  <a:gd name="T22" fmla="*/ 0 w 123"/>
                  <a:gd name="T23" fmla="*/ 6252 h 6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23"/>
                  <a:gd name="T37" fmla="*/ 0 h 65"/>
                  <a:gd name="T38" fmla="*/ 123 w 123"/>
                  <a:gd name="T39" fmla="*/ 65 h 6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23" h="65">
                    <a:moveTo>
                      <a:pt x="0" y="33"/>
                    </a:moveTo>
                    <a:lnTo>
                      <a:pt x="0" y="33"/>
                    </a:lnTo>
                    <a:lnTo>
                      <a:pt x="35" y="65"/>
                    </a:lnTo>
                    <a:lnTo>
                      <a:pt x="71" y="65"/>
                    </a:lnTo>
                    <a:lnTo>
                      <a:pt x="106" y="48"/>
                    </a:lnTo>
                    <a:lnTo>
                      <a:pt x="123" y="17"/>
                    </a:lnTo>
                    <a:lnTo>
                      <a:pt x="123" y="0"/>
                    </a:lnTo>
                    <a:lnTo>
                      <a:pt x="106" y="0"/>
                    </a:lnTo>
                    <a:lnTo>
                      <a:pt x="106" y="33"/>
                    </a:lnTo>
                    <a:lnTo>
                      <a:pt x="88" y="33"/>
                    </a:lnTo>
                    <a:lnTo>
                      <a:pt x="71" y="33"/>
                    </a:lnTo>
                    <a:lnTo>
                      <a:pt x="0" y="3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79" name="Freeform 113">
                <a:extLst>
                  <a:ext uri="{FF2B5EF4-FFF2-40B4-BE49-F238E27FC236}">
                    <a16:creationId xmlns:a16="http://schemas.microsoft.com/office/drawing/2014/main" id="{C1738C88-82F5-AF46-9A12-8AA13FAE767A}"/>
                  </a:ext>
                </a:extLst>
              </p:cNvPr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auto">
              <a:xfrm>
                <a:off x="7996237" y="4706938"/>
                <a:ext cx="41275" cy="25400"/>
              </a:xfrm>
              <a:custGeom>
                <a:avLst/>
                <a:gdLst>
                  <a:gd name="T0" fmla="*/ 0 w 52"/>
                  <a:gd name="T1" fmla="*/ 0 h 32"/>
                  <a:gd name="T2" fmla="*/ 0 w 52"/>
                  <a:gd name="T3" fmla="*/ 0 h 32"/>
                  <a:gd name="T4" fmla="*/ 7144 w 52"/>
                  <a:gd name="T5" fmla="*/ 2381 h 32"/>
                  <a:gd name="T6" fmla="*/ 10319 w 52"/>
                  <a:gd name="T7" fmla="*/ 6350 h 32"/>
                  <a:gd name="T8" fmla="*/ 10319 w 52"/>
                  <a:gd name="T9" fmla="*/ 2381 h 32"/>
                  <a:gd name="T10" fmla="*/ 0 w 52"/>
                  <a:gd name="T11" fmla="*/ 0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"/>
                  <a:gd name="T19" fmla="*/ 0 h 32"/>
                  <a:gd name="T20" fmla="*/ 52 w 52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" h="32">
                    <a:moveTo>
                      <a:pt x="0" y="0"/>
                    </a:moveTo>
                    <a:lnTo>
                      <a:pt x="0" y="0"/>
                    </a:lnTo>
                    <a:lnTo>
                      <a:pt x="35" y="15"/>
                    </a:lnTo>
                    <a:lnTo>
                      <a:pt x="52" y="32"/>
                    </a:lnTo>
                    <a:lnTo>
                      <a:pt x="52" y="15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80" name="Freeform 114">
                <a:extLst>
                  <a:ext uri="{FF2B5EF4-FFF2-40B4-BE49-F238E27FC236}">
                    <a16:creationId xmlns:a16="http://schemas.microsoft.com/office/drawing/2014/main" id="{1732A7D6-E771-D44A-8F7A-BF1839A3FA9E}"/>
                  </a:ext>
                </a:extLst>
              </p:cNvPr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auto">
              <a:xfrm>
                <a:off x="8078787" y="4745038"/>
                <a:ext cx="26988" cy="38100"/>
              </a:xfrm>
              <a:custGeom>
                <a:avLst/>
                <a:gdLst>
                  <a:gd name="T0" fmla="*/ 0 w 35"/>
                  <a:gd name="T1" fmla="*/ 0 h 48"/>
                  <a:gd name="T2" fmla="*/ 0 w 35"/>
                  <a:gd name="T3" fmla="*/ 0 h 48"/>
                  <a:gd name="T4" fmla="*/ 3084 w 35"/>
                  <a:gd name="T5" fmla="*/ 9525 h 48"/>
                  <a:gd name="T6" fmla="*/ 6169 w 35"/>
                  <a:gd name="T7" fmla="*/ 6350 h 48"/>
                  <a:gd name="T8" fmla="*/ 0 w 35"/>
                  <a:gd name="T9" fmla="*/ 0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48"/>
                  <a:gd name="T17" fmla="*/ 35 w 3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48">
                    <a:moveTo>
                      <a:pt x="0" y="0"/>
                    </a:moveTo>
                    <a:lnTo>
                      <a:pt x="0" y="0"/>
                    </a:lnTo>
                    <a:lnTo>
                      <a:pt x="17" y="48"/>
                    </a:lnTo>
                    <a:lnTo>
                      <a:pt x="35" y="32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81" name="Freeform 115">
                <a:extLst>
                  <a:ext uri="{FF2B5EF4-FFF2-40B4-BE49-F238E27FC236}">
                    <a16:creationId xmlns:a16="http://schemas.microsoft.com/office/drawing/2014/main" id="{BEFCC37D-4830-8646-A4F4-0E84625B0807}"/>
                  </a:ext>
                </a:extLst>
              </p:cNvPr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auto">
              <a:xfrm>
                <a:off x="8174037" y="4821238"/>
                <a:ext cx="28575" cy="12700"/>
              </a:xfrm>
              <a:custGeom>
                <a:avLst/>
                <a:gdLst>
                  <a:gd name="T0" fmla="*/ 0 w 34"/>
                  <a:gd name="T1" fmla="*/ 0 h 15"/>
                  <a:gd name="T2" fmla="*/ 0 w 34"/>
                  <a:gd name="T3" fmla="*/ 0 h 15"/>
                  <a:gd name="T4" fmla="*/ 0 w 34"/>
                  <a:gd name="T5" fmla="*/ 3387 h 15"/>
                  <a:gd name="T6" fmla="*/ 8404 w 34"/>
                  <a:gd name="T7" fmla="*/ 3387 h 15"/>
                  <a:gd name="T8" fmla="*/ 0 w 34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15"/>
                  <a:gd name="T17" fmla="*/ 34 w 34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15">
                    <a:moveTo>
                      <a:pt x="0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34" y="15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82" name="Freeform 116">
                <a:extLst>
                  <a:ext uri="{FF2B5EF4-FFF2-40B4-BE49-F238E27FC236}">
                    <a16:creationId xmlns:a16="http://schemas.microsoft.com/office/drawing/2014/main" id="{C0FF4413-8A33-A342-938C-679F73905429}"/>
                  </a:ext>
                </a:extLst>
              </p:cNvPr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auto">
              <a:xfrm>
                <a:off x="8339137" y="4935538"/>
                <a:ext cx="14288" cy="25400"/>
              </a:xfrm>
              <a:custGeom>
                <a:avLst/>
                <a:gdLst>
                  <a:gd name="T0" fmla="*/ 0 w 18"/>
                  <a:gd name="T1" fmla="*/ 0 h 32"/>
                  <a:gd name="T2" fmla="*/ 0 w 18"/>
                  <a:gd name="T3" fmla="*/ 0 h 32"/>
                  <a:gd name="T4" fmla="*/ 0 w 18"/>
                  <a:gd name="T5" fmla="*/ 6350 h 32"/>
                  <a:gd name="T6" fmla="*/ 3969 w 18"/>
                  <a:gd name="T7" fmla="*/ 2381 h 32"/>
                  <a:gd name="T8" fmla="*/ 0 w 18"/>
                  <a:gd name="T9" fmla="*/ 0 h 3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32"/>
                  <a:gd name="T17" fmla="*/ 18 w 18"/>
                  <a:gd name="T18" fmla="*/ 32 h 3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32">
                    <a:moveTo>
                      <a:pt x="0" y="0"/>
                    </a:moveTo>
                    <a:lnTo>
                      <a:pt x="0" y="0"/>
                    </a:lnTo>
                    <a:lnTo>
                      <a:pt x="0" y="32"/>
                    </a:lnTo>
                    <a:lnTo>
                      <a:pt x="18" y="15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83" name="Freeform 117">
                <a:extLst>
                  <a:ext uri="{FF2B5EF4-FFF2-40B4-BE49-F238E27FC236}">
                    <a16:creationId xmlns:a16="http://schemas.microsoft.com/office/drawing/2014/main" id="{096973CD-4B56-2C46-83C1-6AB770C98B25}"/>
                  </a:ext>
                </a:extLst>
              </p:cNvPr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auto">
              <a:xfrm>
                <a:off x="8286749" y="5049838"/>
                <a:ext cx="52388" cy="49213"/>
              </a:xfrm>
              <a:custGeom>
                <a:avLst/>
                <a:gdLst>
                  <a:gd name="T0" fmla="*/ 0 w 67"/>
                  <a:gd name="T1" fmla="*/ 0 h 63"/>
                  <a:gd name="T2" fmla="*/ 0 w 67"/>
                  <a:gd name="T3" fmla="*/ 0 h 63"/>
                  <a:gd name="T4" fmla="*/ 3128 w 67"/>
                  <a:gd name="T5" fmla="*/ 6249 h 63"/>
                  <a:gd name="T6" fmla="*/ 9383 w 67"/>
                  <a:gd name="T7" fmla="*/ 11717 h 63"/>
                  <a:gd name="T8" fmla="*/ 12511 w 67"/>
                  <a:gd name="T9" fmla="*/ 11717 h 63"/>
                  <a:gd name="T10" fmla="*/ 3128 w 67"/>
                  <a:gd name="T11" fmla="*/ 2343 h 63"/>
                  <a:gd name="T12" fmla="*/ 0 w 67"/>
                  <a:gd name="T13" fmla="*/ 0 h 6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"/>
                  <a:gd name="T22" fmla="*/ 0 h 63"/>
                  <a:gd name="T23" fmla="*/ 67 w 67"/>
                  <a:gd name="T24" fmla="*/ 63 h 6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" h="63">
                    <a:moveTo>
                      <a:pt x="0" y="0"/>
                    </a:moveTo>
                    <a:lnTo>
                      <a:pt x="0" y="0"/>
                    </a:lnTo>
                    <a:lnTo>
                      <a:pt x="17" y="32"/>
                    </a:lnTo>
                    <a:lnTo>
                      <a:pt x="50" y="63"/>
                    </a:lnTo>
                    <a:lnTo>
                      <a:pt x="67" y="63"/>
                    </a:lnTo>
                    <a:lnTo>
                      <a:pt x="17" y="15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84" name="Freeform 118">
                <a:extLst>
                  <a:ext uri="{FF2B5EF4-FFF2-40B4-BE49-F238E27FC236}">
                    <a16:creationId xmlns:a16="http://schemas.microsoft.com/office/drawing/2014/main" id="{81E09176-7627-3240-BAB4-3A5734E2064E}"/>
                  </a:ext>
                </a:extLst>
              </p:cNvPr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auto">
              <a:xfrm>
                <a:off x="8559799" y="4986338"/>
                <a:ext cx="28575" cy="25400"/>
              </a:xfrm>
              <a:custGeom>
                <a:avLst/>
                <a:gdLst>
                  <a:gd name="T0" fmla="*/ 0 w 34"/>
                  <a:gd name="T1" fmla="*/ 6158 h 33"/>
                  <a:gd name="T2" fmla="*/ 0 w 34"/>
                  <a:gd name="T3" fmla="*/ 6158 h 33"/>
                  <a:gd name="T4" fmla="*/ 8404 w 34"/>
                  <a:gd name="T5" fmla="*/ 6158 h 33"/>
                  <a:gd name="T6" fmla="*/ 8404 w 34"/>
                  <a:gd name="T7" fmla="*/ 3079 h 33"/>
                  <a:gd name="T8" fmla="*/ 4202 w 34"/>
                  <a:gd name="T9" fmla="*/ 0 h 33"/>
                  <a:gd name="T10" fmla="*/ 0 w 34"/>
                  <a:gd name="T11" fmla="*/ 6158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"/>
                  <a:gd name="T19" fmla="*/ 0 h 33"/>
                  <a:gd name="T20" fmla="*/ 34 w 34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" h="33">
                    <a:moveTo>
                      <a:pt x="0" y="33"/>
                    </a:moveTo>
                    <a:lnTo>
                      <a:pt x="0" y="33"/>
                    </a:lnTo>
                    <a:lnTo>
                      <a:pt x="34" y="33"/>
                    </a:lnTo>
                    <a:lnTo>
                      <a:pt x="34" y="17"/>
                    </a:lnTo>
                    <a:lnTo>
                      <a:pt x="17" y="0"/>
                    </a:lnTo>
                    <a:lnTo>
                      <a:pt x="0" y="3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85" name="Freeform 119">
                <a:extLst>
                  <a:ext uri="{FF2B5EF4-FFF2-40B4-BE49-F238E27FC236}">
                    <a16:creationId xmlns:a16="http://schemas.microsoft.com/office/drawing/2014/main" id="{FDEF73BA-99B6-874F-ADCC-127B118B856B}"/>
                  </a:ext>
                </a:extLst>
              </p:cNvPr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auto">
              <a:xfrm>
                <a:off x="8588374" y="4973638"/>
                <a:ext cx="26988" cy="12700"/>
              </a:xfrm>
              <a:custGeom>
                <a:avLst/>
                <a:gdLst>
                  <a:gd name="T0" fmla="*/ 0 w 35"/>
                  <a:gd name="T1" fmla="*/ 0 h 15"/>
                  <a:gd name="T2" fmla="*/ 0 w 35"/>
                  <a:gd name="T3" fmla="*/ 0 h 15"/>
                  <a:gd name="T4" fmla="*/ 3084 w 35"/>
                  <a:gd name="T5" fmla="*/ 3387 h 15"/>
                  <a:gd name="T6" fmla="*/ 6169 w 35"/>
                  <a:gd name="T7" fmla="*/ 0 h 15"/>
                  <a:gd name="T8" fmla="*/ 0 w 35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15"/>
                  <a:gd name="T17" fmla="*/ 35 w 35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15">
                    <a:moveTo>
                      <a:pt x="0" y="0"/>
                    </a:moveTo>
                    <a:lnTo>
                      <a:pt x="0" y="0"/>
                    </a:lnTo>
                    <a:lnTo>
                      <a:pt x="17" y="15"/>
                    </a:lnTo>
                    <a:lnTo>
                      <a:pt x="35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86" name="Line 120">
                <a:extLst>
                  <a:ext uri="{FF2B5EF4-FFF2-40B4-BE49-F238E27FC236}">
                    <a16:creationId xmlns:a16="http://schemas.microsoft.com/office/drawing/2014/main" id="{D2DAF2BC-C5F1-C048-967B-4C726DEBE87C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48"/>
                </p:custDataLst>
              </p:nvPr>
            </p:nvSpPr>
            <p:spPr bwMode="auto">
              <a:xfrm flipV="1">
                <a:off x="7564437" y="4789488"/>
                <a:ext cx="12700" cy="381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87" name="Line 121">
                <a:extLst>
                  <a:ext uri="{FF2B5EF4-FFF2-40B4-BE49-F238E27FC236}">
                    <a16:creationId xmlns:a16="http://schemas.microsoft.com/office/drawing/2014/main" id="{962701B2-B0CE-0742-A166-3AC7905ABE73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49"/>
                </p:custDataLst>
              </p:nvPr>
            </p:nvSpPr>
            <p:spPr bwMode="auto">
              <a:xfrm>
                <a:off x="8112124" y="4789488"/>
                <a:ext cx="28575" cy="127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88" name="Line 122">
                <a:extLst>
                  <a:ext uri="{FF2B5EF4-FFF2-40B4-BE49-F238E27FC236}">
                    <a16:creationId xmlns:a16="http://schemas.microsoft.com/office/drawing/2014/main" id="{769C2472-FB2B-3B4B-B28F-02864F2C11B1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50"/>
                </p:custDataLst>
              </p:nvPr>
            </p:nvSpPr>
            <p:spPr bwMode="auto">
              <a:xfrm>
                <a:off x="8140699" y="4814888"/>
                <a:ext cx="12700" cy="127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89" name="Line 123">
                <a:extLst>
                  <a:ext uri="{FF2B5EF4-FFF2-40B4-BE49-F238E27FC236}">
                    <a16:creationId xmlns:a16="http://schemas.microsoft.com/office/drawing/2014/main" id="{C2468E28-B5FA-2947-8C13-4D49DAF72411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51"/>
                </p:custDataLst>
              </p:nvPr>
            </p:nvSpPr>
            <p:spPr bwMode="auto">
              <a:xfrm>
                <a:off x="8210549" y="4827588"/>
                <a:ext cx="12700" cy="254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90" name="Line 124">
                <a:extLst>
                  <a:ext uri="{FF2B5EF4-FFF2-40B4-BE49-F238E27FC236}">
                    <a16:creationId xmlns:a16="http://schemas.microsoft.com/office/drawing/2014/main" id="{907E8A4A-FCB6-7845-B1D7-31D4A08CDDE2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8223249" y="4865688"/>
                <a:ext cx="26988" cy="127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91" name="Freeform 125">
                <a:extLst>
                  <a:ext uri="{FF2B5EF4-FFF2-40B4-BE49-F238E27FC236}">
                    <a16:creationId xmlns:a16="http://schemas.microsoft.com/office/drawing/2014/main" id="{F3E25DEC-6698-E740-9BE3-2EE30B6ADC36}"/>
                  </a:ext>
                </a:extLst>
              </p:cNvPr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auto">
              <a:xfrm>
                <a:off x="7088187" y="4503738"/>
                <a:ext cx="220663" cy="114300"/>
              </a:xfrm>
              <a:custGeom>
                <a:avLst/>
                <a:gdLst>
                  <a:gd name="T0" fmla="*/ 30956 w 278"/>
                  <a:gd name="T1" fmla="*/ 9525 h 144"/>
                  <a:gd name="T2" fmla="*/ 30956 w 278"/>
                  <a:gd name="T3" fmla="*/ 9525 h 144"/>
                  <a:gd name="T4" fmla="*/ 34131 w 278"/>
                  <a:gd name="T5" fmla="*/ 9525 h 144"/>
                  <a:gd name="T6" fmla="*/ 30956 w 278"/>
                  <a:gd name="T7" fmla="*/ 11906 h 144"/>
                  <a:gd name="T8" fmla="*/ 27781 w 278"/>
                  <a:gd name="T9" fmla="*/ 11906 h 144"/>
                  <a:gd name="T10" fmla="*/ 23813 w 278"/>
                  <a:gd name="T11" fmla="*/ 11906 h 144"/>
                  <a:gd name="T12" fmla="*/ 17463 w 278"/>
                  <a:gd name="T13" fmla="*/ 19050 h 144"/>
                  <a:gd name="T14" fmla="*/ 10319 w 278"/>
                  <a:gd name="T15" fmla="*/ 19050 h 144"/>
                  <a:gd name="T16" fmla="*/ 10319 w 278"/>
                  <a:gd name="T17" fmla="*/ 24606 h 144"/>
                  <a:gd name="T18" fmla="*/ 0 w 278"/>
                  <a:gd name="T19" fmla="*/ 24606 h 144"/>
                  <a:gd name="T20" fmla="*/ 7144 w 278"/>
                  <a:gd name="T21" fmla="*/ 28575 h 144"/>
                  <a:gd name="T22" fmla="*/ 13494 w 278"/>
                  <a:gd name="T23" fmla="*/ 28575 h 144"/>
                  <a:gd name="T24" fmla="*/ 17463 w 278"/>
                  <a:gd name="T25" fmla="*/ 24606 h 144"/>
                  <a:gd name="T26" fmla="*/ 23813 w 278"/>
                  <a:gd name="T27" fmla="*/ 28575 h 144"/>
                  <a:gd name="T28" fmla="*/ 27781 w 278"/>
                  <a:gd name="T29" fmla="*/ 24606 h 144"/>
                  <a:gd name="T30" fmla="*/ 38100 w 278"/>
                  <a:gd name="T31" fmla="*/ 11906 h 144"/>
                  <a:gd name="T32" fmla="*/ 48419 w 278"/>
                  <a:gd name="T33" fmla="*/ 11906 h 144"/>
                  <a:gd name="T34" fmla="*/ 52388 w 278"/>
                  <a:gd name="T35" fmla="*/ 11906 h 144"/>
                  <a:gd name="T36" fmla="*/ 48419 w 278"/>
                  <a:gd name="T37" fmla="*/ 9525 h 144"/>
                  <a:gd name="T38" fmla="*/ 55563 w 278"/>
                  <a:gd name="T39" fmla="*/ 9525 h 144"/>
                  <a:gd name="T40" fmla="*/ 44450 w 278"/>
                  <a:gd name="T41" fmla="*/ 5556 h 144"/>
                  <a:gd name="T42" fmla="*/ 44450 w 278"/>
                  <a:gd name="T43" fmla="*/ 2381 h 144"/>
                  <a:gd name="T44" fmla="*/ 41275 w 278"/>
                  <a:gd name="T45" fmla="*/ 0 h 144"/>
                  <a:gd name="T46" fmla="*/ 34131 w 278"/>
                  <a:gd name="T47" fmla="*/ 5556 h 144"/>
                  <a:gd name="T48" fmla="*/ 30956 w 278"/>
                  <a:gd name="T49" fmla="*/ 9525 h 14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78"/>
                  <a:gd name="T76" fmla="*/ 0 h 144"/>
                  <a:gd name="T77" fmla="*/ 278 w 278"/>
                  <a:gd name="T78" fmla="*/ 144 h 144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78" h="144">
                    <a:moveTo>
                      <a:pt x="158" y="48"/>
                    </a:moveTo>
                    <a:lnTo>
                      <a:pt x="158" y="48"/>
                    </a:lnTo>
                    <a:lnTo>
                      <a:pt x="175" y="48"/>
                    </a:lnTo>
                    <a:lnTo>
                      <a:pt x="158" y="63"/>
                    </a:lnTo>
                    <a:lnTo>
                      <a:pt x="140" y="63"/>
                    </a:lnTo>
                    <a:lnTo>
                      <a:pt x="123" y="63"/>
                    </a:lnTo>
                    <a:lnTo>
                      <a:pt x="88" y="96"/>
                    </a:lnTo>
                    <a:lnTo>
                      <a:pt x="52" y="96"/>
                    </a:lnTo>
                    <a:lnTo>
                      <a:pt x="52" y="126"/>
                    </a:lnTo>
                    <a:lnTo>
                      <a:pt x="0" y="126"/>
                    </a:lnTo>
                    <a:lnTo>
                      <a:pt x="35" y="144"/>
                    </a:lnTo>
                    <a:lnTo>
                      <a:pt x="69" y="144"/>
                    </a:lnTo>
                    <a:lnTo>
                      <a:pt x="88" y="126"/>
                    </a:lnTo>
                    <a:lnTo>
                      <a:pt x="123" y="144"/>
                    </a:lnTo>
                    <a:lnTo>
                      <a:pt x="140" y="126"/>
                    </a:lnTo>
                    <a:lnTo>
                      <a:pt x="192" y="63"/>
                    </a:lnTo>
                    <a:lnTo>
                      <a:pt x="244" y="63"/>
                    </a:lnTo>
                    <a:lnTo>
                      <a:pt x="261" y="63"/>
                    </a:lnTo>
                    <a:lnTo>
                      <a:pt x="244" y="48"/>
                    </a:lnTo>
                    <a:lnTo>
                      <a:pt x="278" y="48"/>
                    </a:lnTo>
                    <a:lnTo>
                      <a:pt x="227" y="30"/>
                    </a:lnTo>
                    <a:lnTo>
                      <a:pt x="227" y="15"/>
                    </a:lnTo>
                    <a:lnTo>
                      <a:pt x="209" y="0"/>
                    </a:lnTo>
                    <a:lnTo>
                      <a:pt x="175" y="30"/>
                    </a:lnTo>
                    <a:lnTo>
                      <a:pt x="158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92" name="Freeform 126">
                <a:extLst>
                  <a:ext uri="{FF2B5EF4-FFF2-40B4-BE49-F238E27FC236}">
                    <a16:creationId xmlns:a16="http://schemas.microsoft.com/office/drawing/2014/main" id="{9BC2646D-4F42-1944-80DD-83DBB0425607}"/>
                  </a:ext>
                </a:extLst>
              </p:cNvPr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7185024" y="4541838"/>
                <a:ext cx="41275" cy="12700"/>
              </a:xfrm>
              <a:custGeom>
                <a:avLst/>
                <a:gdLst>
                  <a:gd name="T0" fmla="*/ 0 w 52"/>
                  <a:gd name="T1" fmla="*/ 3387 h 15"/>
                  <a:gd name="T2" fmla="*/ 0 w 52"/>
                  <a:gd name="T3" fmla="*/ 3387 h 15"/>
                  <a:gd name="T4" fmla="*/ 3969 w 52"/>
                  <a:gd name="T5" fmla="*/ 3387 h 15"/>
                  <a:gd name="T6" fmla="*/ 7144 w 52"/>
                  <a:gd name="T7" fmla="*/ 3387 h 15"/>
                  <a:gd name="T8" fmla="*/ 10319 w 52"/>
                  <a:gd name="T9" fmla="*/ 0 h 15"/>
                  <a:gd name="T10" fmla="*/ 7144 w 52"/>
                  <a:gd name="T11" fmla="*/ 0 h 15"/>
                  <a:gd name="T12" fmla="*/ 0 w 52"/>
                  <a:gd name="T13" fmla="*/ 3387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"/>
                  <a:gd name="T22" fmla="*/ 0 h 15"/>
                  <a:gd name="T23" fmla="*/ 52 w 52"/>
                  <a:gd name="T24" fmla="*/ 15 h 1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" h="15">
                    <a:moveTo>
                      <a:pt x="0" y="15"/>
                    </a:moveTo>
                    <a:lnTo>
                      <a:pt x="0" y="15"/>
                    </a:lnTo>
                    <a:lnTo>
                      <a:pt x="17" y="15"/>
                    </a:lnTo>
                    <a:lnTo>
                      <a:pt x="35" y="15"/>
                    </a:lnTo>
                    <a:lnTo>
                      <a:pt x="52" y="0"/>
                    </a:lnTo>
                    <a:lnTo>
                      <a:pt x="35" y="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93" name="Freeform 127">
                <a:extLst>
                  <a:ext uri="{FF2B5EF4-FFF2-40B4-BE49-F238E27FC236}">
                    <a16:creationId xmlns:a16="http://schemas.microsoft.com/office/drawing/2014/main" id="{1839BF24-353D-3C45-A70F-BE8577212C6C}"/>
                  </a:ext>
                </a:extLst>
              </p:cNvPr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auto">
              <a:xfrm>
                <a:off x="7073899" y="4554538"/>
                <a:ext cx="222250" cy="165100"/>
              </a:xfrm>
              <a:custGeom>
                <a:avLst/>
                <a:gdLst>
                  <a:gd name="T0" fmla="*/ 3997 w 278"/>
                  <a:gd name="T1" fmla="*/ 12761 h 207"/>
                  <a:gd name="T2" fmla="*/ 3997 w 278"/>
                  <a:gd name="T3" fmla="*/ 12761 h 207"/>
                  <a:gd name="T4" fmla="*/ 10393 w 278"/>
                  <a:gd name="T5" fmla="*/ 16749 h 207"/>
                  <a:gd name="T6" fmla="*/ 17588 w 278"/>
                  <a:gd name="T7" fmla="*/ 16749 h 207"/>
                  <a:gd name="T8" fmla="*/ 20786 w 278"/>
                  <a:gd name="T9" fmla="*/ 12761 h 207"/>
                  <a:gd name="T10" fmla="*/ 27981 w 278"/>
                  <a:gd name="T11" fmla="*/ 16749 h 207"/>
                  <a:gd name="T12" fmla="*/ 31179 w 278"/>
                  <a:gd name="T13" fmla="*/ 12761 h 207"/>
                  <a:gd name="T14" fmla="*/ 41572 w 278"/>
                  <a:gd name="T15" fmla="*/ 0 h 207"/>
                  <a:gd name="T16" fmla="*/ 52764 w 278"/>
                  <a:gd name="T17" fmla="*/ 0 h 207"/>
                  <a:gd name="T18" fmla="*/ 49567 w 278"/>
                  <a:gd name="T19" fmla="*/ 7178 h 207"/>
                  <a:gd name="T20" fmla="*/ 52764 w 278"/>
                  <a:gd name="T21" fmla="*/ 9571 h 207"/>
                  <a:gd name="T22" fmla="*/ 49567 w 278"/>
                  <a:gd name="T23" fmla="*/ 12761 h 207"/>
                  <a:gd name="T24" fmla="*/ 56762 w 278"/>
                  <a:gd name="T25" fmla="*/ 16749 h 207"/>
                  <a:gd name="T26" fmla="*/ 52764 w 278"/>
                  <a:gd name="T27" fmla="*/ 19142 h 207"/>
                  <a:gd name="T28" fmla="*/ 45569 w 278"/>
                  <a:gd name="T29" fmla="*/ 26320 h 207"/>
                  <a:gd name="T30" fmla="*/ 41572 w 278"/>
                  <a:gd name="T31" fmla="*/ 31903 h 207"/>
                  <a:gd name="T32" fmla="*/ 45569 w 278"/>
                  <a:gd name="T33" fmla="*/ 31903 h 207"/>
                  <a:gd name="T34" fmla="*/ 41572 w 278"/>
                  <a:gd name="T35" fmla="*/ 38284 h 207"/>
                  <a:gd name="T36" fmla="*/ 35176 w 278"/>
                  <a:gd name="T37" fmla="*/ 41474 h 207"/>
                  <a:gd name="T38" fmla="*/ 31179 w 278"/>
                  <a:gd name="T39" fmla="*/ 38284 h 207"/>
                  <a:gd name="T40" fmla="*/ 24783 w 278"/>
                  <a:gd name="T41" fmla="*/ 38284 h 207"/>
                  <a:gd name="T42" fmla="*/ 17588 w 278"/>
                  <a:gd name="T43" fmla="*/ 38284 h 207"/>
                  <a:gd name="T44" fmla="*/ 17588 w 278"/>
                  <a:gd name="T45" fmla="*/ 35094 h 207"/>
                  <a:gd name="T46" fmla="*/ 10393 w 278"/>
                  <a:gd name="T47" fmla="*/ 35094 h 207"/>
                  <a:gd name="T48" fmla="*/ 7195 w 278"/>
                  <a:gd name="T49" fmla="*/ 28713 h 207"/>
                  <a:gd name="T50" fmla="*/ 3997 w 278"/>
                  <a:gd name="T51" fmla="*/ 22332 h 207"/>
                  <a:gd name="T52" fmla="*/ 0 w 278"/>
                  <a:gd name="T53" fmla="*/ 16749 h 207"/>
                  <a:gd name="T54" fmla="*/ 3997 w 278"/>
                  <a:gd name="T55" fmla="*/ 12761 h 207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78"/>
                  <a:gd name="T85" fmla="*/ 0 h 207"/>
                  <a:gd name="T86" fmla="*/ 278 w 278"/>
                  <a:gd name="T87" fmla="*/ 207 h 207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78" h="207">
                    <a:moveTo>
                      <a:pt x="17" y="63"/>
                    </a:moveTo>
                    <a:lnTo>
                      <a:pt x="17" y="63"/>
                    </a:lnTo>
                    <a:lnTo>
                      <a:pt x="52" y="81"/>
                    </a:lnTo>
                    <a:lnTo>
                      <a:pt x="86" y="81"/>
                    </a:lnTo>
                    <a:lnTo>
                      <a:pt x="104" y="63"/>
                    </a:lnTo>
                    <a:lnTo>
                      <a:pt x="138" y="81"/>
                    </a:lnTo>
                    <a:lnTo>
                      <a:pt x="155" y="63"/>
                    </a:lnTo>
                    <a:lnTo>
                      <a:pt x="207" y="0"/>
                    </a:lnTo>
                    <a:lnTo>
                      <a:pt x="261" y="0"/>
                    </a:lnTo>
                    <a:lnTo>
                      <a:pt x="244" y="33"/>
                    </a:lnTo>
                    <a:lnTo>
                      <a:pt x="261" y="48"/>
                    </a:lnTo>
                    <a:lnTo>
                      <a:pt x="244" y="63"/>
                    </a:lnTo>
                    <a:lnTo>
                      <a:pt x="278" y="81"/>
                    </a:lnTo>
                    <a:lnTo>
                      <a:pt x="261" y="96"/>
                    </a:lnTo>
                    <a:lnTo>
                      <a:pt x="224" y="129"/>
                    </a:lnTo>
                    <a:lnTo>
                      <a:pt x="207" y="159"/>
                    </a:lnTo>
                    <a:lnTo>
                      <a:pt x="224" y="159"/>
                    </a:lnTo>
                    <a:lnTo>
                      <a:pt x="207" y="192"/>
                    </a:lnTo>
                    <a:lnTo>
                      <a:pt x="173" y="207"/>
                    </a:lnTo>
                    <a:lnTo>
                      <a:pt x="155" y="192"/>
                    </a:lnTo>
                    <a:lnTo>
                      <a:pt x="121" y="192"/>
                    </a:lnTo>
                    <a:lnTo>
                      <a:pt x="86" y="192"/>
                    </a:lnTo>
                    <a:lnTo>
                      <a:pt x="86" y="176"/>
                    </a:lnTo>
                    <a:lnTo>
                      <a:pt x="52" y="176"/>
                    </a:lnTo>
                    <a:lnTo>
                      <a:pt x="34" y="144"/>
                    </a:lnTo>
                    <a:lnTo>
                      <a:pt x="17" y="111"/>
                    </a:lnTo>
                    <a:lnTo>
                      <a:pt x="0" y="81"/>
                    </a:lnTo>
                    <a:lnTo>
                      <a:pt x="17" y="6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94" name="Freeform 128">
                <a:extLst>
                  <a:ext uri="{FF2B5EF4-FFF2-40B4-BE49-F238E27FC236}">
                    <a16:creationId xmlns:a16="http://schemas.microsoft.com/office/drawing/2014/main" id="{DE0F69B3-3705-EE4C-805A-15A1E2D39CD8}"/>
                  </a:ext>
                </a:extLst>
              </p:cNvPr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6826249" y="4605338"/>
                <a:ext cx="15875" cy="25400"/>
              </a:xfrm>
              <a:custGeom>
                <a:avLst/>
                <a:gdLst>
                  <a:gd name="T0" fmla="*/ 0 w 19"/>
                  <a:gd name="T1" fmla="*/ 3079 h 33"/>
                  <a:gd name="T2" fmla="*/ 0 w 19"/>
                  <a:gd name="T3" fmla="*/ 3079 h 33"/>
                  <a:gd name="T4" fmla="*/ 4178 w 19"/>
                  <a:gd name="T5" fmla="*/ 6158 h 33"/>
                  <a:gd name="T6" fmla="*/ 0 w 19"/>
                  <a:gd name="T7" fmla="*/ 0 h 33"/>
                  <a:gd name="T8" fmla="*/ 0 w 19"/>
                  <a:gd name="T9" fmla="*/ 3079 h 3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33"/>
                  <a:gd name="T17" fmla="*/ 19 w 19"/>
                  <a:gd name="T18" fmla="*/ 33 h 3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33">
                    <a:moveTo>
                      <a:pt x="0" y="18"/>
                    </a:moveTo>
                    <a:lnTo>
                      <a:pt x="0" y="18"/>
                    </a:lnTo>
                    <a:lnTo>
                      <a:pt x="19" y="33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95" name="Freeform 129">
                <a:extLst>
                  <a:ext uri="{FF2B5EF4-FFF2-40B4-BE49-F238E27FC236}">
                    <a16:creationId xmlns:a16="http://schemas.microsoft.com/office/drawing/2014/main" id="{28B22762-9837-0A45-96C3-30D7F9FE29A1}"/>
                  </a:ext>
                </a:extLst>
              </p:cNvPr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auto">
              <a:xfrm>
                <a:off x="6854824" y="4656138"/>
                <a:ext cx="12700" cy="25400"/>
              </a:xfrm>
              <a:custGeom>
                <a:avLst/>
                <a:gdLst>
                  <a:gd name="T0" fmla="*/ 0 w 16"/>
                  <a:gd name="T1" fmla="*/ 0 h 30"/>
                  <a:gd name="T2" fmla="*/ 0 w 16"/>
                  <a:gd name="T3" fmla="*/ 0 h 30"/>
                  <a:gd name="T4" fmla="*/ 3175 w 16"/>
                  <a:gd name="T5" fmla="*/ 7620 h 30"/>
                  <a:gd name="T6" fmla="*/ 3175 w 16"/>
                  <a:gd name="T7" fmla="*/ 3387 h 30"/>
                  <a:gd name="T8" fmla="*/ 3175 w 16"/>
                  <a:gd name="T9" fmla="*/ 0 h 30"/>
                  <a:gd name="T10" fmla="*/ 0 w 16"/>
                  <a:gd name="T11" fmla="*/ 0 h 3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30"/>
                  <a:gd name="T20" fmla="*/ 16 w 16"/>
                  <a:gd name="T21" fmla="*/ 30 h 3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30">
                    <a:moveTo>
                      <a:pt x="0" y="0"/>
                    </a:moveTo>
                    <a:lnTo>
                      <a:pt x="0" y="0"/>
                    </a:lnTo>
                    <a:lnTo>
                      <a:pt x="16" y="30"/>
                    </a:lnTo>
                    <a:lnTo>
                      <a:pt x="16" y="15"/>
                    </a:lnTo>
                    <a:lnTo>
                      <a:pt x="16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96" name="Freeform 130">
                <a:extLst>
                  <a:ext uri="{FF2B5EF4-FFF2-40B4-BE49-F238E27FC236}">
                    <a16:creationId xmlns:a16="http://schemas.microsoft.com/office/drawing/2014/main" id="{18E06A9C-2F99-5442-B379-EC1580B3B466}"/>
                  </a:ext>
                </a:extLst>
              </p:cNvPr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6442074" y="4440238"/>
                <a:ext cx="57150" cy="76200"/>
              </a:xfrm>
              <a:custGeom>
                <a:avLst/>
                <a:gdLst>
                  <a:gd name="T0" fmla="*/ 0 w 71"/>
                  <a:gd name="T1" fmla="*/ 9525 h 96"/>
                  <a:gd name="T2" fmla="*/ 0 w 71"/>
                  <a:gd name="T3" fmla="*/ 9525 h 96"/>
                  <a:gd name="T4" fmla="*/ 4025 w 71"/>
                  <a:gd name="T5" fmla="*/ 19050 h 96"/>
                  <a:gd name="T6" fmla="*/ 11269 w 71"/>
                  <a:gd name="T7" fmla="*/ 19050 h 96"/>
                  <a:gd name="T8" fmla="*/ 14489 w 71"/>
                  <a:gd name="T9" fmla="*/ 11906 h 96"/>
                  <a:gd name="T10" fmla="*/ 8049 w 71"/>
                  <a:gd name="T11" fmla="*/ 2381 h 96"/>
                  <a:gd name="T12" fmla="*/ 4025 w 71"/>
                  <a:gd name="T13" fmla="*/ 0 h 96"/>
                  <a:gd name="T14" fmla="*/ 0 w 71"/>
                  <a:gd name="T15" fmla="*/ 9525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1"/>
                  <a:gd name="T25" fmla="*/ 0 h 96"/>
                  <a:gd name="T26" fmla="*/ 71 w 71"/>
                  <a:gd name="T27" fmla="*/ 96 h 9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1" h="96">
                    <a:moveTo>
                      <a:pt x="0" y="48"/>
                    </a:moveTo>
                    <a:lnTo>
                      <a:pt x="0" y="48"/>
                    </a:lnTo>
                    <a:lnTo>
                      <a:pt x="17" y="96"/>
                    </a:lnTo>
                    <a:lnTo>
                      <a:pt x="54" y="96"/>
                    </a:lnTo>
                    <a:lnTo>
                      <a:pt x="71" y="63"/>
                    </a:lnTo>
                    <a:lnTo>
                      <a:pt x="37" y="15"/>
                    </a:lnTo>
                    <a:lnTo>
                      <a:pt x="17" y="0"/>
                    </a:lnTo>
                    <a:lnTo>
                      <a:pt x="0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97" name="Freeform 131">
                <a:extLst>
                  <a:ext uri="{FF2B5EF4-FFF2-40B4-BE49-F238E27FC236}">
                    <a16:creationId xmlns:a16="http://schemas.microsoft.com/office/drawing/2014/main" id="{B69FDCA7-9581-7746-9B00-C80DF7DF2385}"/>
                  </a:ext>
                </a:extLst>
              </p:cNvPr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auto">
              <a:xfrm>
                <a:off x="7073899" y="4237038"/>
                <a:ext cx="55563" cy="38100"/>
              </a:xfrm>
              <a:custGeom>
                <a:avLst/>
                <a:gdLst>
                  <a:gd name="T0" fmla="*/ 0 w 69"/>
                  <a:gd name="T1" fmla="*/ 2381 h 48"/>
                  <a:gd name="T2" fmla="*/ 0 w 69"/>
                  <a:gd name="T3" fmla="*/ 2381 h 48"/>
                  <a:gd name="T4" fmla="*/ 0 w 69"/>
                  <a:gd name="T5" fmla="*/ 5556 h 48"/>
                  <a:gd name="T6" fmla="*/ 7247 w 69"/>
                  <a:gd name="T7" fmla="*/ 9525 h 48"/>
                  <a:gd name="T8" fmla="*/ 10468 w 69"/>
                  <a:gd name="T9" fmla="*/ 5556 h 48"/>
                  <a:gd name="T10" fmla="*/ 14495 w 69"/>
                  <a:gd name="T11" fmla="*/ 0 h 48"/>
                  <a:gd name="T12" fmla="*/ 4026 w 69"/>
                  <a:gd name="T13" fmla="*/ 0 h 48"/>
                  <a:gd name="T14" fmla="*/ 0 w 69"/>
                  <a:gd name="T15" fmla="*/ 2381 h 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9"/>
                  <a:gd name="T25" fmla="*/ 0 h 48"/>
                  <a:gd name="T26" fmla="*/ 69 w 69"/>
                  <a:gd name="T27" fmla="*/ 48 h 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9" h="48">
                    <a:moveTo>
                      <a:pt x="0" y="15"/>
                    </a:moveTo>
                    <a:lnTo>
                      <a:pt x="0" y="15"/>
                    </a:lnTo>
                    <a:lnTo>
                      <a:pt x="0" y="31"/>
                    </a:lnTo>
                    <a:lnTo>
                      <a:pt x="34" y="48"/>
                    </a:lnTo>
                    <a:lnTo>
                      <a:pt x="52" y="31"/>
                    </a:lnTo>
                    <a:lnTo>
                      <a:pt x="69" y="0"/>
                    </a:lnTo>
                    <a:lnTo>
                      <a:pt x="17" y="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98" name="Freeform 132">
                <a:extLst>
                  <a:ext uri="{FF2B5EF4-FFF2-40B4-BE49-F238E27FC236}">
                    <a16:creationId xmlns:a16="http://schemas.microsoft.com/office/drawing/2014/main" id="{2CC4DD15-71A8-5045-B08D-ED4F50834E6A}"/>
                  </a:ext>
                </a:extLst>
              </p:cNvPr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7321549" y="4122738"/>
                <a:ext cx="41275" cy="63500"/>
              </a:xfrm>
              <a:custGeom>
                <a:avLst/>
                <a:gdLst>
                  <a:gd name="T0" fmla="*/ 0 w 52"/>
                  <a:gd name="T1" fmla="*/ 9646 h 79"/>
                  <a:gd name="T2" fmla="*/ 0 w 52"/>
                  <a:gd name="T3" fmla="*/ 9646 h 79"/>
                  <a:gd name="T4" fmla="*/ 0 w 52"/>
                  <a:gd name="T5" fmla="*/ 12861 h 79"/>
                  <a:gd name="T6" fmla="*/ 3969 w 52"/>
                  <a:gd name="T7" fmla="*/ 16076 h 79"/>
                  <a:gd name="T8" fmla="*/ 10319 w 52"/>
                  <a:gd name="T9" fmla="*/ 0 h 79"/>
                  <a:gd name="T10" fmla="*/ 7144 w 52"/>
                  <a:gd name="T11" fmla="*/ 0 h 79"/>
                  <a:gd name="T12" fmla="*/ 0 w 52"/>
                  <a:gd name="T13" fmla="*/ 9646 h 7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"/>
                  <a:gd name="T22" fmla="*/ 0 h 79"/>
                  <a:gd name="T23" fmla="*/ 52 w 52"/>
                  <a:gd name="T24" fmla="*/ 79 h 7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" h="79">
                    <a:moveTo>
                      <a:pt x="0" y="48"/>
                    </a:moveTo>
                    <a:lnTo>
                      <a:pt x="0" y="48"/>
                    </a:lnTo>
                    <a:lnTo>
                      <a:pt x="0" y="63"/>
                    </a:lnTo>
                    <a:lnTo>
                      <a:pt x="17" y="79"/>
                    </a:lnTo>
                    <a:lnTo>
                      <a:pt x="52" y="0"/>
                    </a:lnTo>
                    <a:lnTo>
                      <a:pt x="34" y="0"/>
                    </a:lnTo>
                    <a:lnTo>
                      <a:pt x="0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099" name="Freeform 133">
                <a:extLst>
                  <a:ext uri="{FF2B5EF4-FFF2-40B4-BE49-F238E27FC236}">
                    <a16:creationId xmlns:a16="http://schemas.microsoft.com/office/drawing/2014/main" id="{4ED8EF6D-892E-884D-BC09-7C8046D0A94A}"/>
                  </a:ext>
                </a:extLst>
              </p:cNvPr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auto">
              <a:xfrm>
                <a:off x="6784974" y="4529138"/>
                <a:ext cx="234950" cy="228600"/>
              </a:xfrm>
              <a:custGeom>
                <a:avLst/>
                <a:gdLst>
                  <a:gd name="T0" fmla="*/ 0 w 296"/>
                  <a:gd name="T1" fmla="*/ 0 h 288"/>
                  <a:gd name="T2" fmla="*/ 0 w 296"/>
                  <a:gd name="T3" fmla="*/ 0 h 288"/>
                  <a:gd name="T4" fmla="*/ 0 w 296"/>
                  <a:gd name="T5" fmla="*/ 3969 h 288"/>
                  <a:gd name="T6" fmla="*/ 7144 w 296"/>
                  <a:gd name="T7" fmla="*/ 9525 h 288"/>
                  <a:gd name="T8" fmla="*/ 14288 w 296"/>
                  <a:gd name="T9" fmla="*/ 15875 h 288"/>
                  <a:gd name="T10" fmla="*/ 17462 w 296"/>
                  <a:gd name="T11" fmla="*/ 19050 h 288"/>
                  <a:gd name="T12" fmla="*/ 20637 w 296"/>
                  <a:gd name="T13" fmla="*/ 26194 h 288"/>
                  <a:gd name="T14" fmla="*/ 27781 w 296"/>
                  <a:gd name="T15" fmla="*/ 31750 h 288"/>
                  <a:gd name="T16" fmla="*/ 34131 w 296"/>
                  <a:gd name="T17" fmla="*/ 44450 h 288"/>
                  <a:gd name="T18" fmla="*/ 48419 w 296"/>
                  <a:gd name="T19" fmla="*/ 57150 h 288"/>
                  <a:gd name="T20" fmla="*/ 55563 w 296"/>
                  <a:gd name="T21" fmla="*/ 57150 h 288"/>
                  <a:gd name="T22" fmla="*/ 58738 w 296"/>
                  <a:gd name="T23" fmla="*/ 44450 h 288"/>
                  <a:gd name="T24" fmla="*/ 55563 w 296"/>
                  <a:gd name="T25" fmla="*/ 38100 h 288"/>
                  <a:gd name="T26" fmla="*/ 52388 w 296"/>
                  <a:gd name="T27" fmla="*/ 38100 h 288"/>
                  <a:gd name="T28" fmla="*/ 48419 w 296"/>
                  <a:gd name="T29" fmla="*/ 31750 h 288"/>
                  <a:gd name="T30" fmla="*/ 44450 w 296"/>
                  <a:gd name="T31" fmla="*/ 31750 h 288"/>
                  <a:gd name="T32" fmla="*/ 44450 w 296"/>
                  <a:gd name="T33" fmla="*/ 28575 h 288"/>
                  <a:gd name="T34" fmla="*/ 41275 w 296"/>
                  <a:gd name="T35" fmla="*/ 26194 h 288"/>
                  <a:gd name="T36" fmla="*/ 41275 w 296"/>
                  <a:gd name="T37" fmla="*/ 22225 h 288"/>
                  <a:gd name="T38" fmla="*/ 30956 w 296"/>
                  <a:gd name="T39" fmla="*/ 15875 h 288"/>
                  <a:gd name="T40" fmla="*/ 27781 w 296"/>
                  <a:gd name="T41" fmla="*/ 15875 h 288"/>
                  <a:gd name="T42" fmla="*/ 10319 w 296"/>
                  <a:gd name="T43" fmla="*/ 3969 h 288"/>
                  <a:gd name="T44" fmla="*/ 0 w 296"/>
                  <a:gd name="T45" fmla="*/ 0 h 28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96"/>
                  <a:gd name="T70" fmla="*/ 0 h 288"/>
                  <a:gd name="T71" fmla="*/ 296 w 296"/>
                  <a:gd name="T72" fmla="*/ 288 h 28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96" h="288">
                    <a:moveTo>
                      <a:pt x="0" y="0"/>
                    </a:moveTo>
                    <a:lnTo>
                      <a:pt x="0" y="0"/>
                    </a:lnTo>
                    <a:lnTo>
                      <a:pt x="0" y="18"/>
                    </a:lnTo>
                    <a:lnTo>
                      <a:pt x="35" y="48"/>
                    </a:lnTo>
                    <a:lnTo>
                      <a:pt x="71" y="81"/>
                    </a:lnTo>
                    <a:lnTo>
                      <a:pt x="88" y="96"/>
                    </a:lnTo>
                    <a:lnTo>
                      <a:pt x="106" y="129"/>
                    </a:lnTo>
                    <a:lnTo>
                      <a:pt x="140" y="162"/>
                    </a:lnTo>
                    <a:lnTo>
                      <a:pt x="175" y="225"/>
                    </a:lnTo>
                    <a:lnTo>
                      <a:pt x="244" y="288"/>
                    </a:lnTo>
                    <a:lnTo>
                      <a:pt x="278" y="288"/>
                    </a:lnTo>
                    <a:lnTo>
                      <a:pt x="296" y="225"/>
                    </a:lnTo>
                    <a:lnTo>
                      <a:pt x="278" y="192"/>
                    </a:lnTo>
                    <a:lnTo>
                      <a:pt x="261" y="192"/>
                    </a:lnTo>
                    <a:lnTo>
                      <a:pt x="244" y="162"/>
                    </a:lnTo>
                    <a:lnTo>
                      <a:pt x="227" y="162"/>
                    </a:lnTo>
                    <a:lnTo>
                      <a:pt x="227" y="144"/>
                    </a:lnTo>
                    <a:lnTo>
                      <a:pt x="209" y="129"/>
                    </a:lnTo>
                    <a:lnTo>
                      <a:pt x="209" y="114"/>
                    </a:lnTo>
                    <a:lnTo>
                      <a:pt x="158" y="81"/>
                    </a:lnTo>
                    <a:lnTo>
                      <a:pt x="140" y="81"/>
                    </a:lnTo>
                    <a:lnTo>
                      <a:pt x="54" y="18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00" name="Freeform 134">
                <a:extLst>
                  <a:ext uri="{FF2B5EF4-FFF2-40B4-BE49-F238E27FC236}">
                    <a16:creationId xmlns:a16="http://schemas.microsoft.com/office/drawing/2014/main" id="{1975D8D4-D5B7-4149-A2FA-DB56893CB0FD}"/>
                  </a:ext>
                </a:extLst>
              </p:cNvPr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7005637" y="4757738"/>
                <a:ext cx="192088" cy="50800"/>
              </a:xfrm>
              <a:custGeom>
                <a:avLst/>
                <a:gdLst>
                  <a:gd name="T0" fmla="*/ 0 w 242"/>
                  <a:gd name="T1" fmla="*/ 3126 h 65"/>
                  <a:gd name="T2" fmla="*/ 0 w 242"/>
                  <a:gd name="T3" fmla="*/ 3126 h 65"/>
                  <a:gd name="T4" fmla="*/ 14288 w 242"/>
                  <a:gd name="T5" fmla="*/ 9378 h 65"/>
                  <a:gd name="T6" fmla="*/ 48419 w 242"/>
                  <a:gd name="T7" fmla="*/ 12505 h 65"/>
                  <a:gd name="T8" fmla="*/ 48419 w 242"/>
                  <a:gd name="T9" fmla="*/ 9378 h 65"/>
                  <a:gd name="T10" fmla="*/ 41275 w 242"/>
                  <a:gd name="T11" fmla="*/ 9378 h 65"/>
                  <a:gd name="T12" fmla="*/ 38100 w 242"/>
                  <a:gd name="T13" fmla="*/ 6252 h 65"/>
                  <a:gd name="T14" fmla="*/ 27781 w 242"/>
                  <a:gd name="T15" fmla="*/ 3126 h 65"/>
                  <a:gd name="T16" fmla="*/ 27781 w 242"/>
                  <a:gd name="T17" fmla="*/ 6252 h 65"/>
                  <a:gd name="T18" fmla="*/ 20638 w 242"/>
                  <a:gd name="T19" fmla="*/ 3126 h 65"/>
                  <a:gd name="T20" fmla="*/ 10319 w 242"/>
                  <a:gd name="T21" fmla="*/ 0 h 65"/>
                  <a:gd name="T22" fmla="*/ 3969 w 242"/>
                  <a:gd name="T23" fmla="*/ 0 h 65"/>
                  <a:gd name="T24" fmla="*/ 0 w 242"/>
                  <a:gd name="T25" fmla="*/ 3126 h 6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42"/>
                  <a:gd name="T40" fmla="*/ 0 h 65"/>
                  <a:gd name="T41" fmla="*/ 242 w 242"/>
                  <a:gd name="T42" fmla="*/ 65 h 6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42" h="65">
                    <a:moveTo>
                      <a:pt x="0" y="17"/>
                    </a:moveTo>
                    <a:lnTo>
                      <a:pt x="0" y="17"/>
                    </a:lnTo>
                    <a:lnTo>
                      <a:pt x="70" y="48"/>
                    </a:lnTo>
                    <a:lnTo>
                      <a:pt x="242" y="65"/>
                    </a:lnTo>
                    <a:lnTo>
                      <a:pt x="242" y="48"/>
                    </a:lnTo>
                    <a:lnTo>
                      <a:pt x="208" y="48"/>
                    </a:lnTo>
                    <a:lnTo>
                      <a:pt x="191" y="33"/>
                    </a:lnTo>
                    <a:lnTo>
                      <a:pt x="139" y="17"/>
                    </a:lnTo>
                    <a:lnTo>
                      <a:pt x="139" y="33"/>
                    </a:lnTo>
                    <a:lnTo>
                      <a:pt x="104" y="17"/>
                    </a:lnTo>
                    <a:lnTo>
                      <a:pt x="52" y="0"/>
                    </a:lnTo>
                    <a:lnTo>
                      <a:pt x="18" y="0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01" name="Freeform 135">
                <a:extLst>
                  <a:ext uri="{FF2B5EF4-FFF2-40B4-BE49-F238E27FC236}">
                    <a16:creationId xmlns:a16="http://schemas.microsoft.com/office/drawing/2014/main" id="{3E75BB6C-0404-2342-A96A-0E3F2CEC2C28}"/>
                  </a:ext>
                </a:extLst>
              </p:cNvPr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auto">
              <a:xfrm>
                <a:off x="7197724" y="4808538"/>
                <a:ext cx="28575" cy="0"/>
              </a:xfrm>
              <a:custGeom>
                <a:avLst/>
                <a:gdLst>
                  <a:gd name="T0" fmla="*/ 0 w 37"/>
                  <a:gd name="T1" fmla="*/ 0 w 37"/>
                  <a:gd name="T2" fmla="*/ 3089 w 37"/>
                  <a:gd name="T3" fmla="*/ 6951 w 37"/>
                  <a:gd name="T4" fmla="*/ 0 w 37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  <a:gd name="T10" fmla="*/ 0 w 37"/>
                  <a:gd name="T11" fmla="*/ 37 w 37"/>
                </a:gdLst>
                <a:ahLst/>
                <a:cxnLst>
                  <a:cxn ang="T5">
                    <a:pos x="T0" y="0"/>
                  </a:cxn>
                  <a:cxn ang="T6">
                    <a:pos x="T1" y="0"/>
                  </a:cxn>
                  <a:cxn ang="T7">
                    <a:pos x="T2" y="0"/>
                  </a:cxn>
                  <a:cxn ang="T8">
                    <a:pos x="T3" y="0"/>
                  </a:cxn>
                  <a:cxn ang="T9">
                    <a:pos x="T4" y="0"/>
                  </a:cxn>
                </a:cxnLst>
                <a:rect l="T10" t="0" r="T11" b="0"/>
                <a:pathLst>
                  <a:path w="37">
                    <a:moveTo>
                      <a:pt x="0" y="0"/>
                    </a:moveTo>
                    <a:lnTo>
                      <a:pt x="0" y="0"/>
                    </a:lnTo>
                    <a:lnTo>
                      <a:pt x="18" y="0"/>
                    </a:lnTo>
                    <a:lnTo>
                      <a:pt x="3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02" name="Freeform 136">
                <a:extLst>
                  <a:ext uri="{FF2B5EF4-FFF2-40B4-BE49-F238E27FC236}">
                    <a16:creationId xmlns:a16="http://schemas.microsoft.com/office/drawing/2014/main" id="{B6B2C5BA-F042-EA41-9FE0-BCD55D73BA7C}"/>
                  </a:ext>
                </a:extLst>
              </p:cNvPr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7005637" y="4668838"/>
                <a:ext cx="28575" cy="38100"/>
              </a:xfrm>
              <a:custGeom>
                <a:avLst/>
                <a:gdLst>
                  <a:gd name="T0" fmla="*/ 0 w 35"/>
                  <a:gd name="T1" fmla="*/ 2381 h 48"/>
                  <a:gd name="T2" fmla="*/ 0 w 35"/>
                  <a:gd name="T3" fmla="*/ 2381 h 48"/>
                  <a:gd name="T4" fmla="*/ 4082 w 35"/>
                  <a:gd name="T5" fmla="*/ 6350 h 48"/>
                  <a:gd name="T6" fmla="*/ 7348 w 35"/>
                  <a:gd name="T7" fmla="*/ 9525 h 48"/>
                  <a:gd name="T8" fmla="*/ 7348 w 35"/>
                  <a:gd name="T9" fmla="*/ 6350 h 48"/>
                  <a:gd name="T10" fmla="*/ 4082 w 35"/>
                  <a:gd name="T11" fmla="*/ 0 h 48"/>
                  <a:gd name="T12" fmla="*/ 0 w 35"/>
                  <a:gd name="T13" fmla="*/ 2381 h 4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5"/>
                  <a:gd name="T22" fmla="*/ 0 h 48"/>
                  <a:gd name="T23" fmla="*/ 35 w 35"/>
                  <a:gd name="T24" fmla="*/ 48 h 4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5" h="48">
                    <a:moveTo>
                      <a:pt x="0" y="15"/>
                    </a:moveTo>
                    <a:lnTo>
                      <a:pt x="0" y="15"/>
                    </a:lnTo>
                    <a:lnTo>
                      <a:pt x="18" y="32"/>
                    </a:lnTo>
                    <a:lnTo>
                      <a:pt x="35" y="48"/>
                    </a:lnTo>
                    <a:lnTo>
                      <a:pt x="35" y="32"/>
                    </a:lnTo>
                    <a:lnTo>
                      <a:pt x="18" y="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03" name="Freeform 137">
                <a:extLst>
                  <a:ext uri="{FF2B5EF4-FFF2-40B4-BE49-F238E27FC236}">
                    <a16:creationId xmlns:a16="http://schemas.microsoft.com/office/drawing/2014/main" id="{C1D0EA71-F944-3B42-9739-8951DF340914}"/>
                  </a:ext>
                </a:extLst>
              </p:cNvPr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auto">
              <a:xfrm>
                <a:off x="7046912" y="4694238"/>
                <a:ext cx="14288" cy="12700"/>
              </a:xfrm>
              <a:custGeom>
                <a:avLst/>
                <a:gdLst>
                  <a:gd name="T0" fmla="*/ 0 w 18"/>
                  <a:gd name="T1" fmla="*/ 3175 h 16"/>
                  <a:gd name="T2" fmla="*/ 0 w 18"/>
                  <a:gd name="T3" fmla="*/ 3175 h 16"/>
                  <a:gd name="T4" fmla="*/ 3969 w 18"/>
                  <a:gd name="T5" fmla="*/ 3175 h 16"/>
                  <a:gd name="T6" fmla="*/ 3969 w 18"/>
                  <a:gd name="T7" fmla="*/ 0 h 16"/>
                  <a:gd name="T8" fmla="*/ 0 w 18"/>
                  <a:gd name="T9" fmla="*/ 0 h 16"/>
                  <a:gd name="T10" fmla="*/ 0 w 18"/>
                  <a:gd name="T11" fmla="*/ 3175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"/>
                  <a:gd name="T19" fmla="*/ 0 h 16"/>
                  <a:gd name="T20" fmla="*/ 18 w 18"/>
                  <a:gd name="T21" fmla="*/ 16 h 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" h="16">
                    <a:moveTo>
                      <a:pt x="0" y="16"/>
                    </a:moveTo>
                    <a:lnTo>
                      <a:pt x="0" y="16"/>
                    </a:lnTo>
                    <a:lnTo>
                      <a:pt x="18" y="16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0" y="1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04" name="Freeform 138">
                <a:extLst>
                  <a:ext uri="{FF2B5EF4-FFF2-40B4-BE49-F238E27FC236}">
                    <a16:creationId xmlns:a16="http://schemas.microsoft.com/office/drawing/2014/main" id="{01CDD710-39E1-604E-B543-BC53DFFB32CB}"/>
                  </a:ext>
                </a:extLst>
              </p:cNvPr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7321549" y="4262438"/>
                <a:ext cx="82550" cy="114300"/>
              </a:xfrm>
              <a:custGeom>
                <a:avLst/>
                <a:gdLst>
                  <a:gd name="T0" fmla="*/ 0 w 104"/>
                  <a:gd name="T1" fmla="*/ 13588 h 143"/>
                  <a:gd name="T2" fmla="*/ 0 w 104"/>
                  <a:gd name="T3" fmla="*/ 13588 h 143"/>
                  <a:gd name="T4" fmla="*/ 0 w 104"/>
                  <a:gd name="T5" fmla="*/ 19183 h 143"/>
                  <a:gd name="T6" fmla="*/ 3969 w 104"/>
                  <a:gd name="T7" fmla="*/ 23180 h 143"/>
                  <a:gd name="T8" fmla="*/ 3969 w 104"/>
                  <a:gd name="T9" fmla="*/ 25578 h 143"/>
                  <a:gd name="T10" fmla="*/ 7144 w 104"/>
                  <a:gd name="T11" fmla="*/ 25578 h 143"/>
                  <a:gd name="T12" fmla="*/ 10319 w 104"/>
                  <a:gd name="T13" fmla="*/ 25578 h 143"/>
                  <a:gd name="T14" fmla="*/ 14288 w 104"/>
                  <a:gd name="T15" fmla="*/ 28775 h 143"/>
                  <a:gd name="T16" fmla="*/ 14288 w 104"/>
                  <a:gd name="T17" fmla="*/ 25578 h 143"/>
                  <a:gd name="T18" fmla="*/ 17463 w 104"/>
                  <a:gd name="T19" fmla="*/ 28775 h 143"/>
                  <a:gd name="T20" fmla="*/ 20638 w 104"/>
                  <a:gd name="T21" fmla="*/ 28775 h 143"/>
                  <a:gd name="T22" fmla="*/ 17463 w 104"/>
                  <a:gd name="T23" fmla="*/ 25578 h 143"/>
                  <a:gd name="T24" fmla="*/ 20638 w 104"/>
                  <a:gd name="T25" fmla="*/ 25578 h 143"/>
                  <a:gd name="T26" fmla="*/ 14288 w 104"/>
                  <a:gd name="T27" fmla="*/ 23180 h 143"/>
                  <a:gd name="T28" fmla="*/ 10319 w 104"/>
                  <a:gd name="T29" fmla="*/ 25578 h 143"/>
                  <a:gd name="T30" fmla="*/ 7144 w 104"/>
                  <a:gd name="T31" fmla="*/ 19183 h 143"/>
                  <a:gd name="T32" fmla="*/ 14288 w 104"/>
                  <a:gd name="T33" fmla="*/ 9592 h 143"/>
                  <a:gd name="T34" fmla="*/ 10319 w 104"/>
                  <a:gd name="T35" fmla="*/ 6394 h 143"/>
                  <a:gd name="T36" fmla="*/ 14288 w 104"/>
                  <a:gd name="T37" fmla="*/ 0 h 143"/>
                  <a:gd name="T38" fmla="*/ 10319 w 104"/>
                  <a:gd name="T39" fmla="*/ 3997 h 143"/>
                  <a:gd name="T40" fmla="*/ 3969 w 104"/>
                  <a:gd name="T41" fmla="*/ 0 h 143"/>
                  <a:gd name="T42" fmla="*/ 0 w 104"/>
                  <a:gd name="T43" fmla="*/ 13588 h 14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04"/>
                  <a:gd name="T67" fmla="*/ 0 h 143"/>
                  <a:gd name="T68" fmla="*/ 104 w 104"/>
                  <a:gd name="T69" fmla="*/ 143 h 14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04" h="143">
                    <a:moveTo>
                      <a:pt x="0" y="65"/>
                    </a:moveTo>
                    <a:lnTo>
                      <a:pt x="0" y="65"/>
                    </a:lnTo>
                    <a:lnTo>
                      <a:pt x="0" y="95"/>
                    </a:lnTo>
                    <a:lnTo>
                      <a:pt x="17" y="113"/>
                    </a:lnTo>
                    <a:lnTo>
                      <a:pt x="17" y="128"/>
                    </a:lnTo>
                    <a:lnTo>
                      <a:pt x="34" y="128"/>
                    </a:lnTo>
                    <a:lnTo>
                      <a:pt x="52" y="128"/>
                    </a:lnTo>
                    <a:lnTo>
                      <a:pt x="69" y="143"/>
                    </a:lnTo>
                    <a:lnTo>
                      <a:pt x="69" y="128"/>
                    </a:lnTo>
                    <a:lnTo>
                      <a:pt x="86" y="143"/>
                    </a:lnTo>
                    <a:lnTo>
                      <a:pt x="104" y="143"/>
                    </a:lnTo>
                    <a:lnTo>
                      <a:pt x="86" y="128"/>
                    </a:lnTo>
                    <a:lnTo>
                      <a:pt x="104" y="128"/>
                    </a:lnTo>
                    <a:lnTo>
                      <a:pt x="69" y="113"/>
                    </a:lnTo>
                    <a:lnTo>
                      <a:pt x="52" y="128"/>
                    </a:lnTo>
                    <a:lnTo>
                      <a:pt x="34" y="95"/>
                    </a:lnTo>
                    <a:lnTo>
                      <a:pt x="69" y="48"/>
                    </a:lnTo>
                    <a:lnTo>
                      <a:pt x="52" y="32"/>
                    </a:lnTo>
                    <a:lnTo>
                      <a:pt x="69" y="0"/>
                    </a:lnTo>
                    <a:lnTo>
                      <a:pt x="52" y="17"/>
                    </a:lnTo>
                    <a:lnTo>
                      <a:pt x="17" y="0"/>
                    </a:lnTo>
                    <a:lnTo>
                      <a:pt x="0" y="6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05" name="Freeform 139">
                <a:extLst>
                  <a:ext uri="{FF2B5EF4-FFF2-40B4-BE49-F238E27FC236}">
                    <a16:creationId xmlns:a16="http://schemas.microsoft.com/office/drawing/2014/main" id="{3E6EEDB7-2EEE-F045-ADCB-E76BE8B0CA87}"/>
                  </a:ext>
                </a:extLst>
              </p:cNvPr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auto">
              <a:xfrm>
                <a:off x="7254874" y="4414838"/>
                <a:ext cx="53975" cy="63500"/>
              </a:xfrm>
              <a:custGeom>
                <a:avLst/>
                <a:gdLst>
                  <a:gd name="T0" fmla="*/ 0 w 69"/>
                  <a:gd name="T1" fmla="*/ 15679 h 81"/>
                  <a:gd name="T2" fmla="*/ 0 w 69"/>
                  <a:gd name="T3" fmla="*/ 15679 h 81"/>
                  <a:gd name="T4" fmla="*/ 13298 w 69"/>
                  <a:gd name="T5" fmla="*/ 3136 h 81"/>
                  <a:gd name="T6" fmla="*/ 13298 w 69"/>
                  <a:gd name="T7" fmla="*/ 0 h 81"/>
                  <a:gd name="T8" fmla="*/ 0 w 69"/>
                  <a:gd name="T9" fmla="*/ 15679 h 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9"/>
                  <a:gd name="T16" fmla="*/ 0 h 81"/>
                  <a:gd name="T17" fmla="*/ 69 w 69"/>
                  <a:gd name="T18" fmla="*/ 81 h 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9" h="81">
                    <a:moveTo>
                      <a:pt x="0" y="81"/>
                    </a:moveTo>
                    <a:lnTo>
                      <a:pt x="0" y="81"/>
                    </a:lnTo>
                    <a:lnTo>
                      <a:pt x="69" y="18"/>
                    </a:lnTo>
                    <a:lnTo>
                      <a:pt x="69" y="0"/>
                    </a:lnTo>
                    <a:lnTo>
                      <a:pt x="0" y="81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06" name="Freeform 140">
                <a:extLst>
                  <a:ext uri="{FF2B5EF4-FFF2-40B4-BE49-F238E27FC236}">
                    <a16:creationId xmlns:a16="http://schemas.microsoft.com/office/drawing/2014/main" id="{4A0B2768-7C6A-2C44-BA44-3CFD295E5C05}"/>
                  </a:ext>
                </a:extLst>
              </p:cNvPr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auto">
              <a:xfrm>
                <a:off x="7321549" y="4376738"/>
                <a:ext cx="28575" cy="25400"/>
              </a:xfrm>
              <a:custGeom>
                <a:avLst/>
                <a:gdLst>
                  <a:gd name="T0" fmla="*/ 0 w 36"/>
                  <a:gd name="T1" fmla="*/ 0 h 33"/>
                  <a:gd name="T2" fmla="*/ 0 w 36"/>
                  <a:gd name="T3" fmla="*/ 0 h 33"/>
                  <a:gd name="T4" fmla="*/ 7144 w 36"/>
                  <a:gd name="T5" fmla="*/ 6158 h 33"/>
                  <a:gd name="T6" fmla="*/ 7144 w 36"/>
                  <a:gd name="T7" fmla="*/ 3079 h 33"/>
                  <a:gd name="T8" fmla="*/ 7144 w 36"/>
                  <a:gd name="T9" fmla="*/ 0 h 33"/>
                  <a:gd name="T10" fmla="*/ 0 w 36"/>
                  <a:gd name="T11" fmla="*/ 0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6"/>
                  <a:gd name="T19" fmla="*/ 0 h 33"/>
                  <a:gd name="T20" fmla="*/ 36 w 36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6" h="33">
                    <a:moveTo>
                      <a:pt x="0" y="0"/>
                    </a:moveTo>
                    <a:lnTo>
                      <a:pt x="0" y="0"/>
                    </a:lnTo>
                    <a:lnTo>
                      <a:pt x="36" y="33"/>
                    </a:lnTo>
                    <a:lnTo>
                      <a:pt x="36" y="18"/>
                    </a:lnTo>
                    <a:lnTo>
                      <a:pt x="36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07" name="Freeform 141">
                <a:extLst>
                  <a:ext uri="{FF2B5EF4-FFF2-40B4-BE49-F238E27FC236}">
                    <a16:creationId xmlns:a16="http://schemas.microsoft.com/office/drawing/2014/main" id="{CE34DE5C-B28D-9341-A2D3-D2E20EA3980A}"/>
                  </a:ext>
                </a:extLst>
              </p:cNvPr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auto">
              <a:xfrm>
                <a:off x="7362824" y="4402138"/>
                <a:ext cx="55563" cy="63500"/>
              </a:xfrm>
              <a:custGeom>
                <a:avLst/>
                <a:gdLst>
                  <a:gd name="T0" fmla="*/ 0 w 71"/>
                  <a:gd name="T1" fmla="*/ 6272 h 81"/>
                  <a:gd name="T2" fmla="*/ 0 w 71"/>
                  <a:gd name="T3" fmla="*/ 6272 h 81"/>
                  <a:gd name="T4" fmla="*/ 3130 w 71"/>
                  <a:gd name="T5" fmla="*/ 6272 h 81"/>
                  <a:gd name="T6" fmla="*/ 3130 w 71"/>
                  <a:gd name="T7" fmla="*/ 9407 h 81"/>
                  <a:gd name="T8" fmla="*/ 7043 w 71"/>
                  <a:gd name="T9" fmla="*/ 15679 h 81"/>
                  <a:gd name="T10" fmla="*/ 7043 w 71"/>
                  <a:gd name="T11" fmla="*/ 11759 h 81"/>
                  <a:gd name="T12" fmla="*/ 7043 w 71"/>
                  <a:gd name="T13" fmla="*/ 9407 h 81"/>
                  <a:gd name="T14" fmla="*/ 13304 w 71"/>
                  <a:gd name="T15" fmla="*/ 11759 h 81"/>
                  <a:gd name="T16" fmla="*/ 13304 w 71"/>
                  <a:gd name="T17" fmla="*/ 9407 h 81"/>
                  <a:gd name="T18" fmla="*/ 10174 w 71"/>
                  <a:gd name="T19" fmla="*/ 9407 h 81"/>
                  <a:gd name="T20" fmla="*/ 10174 w 71"/>
                  <a:gd name="T21" fmla="*/ 2352 h 81"/>
                  <a:gd name="T22" fmla="*/ 7043 w 71"/>
                  <a:gd name="T23" fmla="*/ 6272 h 81"/>
                  <a:gd name="T24" fmla="*/ 7043 w 71"/>
                  <a:gd name="T25" fmla="*/ 2352 h 81"/>
                  <a:gd name="T26" fmla="*/ 3130 w 71"/>
                  <a:gd name="T27" fmla="*/ 0 h 81"/>
                  <a:gd name="T28" fmla="*/ 0 w 71"/>
                  <a:gd name="T29" fmla="*/ 0 h 81"/>
                  <a:gd name="T30" fmla="*/ 0 w 71"/>
                  <a:gd name="T31" fmla="*/ 6272 h 8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1"/>
                  <a:gd name="T49" fmla="*/ 0 h 81"/>
                  <a:gd name="T50" fmla="*/ 71 w 71"/>
                  <a:gd name="T51" fmla="*/ 81 h 8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1" h="81">
                    <a:moveTo>
                      <a:pt x="0" y="33"/>
                    </a:moveTo>
                    <a:lnTo>
                      <a:pt x="0" y="33"/>
                    </a:lnTo>
                    <a:lnTo>
                      <a:pt x="19" y="33"/>
                    </a:lnTo>
                    <a:lnTo>
                      <a:pt x="19" y="48"/>
                    </a:lnTo>
                    <a:lnTo>
                      <a:pt x="36" y="81"/>
                    </a:lnTo>
                    <a:lnTo>
                      <a:pt x="36" y="63"/>
                    </a:lnTo>
                    <a:lnTo>
                      <a:pt x="36" y="48"/>
                    </a:lnTo>
                    <a:lnTo>
                      <a:pt x="71" y="63"/>
                    </a:lnTo>
                    <a:lnTo>
                      <a:pt x="71" y="48"/>
                    </a:lnTo>
                    <a:lnTo>
                      <a:pt x="53" y="48"/>
                    </a:lnTo>
                    <a:lnTo>
                      <a:pt x="53" y="15"/>
                    </a:lnTo>
                    <a:lnTo>
                      <a:pt x="36" y="33"/>
                    </a:lnTo>
                    <a:lnTo>
                      <a:pt x="36" y="15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0" y="3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08" name="Freeform 142">
                <a:extLst>
                  <a:ext uri="{FF2B5EF4-FFF2-40B4-BE49-F238E27FC236}">
                    <a16:creationId xmlns:a16="http://schemas.microsoft.com/office/drawing/2014/main" id="{0D1EC499-E903-FE43-A633-E78EC04110CB}"/>
                  </a:ext>
                </a:extLst>
              </p:cNvPr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auto">
              <a:xfrm>
                <a:off x="7362824" y="4440238"/>
                <a:ext cx="96838" cy="88900"/>
              </a:xfrm>
              <a:custGeom>
                <a:avLst/>
                <a:gdLst>
                  <a:gd name="T0" fmla="*/ 0 w 123"/>
                  <a:gd name="T1" fmla="*/ 16819 h 111"/>
                  <a:gd name="T2" fmla="*/ 0 w 123"/>
                  <a:gd name="T3" fmla="*/ 16819 h 111"/>
                  <a:gd name="T4" fmla="*/ 3149 w 123"/>
                  <a:gd name="T5" fmla="*/ 12814 h 111"/>
                  <a:gd name="T6" fmla="*/ 7086 w 123"/>
                  <a:gd name="T7" fmla="*/ 12814 h 111"/>
                  <a:gd name="T8" fmla="*/ 10235 w 123"/>
                  <a:gd name="T9" fmla="*/ 12814 h 111"/>
                  <a:gd name="T10" fmla="*/ 13384 w 123"/>
                  <a:gd name="T11" fmla="*/ 12814 h 111"/>
                  <a:gd name="T12" fmla="*/ 10235 w 123"/>
                  <a:gd name="T13" fmla="*/ 19222 h 111"/>
                  <a:gd name="T14" fmla="*/ 17321 w 123"/>
                  <a:gd name="T15" fmla="*/ 22425 h 111"/>
                  <a:gd name="T16" fmla="*/ 20470 w 123"/>
                  <a:gd name="T17" fmla="*/ 19222 h 111"/>
                  <a:gd name="T18" fmla="*/ 17321 w 123"/>
                  <a:gd name="T19" fmla="*/ 16819 h 111"/>
                  <a:gd name="T20" fmla="*/ 20470 w 123"/>
                  <a:gd name="T21" fmla="*/ 12814 h 111"/>
                  <a:gd name="T22" fmla="*/ 23619 w 123"/>
                  <a:gd name="T23" fmla="*/ 19222 h 111"/>
                  <a:gd name="T24" fmla="*/ 23619 w 123"/>
                  <a:gd name="T25" fmla="*/ 12814 h 111"/>
                  <a:gd name="T26" fmla="*/ 23619 w 123"/>
                  <a:gd name="T27" fmla="*/ 7208 h 111"/>
                  <a:gd name="T28" fmla="*/ 17321 w 123"/>
                  <a:gd name="T29" fmla="*/ 0 h 111"/>
                  <a:gd name="T30" fmla="*/ 17321 w 123"/>
                  <a:gd name="T31" fmla="*/ 7208 h 111"/>
                  <a:gd name="T32" fmla="*/ 13384 w 123"/>
                  <a:gd name="T33" fmla="*/ 7208 h 111"/>
                  <a:gd name="T34" fmla="*/ 10235 w 123"/>
                  <a:gd name="T35" fmla="*/ 9611 h 111"/>
                  <a:gd name="T36" fmla="*/ 7086 w 123"/>
                  <a:gd name="T37" fmla="*/ 7208 h 111"/>
                  <a:gd name="T38" fmla="*/ 0 w 123"/>
                  <a:gd name="T39" fmla="*/ 12814 h 111"/>
                  <a:gd name="T40" fmla="*/ 0 w 123"/>
                  <a:gd name="T41" fmla="*/ 16819 h 11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23"/>
                  <a:gd name="T64" fmla="*/ 0 h 111"/>
                  <a:gd name="T65" fmla="*/ 123 w 123"/>
                  <a:gd name="T66" fmla="*/ 111 h 11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23" h="111">
                    <a:moveTo>
                      <a:pt x="0" y="81"/>
                    </a:moveTo>
                    <a:lnTo>
                      <a:pt x="0" y="81"/>
                    </a:lnTo>
                    <a:lnTo>
                      <a:pt x="19" y="63"/>
                    </a:lnTo>
                    <a:lnTo>
                      <a:pt x="36" y="63"/>
                    </a:lnTo>
                    <a:lnTo>
                      <a:pt x="53" y="63"/>
                    </a:lnTo>
                    <a:lnTo>
                      <a:pt x="71" y="63"/>
                    </a:lnTo>
                    <a:lnTo>
                      <a:pt x="53" y="96"/>
                    </a:lnTo>
                    <a:lnTo>
                      <a:pt x="88" y="111"/>
                    </a:lnTo>
                    <a:lnTo>
                      <a:pt x="105" y="96"/>
                    </a:lnTo>
                    <a:lnTo>
                      <a:pt x="88" y="81"/>
                    </a:lnTo>
                    <a:lnTo>
                      <a:pt x="105" y="63"/>
                    </a:lnTo>
                    <a:lnTo>
                      <a:pt x="123" y="96"/>
                    </a:lnTo>
                    <a:lnTo>
                      <a:pt x="123" y="63"/>
                    </a:lnTo>
                    <a:lnTo>
                      <a:pt x="123" y="33"/>
                    </a:lnTo>
                    <a:lnTo>
                      <a:pt x="88" y="0"/>
                    </a:lnTo>
                    <a:lnTo>
                      <a:pt x="88" y="33"/>
                    </a:lnTo>
                    <a:lnTo>
                      <a:pt x="71" y="33"/>
                    </a:lnTo>
                    <a:lnTo>
                      <a:pt x="53" y="48"/>
                    </a:lnTo>
                    <a:lnTo>
                      <a:pt x="36" y="33"/>
                    </a:lnTo>
                    <a:lnTo>
                      <a:pt x="0" y="63"/>
                    </a:lnTo>
                    <a:lnTo>
                      <a:pt x="0" y="81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09" name="Line 143">
                <a:extLst>
                  <a:ext uri="{FF2B5EF4-FFF2-40B4-BE49-F238E27FC236}">
                    <a16:creationId xmlns:a16="http://schemas.microsoft.com/office/drawing/2014/main" id="{1DE3C877-F63F-0E41-8308-C9BAD6B98C05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71"/>
                </p:custDataLst>
              </p:nvPr>
            </p:nvSpPr>
            <p:spPr bwMode="auto">
              <a:xfrm>
                <a:off x="6737349" y="4395788"/>
                <a:ext cx="0" cy="127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10" name="Line 144">
                <a:extLst>
                  <a:ext uri="{FF2B5EF4-FFF2-40B4-BE49-F238E27FC236}">
                    <a16:creationId xmlns:a16="http://schemas.microsoft.com/office/drawing/2014/main" id="{A861B9FC-E51B-9A46-B7B8-5C71D0DB802F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72"/>
                </p:custDataLst>
              </p:nvPr>
            </p:nvSpPr>
            <p:spPr bwMode="auto">
              <a:xfrm flipV="1">
                <a:off x="7494587" y="4090988"/>
                <a:ext cx="12700" cy="381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11" name="Line 145">
                <a:extLst>
                  <a:ext uri="{FF2B5EF4-FFF2-40B4-BE49-F238E27FC236}">
                    <a16:creationId xmlns:a16="http://schemas.microsoft.com/office/drawing/2014/main" id="{48C110C6-17A3-1445-A35F-553412679C5C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73"/>
                </p:custDataLst>
              </p:nvPr>
            </p:nvSpPr>
            <p:spPr bwMode="auto">
              <a:xfrm flipV="1">
                <a:off x="7527924" y="4059238"/>
                <a:ext cx="0" cy="254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12" name="Freeform 146">
                <a:extLst>
                  <a:ext uri="{FF2B5EF4-FFF2-40B4-BE49-F238E27FC236}">
                    <a16:creationId xmlns:a16="http://schemas.microsoft.com/office/drawing/2014/main" id="{DEAF4616-EA55-364A-B92C-30F1804A8DAA}"/>
                  </a:ext>
                </a:extLst>
              </p:cNvPr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auto">
              <a:xfrm>
                <a:off x="7418387" y="4389438"/>
                <a:ext cx="28575" cy="50800"/>
              </a:xfrm>
              <a:custGeom>
                <a:avLst/>
                <a:gdLst>
                  <a:gd name="T0" fmla="*/ 0 w 34"/>
                  <a:gd name="T1" fmla="*/ 0 h 63"/>
                  <a:gd name="T2" fmla="*/ 0 w 34"/>
                  <a:gd name="T3" fmla="*/ 0 h 63"/>
                  <a:gd name="T4" fmla="*/ 4202 w 34"/>
                  <a:gd name="T5" fmla="*/ 3225 h 63"/>
                  <a:gd name="T6" fmla="*/ 0 w 34"/>
                  <a:gd name="T7" fmla="*/ 6451 h 63"/>
                  <a:gd name="T8" fmla="*/ 0 w 34"/>
                  <a:gd name="T9" fmla="*/ 9676 h 63"/>
                  <a:gd name="T10" fmla="*/ 0 w 34"/>
                  <a:gd name="T11" fmla="*/ 12902 h 63"/>
                  <a:gd name="T12" fmla="*/ 4202 w 34"/>
                  <a:gd name="T13" fmla="*/ 12902 h 63"/>
                  <a:gd name="T14" fmla="*/ 4202 w 34"/>
                  <a:gd name="T15" fmla="*/ 6451 h 63"/>
                  <a:gd name="T16" fmla="*/ 8404 w 34"/>
                  <a:gd name="T17" fmla="*/ 6451 h 63"/>
                  <a:gd name="T18" fmla="*/ 4202 w 34"/>
                  <a:gd name="T19" fmla="*/ 3225 h 63"/>
                  <a:gd name="T20" fmla="*/ 4202 w 34"/>
                  <a:gd name="T21" fmla="*/ 0 h 63"/>
                  <a:gd name="T22" fmla="*/ 0 w 34"/>
                  <a:gd name="T23" fmla="*/ 0 h 6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4"/>
                  <a:gd name="T37" fmla="*/ 0 h 63"/>
                  <a:gd name="T38" fmla="*/ 34 w 34"/>
                  <a:gd name="T39" fmla="*/ 63 h 6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4" h="63">
                    <a:moveTo>
                      <a:pt x="0" y="0"/>
                    </a:moveTo>
                    <a:lnTo>
                      <a:pt x="0" y="0"/>
                    </a:lnTo>
                    <a:lnTo>
                      <a:pt x="17" y="15"/>
                    </a:lnTo>
                    <a:lnTo>
                      <a:pt x="0" y="30"/>
                    </a:lnTo>
                    <a:lnTo>
                      <a:pt x="0" y="48"/>
                    </a:lnTo>
                    <a:lnTo>
                      <a:pt x="0" y="63"/>
                    </a:lnTo>
                    <a:lnTo>
                      <a:pt x="17" y="63"/>
                    </a:lnTo>
                    <a:lnTo>
                      <a:pt x="17" y="30"/>
                    </a:lnTo>
                    <a:lnTo>
                      <a:pt x="34" y="30"/>
                    </a:lnTo>
                    <a:lnTo>
                      <a:pt x="17" y="15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13" name="Freeform 147">
                <a:extLst>
                  <a:ext uri="{FF2B5EF4-FFF2-40B4-BE49-F238E27FC236}">
                    <a16:creationId xmlns:a16="http://schemas.microsoft.com/office/drawing/2014/main" id="{CDA32DC7-4C11-474C-80EF-F9E386BAD8D7}"/>
                  </a:ext>
                </a:extLst>
              </p:cNvPr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auto">
              <a:xfrm>
                <a:off x="6940549" y="4351338"/>
                <a:ext cx="104775" cy="74613"/>
              </a:xfrm>
              <a:custGeom>
                <a:avLst/>
                <a:gdLst>
                  <a:gd name="T0" fmla="*/ 2922 w 251"/>
                  <a:gd name="T1" fmla="*/ 5543 h 175"/>
                  <a:gd name="T2" fmla="*/ 2922 w 251"/>
                  <a:gd name="T3" fmla="*/ 5543 h 175"/>
                  <a:gd name="T4" fmla="*/ 4592 w 251"/>
                  <a:gd name="T5" fmla="*/ 4264 h 175"/>
                  <a:gd name="T6" fmla="*/ 5427 w 251"/>
                  <a:gd name="T7" fmla="*/ 3411 h 175"/>
                  <a:gd name="T8" fmla="*/ 7096 w 251"/>
                  <a:gd name="T9" fmla="*/ 2558 h 175"/>
                  <a:gd name="T10" fmla="*/ 7096 w 251"/>
                  <a:gd name="T11" fmla="*/ 0 h 175"/>
                  <a:gd name="T12" fmla="*/ 5427 w 251"/>
                  <a:gd name="T13" fmla="*/ 0 h 175"/>
                  <a:gd name="T14" fmla="*/ 5427 w 251"/>
                  <a:gd name="T15" fmla="*/ 853 h 175"/>
                  <a:gd name="T16" fmla="*/ 4592 w 251"/>
                  <a:gd name="T17" fmla="*/ 0 h 175"/>
                  <a:gd name="T18" fmla="*/ 835 w 251"/>
                  <a:gd name="T19" fmla="*/ 0 h 175"/>
                  <a:gd name="T20" fmla="*/ 0 w 251"/>
                  <a:gd name="T21" fmla="*/ 1705 h 175"/>
                  <a:gd name="T22" fmla="*/ 835 w 251"/>
                  <a:gd name="T23" fmla="*/ 3411 h 175"/>
                  <a:gd name="T24" fmla="*/ 835 w 251"/>
                  <a:gd name="T25" fmla="*/ 4264 h 175"/>
                  <a:gd name="T26" fmla="*/ 835 w 251"/>
                  <a:gd name="T27" fmla="*/ 5543 h 175"/>
                  <a:gd name="T28" fmla="*/ 2922 w 251"/>
                  <a:gd name="T29" fmla="*/ 5543 h 17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51"/>
                  <a:gd name="T46" fmla="*/ 0 h 175"/>
                  <a:gd name="T47" fmla="*/ 251 w 251"/>
                  <a:gd name="T48" fmla="*/ 175 h 17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51" h="175">
                    <a:moveTo>
                      <a:pt x="94" y="175"/>
                    </a:moveTo>
                    <a:lnTo>
                      <a:pt x="94" y="175"/>
                    </a:lnTo>
                    <a:lnTo>
                      <a:pt x="157" y="146"/>
                    </a:lnTo>
                    <a:lnTo>
                      <a:pt x="188" y="117"/>
                    </a:lnTo>
                    <a:lnTo>
                      <a:pt x="251" y="89"/>
                    </a:lnTo>
                    <a:lnTo>
                      <a:pt x="251" y="0"/>
                    </a:lnTo>
                    <a:lnTo>
                      <a:pt x="188" y="0"/>
                    </a:lnTo>
                    <a:lnTo>
                      <a:pt x="188" y="31"/>
                    </a:lnTo>
                    <a:lnTo>
                      <a:pt x="157" y="0"/>
                    </a:lnTo>
                    <a:lnTo>
                      <a:pt x="30" y="0"/>
                    </a:lnTo>
                    <a:lnTo>
                      <a:pt x="0" y="60"/>
                    </a:lnTo>
                    <a:lnTo>
                      <a:pt x="30" y="117"/>
                    </a:lnTo>
                    <a:lnTo>
                      <a:pt x="30" y="146"/>
                    </a:lnTo>
                    <a:lnTo>
                      <a:pt x="30" y="175"/>
                    </a:lnTo>
                    <a:lnTo>
                      <a:pt x="94" y="17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14" name="Freeform 148">
                <a:extLst>
                  <a:ext uri="{FF2B5EF4-FFF2-40B4-BE49-F238E27FC236}">
                    <a16:creationId xmlns:a16="http://schemas.microsoft.com/office/drawing/2014/main" id="{D004308B-AF5D-ED4D-9923-9153183F723C}"/>
                  </a:ext>
                </a:extLst>
              </p:cNvPr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auto">
              <a:xfrm>
                <a:off x="6619874" y="4097338"/>
                <a:ext cx="111125" cy="114300"/>
              </a:xfrm>
              <a:custGeom>
                <a:avLst/>
                <a:gdLst>
                  <a:gd name="T0" fmla="*/ 27781 w 140"/>
                  <a:gd name="T1" fmla="*/ 26194 h 144"/>
                  <a:gd name="T2" fmla="*/ 27781 w 140"/>
                  <a:gd name="T3" fmla="*/ 26194 h 144"/>
                  <a:gd name="T4" fmla="*/ 23812 w 140"/>
                  <a:gd name="T5" fmla="*/ 15875 h 144"/>
                  <a:gd name="T6" fmla="*/ 23812 w 140"/>
                  <a:gd name="T7" fmla="*/ 12700 h 144"/>
                  <a:gd name="T8" fmla="*/ 20637 w 140"/>
                  <a:gd name="T9" fmla="*/ 15875 h 144"/>
                  <a:gd name="T10" fmla="*/ 17462 w 140"/>
                  <a:gd name="T11" fmla="*/ 15875 h 144"/>
                  <a:gd name="T12" fmla="*/ 17462 w 140"/>
                  <a:gd name="T13" fmla="*/ 12700 h 144"/>
                  <a:gd name="T14" fmla="*/ 23812 w 140"/>
                  <a:gd name="T15" fmla="*/ 7144 h 144"/>
                  <a:gd name="T16" fmla="*/ 10319 w 140"/>
                  <a:gd name="T17" fmla="*/ 7144 h 144"/>
                  <a:gd name="T18" fmla="*/ 10319 w 140"/>
                  <a:gd name="T19" fmla="*/ 0 h 144"/>
                  <a:gd name="T20" fmla="*/ 7144 w 140"/>
                  <a:gd name="T21" fmla="*/ 0 h 144"/>
                  <a:gd name="T22" fmla="*/ 3175 w 140"/>
                  <a:gd name="T23" fmla="*/ 0 h 144"/>
                  <a:gd name="T24" fmla="*/ 3175 w 140"/>
                  <a:gd name="T25" fmla="*/ 3175 h 144"/>
                  <a:gd name="T26" fmla="*/ 0 w 140"/>
                  <a:gd name="T27" fmla="*/ 9525 h 144"/>
                  <a:gd name="T28" fmla="*/ 3175 w 140"/>
                  <a:gd name="T29" fmla="*/ 9525 h 144"/>
                  <a:gd name="T30" fmla="*/ 7144 w 140"/>
                  <a:gd name="T31" fmla="*/ 26194 h 144"/>
                  <a:gd name="T32" fmla="*/ 14287 w 140"/>
                  <a:gd name="T33" fmla="*/ 26194 h 144"/>
                  <a:gd name="T34" fmla="*/ 20637 w 140"/>
                  <a:gd name="T35" fmla="*/ 19050 h 144"/>
                  <a:gd name="T36" fmla="*/ 23812 w 140"/>
                  <a:gd name="T37" fmla="*/ 28575 h 144"/>
                  <a:gd name="T38" fmla="*/ 27781 w 140"/>
                  <a:gd name="T39" fmla="*/ 26194 h 14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40"/>
                  <a:gd name="T61" fmla="*/ 0 h 144"/>
                  <a:gd name="T62" fmla="*/ 140 w 140"/>
                  <a:gd name="T63" fmla="*/ 144 h 14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40" h="144">
                    <a:moveTo>
                      <a:pt x="140" y="129"/>
                    </a:moveTo>
                    <a:lnTo>
                      <a:pt x="140" y="129"/>
                    </a:lnTo>
                    <a:lnTo>
                      <a:pt x="123" y="81"/>
                    </a:lnTo>
                    <a:lnTo>
                      <a:pt x="123" y="64"/>
                    </a:lnTo>
                    <a:lnTo>
                      <a:pt x="105" y="81"/>
                    </a:lnTo>
                    <a:lnTo>
                      <a:pt x="88" y="81"/>
                    </a:lnTo>
                    <a:lnTo>
                      <a:pt x="88" y="64"/>
                    </a:lnTo>
                    <a:lnTo>
                      <a:pt x="123" y="33"/>
                    </a:lnTo>
                    <a:lnTo>
                      <a:pt x="52" y="33"/>
                    </a:lnTo>
                    <a:lnTo>
                      <a:pt x="52" y="0"/>
                    </a:lnTo>
                    <a:lnTo>
                      <a:pt x="34" y="0"/>
                    </a:lnTo>
                    <a:lnTo>
                      <a:pt x="17" y="0"/>
                    </a:lnTo>
                    <a:lnTo>
                      <a:pt x="17" y="16"/>
                    </a:lnTo>
                    <a:lnTo>
                      <a:pt x="0" y="48"/>
                    </a:lnTo>
                    <a:lnTo>
                      <a:pt x="17" y="48"/>
                    </a:lnTo>
                    <a:lnTo>
                      <a:pt x="34" y="129"/>
                    </a:lnTo>
                    <a:lnTo>
                      <a:pt x="69" y="129"/>
                    </a:lnTo>
                    <a:lnTo>
                      <a:pt x="105" y="96"/>
                    </a:lnTo>
                    <a:lnTo>
                      <a:pt x="123" y="144"/>
                    </a:lnTo>
                    <a:lnTo>
                      <a:pt x="140" y="129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15" name="Freeform 149">
                <a:extLst>
                  <a:ext uri="{FF2B5EF4-FFF2-40B4-BE49-F238E27FC236}">
                    <a16:creationId xmlns:a16="http://schemas.microsoft.com/office/drawing/2014/main" id="{7170B0A7-A937-1C48-89AA-E46D16CAF84D}"/>
                  </a:ext>
                </a:extLst>
              </p:cNvPr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auto">
              <a:xfrm>
                <a:off x="6718299" y="4059238"/>
                <a:ext cx="190500" cy="393700"/>
              </a:xfrm>
              <a:custGeom>
                <a:avLst/>
                <a:gdLst>
                  <a:gd name="T0" fmla="*/ 34131 w 240"/>
                  <a:gd name="T1" fmla="*/ 98624 h 495"/>
                  <a:gd name="T2" fmla="*/ 34131 w 240"/>
                  <a:gd name="T3" fmla="*/ 98624 h 495"/>
                  <a:gd name="T4" fmla="*/ 41275 w 240"/>
                  <a:gd name="T5" fmla="*/ 85898 h 495"/>
                  <a:gd name="T6" fmla="*/ 38100 w 240"/>
                  <a:gd name="T7" fmla="*/ 76354 h 495"/>
                  <a:gd name="T8" fmla="*/ 34131 w 240"/>
                  <a:gd name="T9" fmla="*/ 69991 h 495"/>
                  <a:gd name="T10" fmla="*/ 34131 w 240"/>
                  <a:gd name="T11" fmla="*/ 64424 h 495"/>
                  <a:gd name="T12" fmla="*/ 30956 w 240"/>
                  <a:gd name="T13" fmla="*/ 54879 h 495"/>
                  <a:gd name="T14" fmla="*/ 30956 w 240"/>
                  <a:gd name="T15" fmla="*/ 47721 h 495"/>
                  <a:gd name="T16" fmla="*/ 44450 w 240"/>
                  <a:gd name="T17" fmla="*/ 41358 h 495"/>
                  <a:gd name="T18" fmla="*/ 47625 w 240"/>
                  <a:gd name="T19" fmla="*/ 35791 h 495"/>
                  <a:gd name="T20" fmla="*/ 44450 w 240"/>
                  <a:gd name="T21" fmla="*/ 35791 h 495"/>
                  <a:gd name="T22" fmla="*/ 38100 w 240"/>
                  <a:gd name="T23" fmla="*/ 31814 h 495"/>
                  <a:gd name="T24" fmla="*/ 38100 w 240"/>
                  <a:gd name="T25" fmla="*/ 28633 h 495"/>
                  <a:gd name="T26" fmla="*/ 38100 w 240"/>
                  <a:gd name="T27" fmla="*/ 26247 h 495"/>
                  <a:gd name="T28" fmla="*/ 34131 w 240"/>
                  <a:gd name="T29" fmla="*/ 22270 h 495"/>
                  <a:gd name="T30" fmla="*/ 30956 w 240"/>
                  <a:gd name="T31" fmla="*/ 22270 h 495"/>
                  <a:gd name="T32" fmla="*/ 34131 w 240"/>
                  <a:gd name="T33" fmla="*/ 7158 h 495"/>
                  <a:gd name="T34" fmla="*/ 30956 w 240"/>
                  <a:gd name="T35" fmla="*/ 0 h 495"/>
                  <a:gd name="T36" fmla="*/ 27781 w 240"/>
                  <a:gd name="T37" fmla="*/ 0 h 495"/>
                  <a:gd name="T38" fmla="*/ 27781 w 240"/>
                  <a:gd name="T39" fmla="*/ 7158 h 495"/>
                  <a:gd name="T40" fmla="*/ 20638 w 240"/>
                  <a:gd name="T41" fmla="*/ 7158 h 495"/>
                  <a:gd name="T42" fmla="*/ 17463 w 240"/>
                  <a:gd name="T43" fmla="*/ 9544 h 495"/>
                  <a:gd name="T44" fmla="*/ 10319 w 240"/>
                  <a:gd name="T45" fmla="*/ 22270 h 495"/>
                  <a:gd name="T46" fmla="*/ 7144 w 240"/>
                  <a:gd name="T47" fmla="*/ 26247 h 495"/>
                  <a:gd name="T48" fmla="*/ 3969 w 240"/>
                  <a:gd name="T49" fmla="*/ 31814 h 495"/>
                  <a:gd name="T50" fmla="*/ 3969 w 240"/>
                  <a:gd name="T51" fmla="*/ 35791 h 495"/>
                  <a:gd name="T52" fmla="*/ 0 w 240"/>
                  <a:gd name="T53" fmla="*/ 38177 h 495"/>
                  <a:gd name="T54" fmla="*/ 7144 w 240"/>
                  <a:gd name="T55" fmla="*/ 45335 h 495"/>
                  <a:gd name="T56" fmla="*/ 10319 w 240"/>
                  <a:gd name="T57" fmla="*/ 50903 h 495"/>
                  <a:gd name="T58" fmla="*/ 14288 w 240"/>
                  <a:gd name="T59" fmla="*/ 60447 h 495"/>
                  <a:gd name="T60" fmla="*/ 10319 w 240"/>
                  <a:gd name="T61" fmla="*/ 64424 h 495"/>
                  <a:gd name="T62" fmla="*/ 17463 w 240"/>
                  <a:gd name="T63" fmla="*/ 66810 h 495"/>
                  <a:gd name="T64" fmla="*/ 23813 w 240"/>
                  <a:gd name="T65" fmla="*/ 60447 h 495"/>
                  <a:gd name="T66" fmla="*/ 27781 w 240"/>
                  <a:gd name="T67" fmla="*/ 64424 h 495"/>
                  <a:gd name="T68" fmla="*/ 34131 w 240"/>
                  <a:gd name="T69" fmla="*/ 83512 h 495"/>
                  <a:gd name="T70" fmla="*/ 34131 w 240"/>
                  <a:gd name="T71" fmla="*/ 98624 h 49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40"/>
                  <a:gd name="T109" fmla="*/ 0 h 495"/>
                  <a:gd name="T110" fmla="*/ 240 w 240"/>
                  <a:gd name="T111" fmla="*/ 495 h 49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40" h="495">
                    <a:moveTo>
                      <a:pt x="172" y="495"/>
                    </a:moveTo>
                    <a:lnTo>
                      <a:pt x="172" y="495"/>
                    </a:lnTo>
                    <a:lnTo>
                      <a:pt x="205" y="432"/>
                    </a:lnTo>
                    <a:lnTo>
                      <a:pt x="190" y="384"/>
                    </a:lnTo>
                    <a:lnTo>
                      <a:pt x="172" y="351"/>
                    </a:lnTo>
                    <a:lnTo>
                      <a:pt x="172" y="321"/>
                    </a:lnTo>
                    <a:lnTo>
                      <a:pt x="155" y="273"/>
                    </a:lnTo>
                    <a:lnTo>
                      <a:pt x="155" y="240"/>
                    </a:lnTo>
                    <a:lnTo>
                      <a:pt x="222" y="208"/>
                    </a:lnTo>
                    <a:lnTo>
                      <a:pt x="240" y="177"/>
                    </a:lnTo>
                    <a:lnTo>
                      <a:pt x="222" y="177"/>
                    </a:lnTo>
                    <a:lnTo>
                      <a:pt x="190" y="160"/>
                    </a:lnTo>
                    <a:lnTo>
                      <a:pt x="190" y="144"/>
                    </a:lnTo>
                    <a:lnTo>
                      <a:pt x="190" y="129"/>
                    </a:lnTo>
                    <a:lnTo>
                      <a:pt x="172" y="112"/>
                    </a:lnTo>
                    <a:lnTo>
                      <a:pt x="155" y="112"/>
                    </a:lnTo>
                    <a:lnTo>
                      <a:pt x="172" y="33"/>
                    </a:lnTo>
                    <a:lnTo>
                      <a:pt x="155" y="0"/>
                    </a:lnTo>
                    <a:lnTo>
                      <a:pt x="138" y="0"/>
                    </a:lnTo>
                    <a:lnTo>
                      <a:pt x="138" y="33"/>
                    </a:lnTo>
                    <a:lnTo>
                      <a:pt x="103" y="33"/>
                    </a:lnTo>
                    <a:lnTo>
                      <a:pt x="86" y="48"/>
                    </a:lnTo>
                    <a:lnTo>
                      <a:pt x="51" y="112"/>
                    </a:lnTo>
                    <a:lnTo>
                      <a:pt x="34" y="129"/>
                    </a:lnTo>
                    <a:lnTo>
                      <a:pt x="17" y="160"/>
                    </a:lnTo>
                    <a:lnTo>
                      <a:pt x="17" y="177"/>
                    </a:lnTo>
                    <a:lnTo>
                      <a:pt x="0" y="192"/>
                    </a:lnTo>
                    <a:lnTo>
                      <a:pt x="34" y="225"/>
                    </a:lnTo>
                    <a:lnTo>
                      <a:pt x="51" y="256"/>
                    </a:lnTo>
                    <a:lnTo>
                      <a:pt x="69" y="304"/>
                    </a:lnTo>
                    <a:lnTo>
                      <a:pt x="51" y="321"/>
                    </a:lnTo>
                    <a:lnTo>
                      <a:pt x="86" y="336"/>
                    </a:lnTo>
                    <a:lnTo>
                      <a:pt x="121" y="304"/>
                    </a:lnTo>
                    <a:lnTo>
                      <a:pt x="138" y="321"/>
                    </a:lnTo>
                    <a:lnTo>
                      <a:pt x="172" y="417"/>
                    </a:lnTo>
                    <a:lnTo>
                      <a:pt x="172" y="49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16" name="Freeform 150">
                <a:extLst>
                  <a:ext uri="{FF2B5EF4-FFF2-40B4-BE49-F238E27FC236}">
                    <a16:creationId xmlns:a16="http://schemas.microsoft.com/office/drawing/2014/main" id="{2EFDFA83-7B3E-C048-BF44-1A71CC2EF324}"/>
                  </a:ext>
                </a:extLst>
              </p:cNvPr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auto">
              <a:xfrm>
                <a:off x="6896099" y="4186238"/>
                <a:ext cx="150813" cy="177800"/>
              </a:xfrm>
              <a:custGeom>
                <a:avLst/>
                <a:gdLst>
                  <a:gd name="T0" fmla="*/ 38100 w 190"/>
                  <a:gd name="T1" fmla="*/ 42069 h 224"/>
                  <a:gd name="T2" fmla="*/ 38100 w 190"/>
                  <a:gd name="T3" fmla="*/ 42069 h 224"/>
                  <a:gd name="T4" fmla="*/ 38100 w 190"/>
                  <a:gd name="T5" fmla="*/ 34925 h 224"/>
                  <a:gd name="T6" fmla="*/ 30956 w 190"/>
                  <a:gd name="T7" fmla="*/ 28575 h 224"/>
                  <a:gd name="T8" fmla="*/ 30956 w 190"/>
                  <a:gd name="T9" fmla="*/ 25400 h 224"/>
                  <a:gd name="T10" fmla="*/ 17463 w 190"/>
                  <a:gd name="T11" fmla="*/ 15875 h 224"/>
                  <a:gd name="T12" fmla="*/ 23813 w 190"/>
                  <a:gd name="T13" fmla="*/ 13494 h 224"/>
                  <a:gd name="T14" fmla="*/ 20638 w 190"/>
                  <a:gd name="T15" fmla="*/ 9525 h 224"/>
                  <a:gd name="T16" fmla="*/ 14288 w 190"/>
                  <a:gd name="T17" fmla="*/ 6350 h 224"/>
                  <a:gd name="T18" fmla="*/ 10319 w 190"/>
                  <a:gd name="T19" fmla="*/ 0 h 224"/>
                  <a:gd name="T20" fmla="*/ 7144 w 190"/>
                  <a:gd name="T21" fmla="*/ 0 h 224"/>
                  <a:gd name="T22" fmla="*/ 7144 w 190"/>
                  <a:gd name="T23" fmla="*/ 6350 h 224"/>
                  <a:gd name="T24" fmla="*/ 3969 w 190"/>
                  <a:gd name="T25" fmla="*/ 6350 h 224"/>
                  <a:gd name="T26" fmla="*/ 3969 w 190"/>
                  <a:gd name="T27" fmla="*/ 3969 h 224"/>
                  <a:gd name="T28" fmla="*/ 0 w 190"/>
                  <a:gd name="T29" fmla="*/ 9525 h 224"/>
                  <a:gd name="T30" fmla="*/ 0 w 190"/>
                  <a:gd name="T31" fmla="*/ 13494 h 224"/>
                  <a:gd name="T32" fmla="*/ 3969 w 190"/>
                  <a:gd name="T33" fmla="*/ 15875 h 224"/>
                  <a:gd name="T34" fmla="*/ 3969 w 190"/>
                  <a:gd name="T35" fmla="*/ 25400 h 224"/>
                  <a:gd name="T36" fmla="*/ 10319 w 190"/>
                  <a:gd name="T37" fmla="*/ 22225 h 224"/>
                  <a:gd name="T38" fmla="*/ 17463 w 190"/>
                  <a:gd name="T39" fmla="*/ 19050 h 224"/>
                  <a:gd name="T40" fmla="*/ 20638 w 190"/>
                  <a:gd name="T41" fmla="*/ 25400 h 224"/>
                  <a:gd name="T42" fmla="*/ 23813 w 190"/>
                  <a:gd name="T43" fmla="*/ 32544 h 224"/>
                  <a:gd name="T44" fmla="*/ 27781 w 190"/>
                  <a:gd name="T45" fmla="*/ 34925 h 224"/>
                  <a:gd name="T46" fmla="*/ 27781 w 190"/>
                  <a:gd name="T47" fmla="*/ 42069 h 224"/>
                  <a:gd name="T48" fmla="*/ 30956 w 190"/>
                  <a:gd name="T49" fmla="*/ 44450 h 224"/>
                  <a:gd name="T50" fmla="*/ 30956 w 190"/>
                  <a:gd name="T51" fmla="*/ 42069 h 224"/>
                  <a:gd name="T52" fmla="*/ 38100 w 190"/>
                  <a:gd name="T53" fmla="*/ 42069 h 22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90"/>
                  <a:gd name="T82" fmla="*/ 0 h 224"/>
                  <a:gd name="T83" fmla="*/ 190 w 190"/>
                  <a:gd name="T84" fmla="*/ 224 h 22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90" h="224">
                    <a:moveTo>
                      <a:pt x="190" y="209"/>
                    </a:moveTo>
                    <a:lnTo>
                      <a:pt x="190" y="209"/>
                    </a:lnTo>
                    <a:lnTo>
                      <a:pt x="190" y="176"/>
                    </a:lnTo>
                    <a:lnTo>
                      <a:pt x="156" y="144"/>
                    </a:lnTo>
                    <a:lnTo>
                      <a:pt x="156" y="128"/>
                    </a:lnTo>
                    <a:lnTo>
                      <a:pt x="87" y="80"/>
                    </a:lnTo>
                    <a:lnTo>
                      <a:pt x="121" y="65"/>
                    </a:lnTo>
                    <a:lnTo>
                      <a:pt x="104" y="48"/>
                    </a:lnTo>
                    <a:lnTo>
                      <a:pt x="69" y="32"/>
                    </a:lnTo>
                    <a:lnTo>
                      <a:pt x="52" y="0"/>
                    </a:lnTo>
                    <a:lnTo>
                      <a:pt x="35" y="0"/>
                    </a:lnTo>
                    <a:lnTo>
                      <a:pt x="35" y="32"/>
                    </a:lnTo>
                    <a:lnTo>
                      <a:pt x="18" y="32"/>
                    </a:lnTo>
                    <a:lnTo>
                      <a:pt x="18" y="17"/>
                    </a:lnTo>
                    <a:lnTo>
                      <a:pt x="0" y="48"/>
                    </a:lnTo>
                    <a:lnTo>
                      <a:pt x="0" y="65"/>
                    </a:lnTo>
                    <a:lnTo>
                      <a:pt x="18" y="80"/>
                    </a:lnTo>
                    <a:lnTo>
                      <a:pt x="18" y="128"/>
                    </a:lnTo>
                    <a:lnTo>
                      <a:pt x="52" y="113"/>
                    </a:lnTo>
                    <a:lnTo>
                      <a:pt x="87" y="96"/>
                    </a:lnTo>
                    <a:lnTo>
                      <a:pt x="104" y="128"/>
                    </a:lnTo>
                    <a:lnTo>
                      <a:pt x="121" y="161"/>
                    </a:lnTo>
                    <a:lnTo>
                      <a:pt x="138" y="176"/>
                    </a:lnTo>
                    <a:lnTo>
                      <a:pt x="138" y="209"/>
                    </a:lnTo>
                    <a:lnTo>
                      <a:pt x="156" y="224"/>
                    </a:lnTo>
                    <a:lnTo>
                      <a:pt x="156" y="209"/>
                    </a:lnTo>
                    <a:lnTo>
                      <a:pt x="190" y="209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17" name="Freeform 151">
                <a:extLst>
                  <a:ext uri="{FF2B5EF4-FFF2-40B4-BE49-F238E27FC236}">
                    <a16:creationId xmlns:a16="http://schemas.microsoft.com/office/drawing/2014/main" id="{C58DB237-71DF-6348-AB3A-CF48DEF5F892}"/>
                  </a:ext>
                </a:extLst>
              </p:cNvPr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auto">
              <a:xfrm>
                <a:off x="6937374" y="4173538"/>
                <a:ext cx="150813" cy="292100"/>
              </a:xfrm>
              <a:custGeom>
                <a:avLst/>
                <a:gdLst>
                  <a:gd name="T0" fmla="*/ 0 w 190"/>
                  <a:gd name="T1" fmla="*/ 3166 h 369"/>
                  <a:gd name="T2" fmla="*/ 0 w 190"/>
                  <a:gd name="T3" fmla="*/ 3166 h 369"/>
                  <a:gd name="T4" fmla="*/ 0 w 190"/>
                  <a:gd name="T5" fmla="*/ 0 h 369"/>
                  <a:gd name="T6" fmla="*/ 3969 w 190"/>
                  <a:gd name="T7" fmla="*/ 3166 h 369"/>
                  <a:gd name="T8" fmla="*/ 17463 w 190"/>
                  <a:gd name="T9" fmla="*/ 0 h 369"/>
                  <a:gd name="T10" fmla="*/ 23813 w 190"/>
                  <a:gd name="T11" fmla="*/ 0 h 369"/>
                  <a:gd name="T12" fmla="*/ 23813 w 190"/>
                  <a:gd name="T13" fmla="*/ 6333 h 369"/>
                  <a:gd name="T14" fmla="*/ 30956 w 190"/>
                  <a:gd name="T15" fmla="*/ 6333 h 369"/>
                  <a:gd name="T16" fmla="*/ 23813 w 190"/>
                  <a:gd name="T17" fmla="*/ 9499 h 369"/>
                  <a:gd name="T18" fmla="*/ 20638 w 190"/>
                  <a:gd name="T19" fmla="*/ 15832 h 369"/>
                  <a:gd name="T20" fmla="*/ 17463 w 190"/>
                  <a:gd name="T21" fmla="*/ 18998 h 369"/>
                  <a:gd name="T22" fmla="*/ 34925 w 190"/>
                  <a:gd name="T23" fmla="*/ 40372 h 369"/>
                  <a:gd name="T24" fmla="*/ 38100 w 190"/>
                  <a:gd name="T25" fmla="*/ 47496 h 369"/>
                  <a:gd name="T26" fmla="*/ 34925 w 190"/>
                  <a:gd name="T27" fmla="*/ 59370 h 369"/>
                  <a:gd name="T28" fmla="*/ 27781 w 190"/>
                  <a:gd name="T29" fmla="*/ 63328 h 369"/>
                  <a:gd name="T30" fmla="*/ 23813 w 190"/>
                  <a:gd name="T31" fmla="*/ 63328 h 369"/>
                  <a:gd name="T32" fmla="*/ 20638 w 190"/>
                  <a:gd name="T33" fmla="*/ 68869 h 369"/>
                  <a:gd name="T34" fmla="*/ 14288 w 190"/>
                  <a:gd name="T35" fmla="*/ 72827 h 369"/>
                  <a:gd name="T36" fmla="*/ 14288 w 190"/>
                  <a:gd name="T37" fmla="*/ 66494 h 369"/>
                  <a:gd name="T38" fmla="*/ 10319 w 190"/>
                  <a:gd name="T39" fmla="*/ 63328 h 369"/>
                  <a:gd name="T40" fmla="*/ 17463 w 190"/>
                  <a:gd name="T41" fmla="*/ 59370 h 369"/>
                  <a:gd name="T42" fmla="*/ 20638 w 190"/>
                  <a:gd name="T43" fmla="*/ 56995 h 369"/>
                  <a:gd name="T44" fmla="*/ 27781 w 190"/>
                  <a:gd name="T45" fmla="*/ 53829 h 369"/>
                  <a:gd name="T46" fmla="*/ 27781 w 190"/>
                  <a:gd name="T47" fmla="*/ 44330 h 369"/>
                  <a:gd name="T48" fmla="*/ 27781 w 190"/>
                  <a:gd name="T49" fmla="*/ 37997 h 369"/>
                  <a:gd name="T50" fmla="*/ 20638 w 190"/>
                  <a:gd name="T51" fmla="*/ 31664 h 369"/>
                  <a:gd name="T52" fmla="*/ 20638 w 190"/>
                  <a:gd name="T53" fmla="*/ 28498 h 369"/>
                  <a:gd name="T54" fmla="*/ 7144 w 190"/>
                  <a:gd name="T55" fmla="*/ 18998 h 369"/>
                  <a:gd name="T56" fmla="*/ 14288 w 190"/>
                  <a:gd name="T57" fmla="*/ 15832 h 369"/>
                  <a:gd name="T58" fmla="*/ 10319 w 190"/>
                  <a:gd name="T59" fmla="*/ 12666 h 369"/>
                  <a:gd name="T60" fmla="*/ 3969 w 190"/>
                  <a:gd name="T61" fmla="*/ 9499 h 369"/>
                  <a:gd name="T62" fmla="*/ 0 w 190"/>
                  <a:gd name="T63" fmla="*/ 3166 h 36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90"/>
                  <a:gd name="T97" fmla="*/ 0 h 369"/>
                  <a:gd name="T98" fmla="*/ 190 w 190"/>
                  <a:gd name="T99" fmla="*/ 369 h 36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90" h="369">
                    <a:moveTo>
                      <a:pt x="0" y="16"/>
                    </a:moveTo>
                    <a:lnTo>
                      <a:pt x="0" y="16"/>
                    </a:lnTo>
                    <a:lnTo>
                      <a:pt x="0" y="0"/>
                    </a:lnTo>
                    <a:lnTo>
                      <a:pt x="17" y="16"/>
                    </a:lnTo>
                    <a:lnTo>
                      <a:pt x="86" y="0"/>
                    </a:lnTo>
                    <a:lnTo>
                      <a:pt x="121" y="0"/>
                    </a:lnTo>
                    <a:lnTo>
                      <a:pt x="121" y="33"/>
                    </a:lnTo>
                    <a:lnTo>
                      <a:pt x="156" y="33"/>
                    </a:lnTo>
                    <a:lnTo>
                      <a:pt x="121" y="48"/>
                    </a:lnTo>
                    <a:lnTo>
                      <a:pt x="104" y="81"/>
                    </a:lnTo>
                    <a:lnTo>
                      <a:pt x="86" y="96"/>
                    </a:lnTo>
                    <a:lnTo>
                      <a:pt x="173" y="207"/>
                    </a:lnTo>
                    <a:lnTo>
                      <a:pt x="190" y="240"/>
                    </a:lnTo>
                    <a:lnTo>
                      <a:pt x="173" y="303"/>
                    </a:lnTo>
                    <a:lnTo>
                      <a:pt x="138" y="321"/>
                    </a:lnTo>
                    <a:lnTo>
                      <a:pt x="121" y="321"/>
                    </a:lnTo>
                    <a:lnTo>
                      <a:pt x="104" y="351"/>
                    </a:lnTo>
                    <a:lnTo>
                      <a:pt x="69" y="369"/>
                    </a:lnTo>
                    <a:lnTo>
                      <a:pt x="69" y="336"/>
                    </a:lnTo>
                    <a:lnTo>
                      <a:pt x="52" y="321"/>
                    </a:lnTo>
                    <a:lnTo>
                      <a:pt x="86" y="303"/>
                    </a:lnTo>
                    <a:lnTo>
                      <a:pt x="104" y="288"/>
                    </a:lnTo>
                    <a:lnTo>
                      <a:pt x="138" y="273"/>
                    </a:lnTo>
                    <a:lnTo>
                      <a:pt x="138" y="225"/>
                    </a:lnTo>
                    <a:lnTo>
                      <a:pt x="138" y="192"/>
                    </a:lnTo>
                    <a:lnTo>
                      <a:pt x="104" y="160"/>
                    </a:lnTo>
                    <a:lnTo>
                      <a:pt x="104" y="144"/>
                    </a:lnTo>
                    <a:lnTo>
                      <a:pt x="35" y="96"/>
                    </a:lnTo>
                    <a:lnTo>
                      <a:pt x="69" y="81"/>
                    </a:lnTo>
                    <a:lnTo>
                      <a:pt x="52" y="64"/>
                    </a:lnTo>
                    <a:lnTo>
                      <a:pt x="17" y="48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18" name="Freeform 152">
                <a:extLst>
                  <a:ext uri="{FF2B5EF4-FFF2-40B4-BE49-F238E27FC236}">
                    <a16:creationId xmlns:a16="http://schemas.microsoft.com/office/drawing/2014/main" id="{EAA859A3-1B85-A34C-BA54-68B79E3D4BDA}"/>
                  </a:ext>
                </a:extLst>
              </p:cNvPr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auto">
              <a:xfrm>
                <a:off x="6896099" y="4503738"/>
                <a:ext cx="82550" cy="114300"/>
              </a:xfrm>
              <a:custGeom>
                <a:avLst/>
                <a:gdLst>
                  <a:gd name="T0" fmla="*/ 10319 w 104"/>
                  <a:gd name="T1" fmla="*/ 2381 h 144"/>
                  <a:gd name="T2" fmla="*/ 10319 w 104"/>
                  <a:gd name="T3" fmla="*/ 2381 h 144"/>
                  <a:gd name="T4" fmla="*/ 7144 w 104"/>
                  <a:gd name="T5" fmla="*/ 5556 h 144"/>
                  <a:gd name="T6" fmla="*/ 3969 w 104"/>
                  <a:gd name="T7" fmla="*/ 2381 h 144"/>
                  <a:gd name="T8" fmla="*/ 0 w 104"/>
                  <a:gd name="T9" fmla="*/ 0 h 144"/>
                  <a:gd name="T10" fmla="*/ 0 w 104"/>
                  <a:gd name="T11" fmla="*/ 2381 h 144"/>
                  <a:gd name="T12" fmla="*/ 0 w 104"/>
                  <a:gd name="T13" fmla="*/ 11906 h 144"/>
                  <a:gd name="T14" fmla="*/ 7144 w 104"/>
                  <a:gd name="T15" fmla="*/ 19050 h 144"/>
                  <a:gd name="T16" fmla="*/ 17463 w 104"/>
                  <a:gd name="T17" fmla="*/ 28575 h 144"/>
                  <a:gd name="T18" fmla="*/ 20638 w 104"/>
                  <a:gd name="T19" fmla="*/ 28575 h 144"/>
                  <a:gd name="T20" fmla="*/ 17463 w 104"/>
                  <a:gd name="T21" fmla="*/ 19050 h 144"/>
                  <a:gd name="T22" fmla="*/ 17463 w 104"/>
                  <a:gd name="T23" fmla="*/ 9525 h 144"/>
                  <a:gd name="T24" fmla="*/ 10319 w 104"/>
                  <a:gd name="T25" fmla="*/ 2381 h 1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04"/>
                  <a:gd name="T40" fmla="*/ 0 h 144"/>
                  <a:gd name="T41" fmla="*/ 104 w 104"/>
                  <a:gd name="T42" fmla="*/ 144 h 1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04" h="144">
                    <a:moveTo>
                      <a:pt x="52" y="15"/>
                    </a:moveTo>
                    <a:lnTo>
                      <a:pt x="52" y="15"/>
                    </a:lnTo>
                    <a:lnTo>
                      <a:pt x="35" y="30"/>
                    </a:lnTo>
                    <a:lnTo>
                      <a:pt x="18" y="15"/>
                    </a:lnTo>
                    <a:lnTo>
                      <a:pt x="0" y="0"/>
                    </a:lnTo>
                    <a:lnTo>
                      <a:pt x="0" y="15"/>
                    </a:lnTo>
                    <a:lnTo>
                      <a:pt x="0" y="63"/>
                    </a:lnTo>
                    <a:lnTo>
                      <a:pt x="35" y="96"/>
                    </a:lnTo>
                    <a:lnTo>
                      <a:pt x="87" y="144"/>
                    </a:lnTo>
                    <a:lnTo>
                      <a:pt x="104" y="144"/>
                    </a:lnTo>
                    <a:lnTo>
                      <a:pt x="87" y="96"/>
                    </a:lnTo>
                    <a:lnTo>
                      <a:pt x="87" y="48"/>
                    </a:lnTo>
                    <a:lnTo>
                      <a:pt x="52" y="1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19" name="Freeform 153">
                <a:extLst>
                  <a:ext uri="{FF2B5EF4-FFF2-40B4-BE49-F238E27FC236}">
                    <a16:creationId xmlns:a16="http://schemas.microsoft.com/office/drawing/2014/main" id="{6D99D8C9-0681-F440-95D2-7D43D2304B65}"/>
                  </a:ext>
                </a:extLst>
              </p:cNvPr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auto">
              <a:xfrm>
                <a:off x="6842124" y="4224338"/>
                <a:ext cx="163513" cy="304800"/>
              </a:xfrm>
              <a:custGeom>
                <a:avLst/>
                <a:gdLst>
                  <a:gd name="T0" fmla="*/ 13429 w 207"/>
                  <a:gd name="T1" fmla="*/ 0 h 383"/>
                  <a:gd name="T2" fmla="*/ 13429 w 207"/>
                  <a:gd name="T3" fmla="*/ 0 h 383"/>
                  <a:gd name="T4" fmla="*/ 0 w 207"/>
                  <a:gd name="T5" fmla="*/ 6367 h 383"/>
                  <a:gd name="T6" fmla="*/ 0 w 207"/>
                  <a:gd name="T7" fmla="*/ 13529 h 383"/>
                  <a:gd name="T8" fmla="*/ 3160 w 207"/>
                  <a:gd name="T9" fmla="*/ 23079 h 383"/>
                  <a:gd name="T10" fmla="*/ 3160 w 207"/>
                  <a:gd name="T11" fmla="*/ 28650 h 383"/>
                  <a:gd name="T12" fmla="*/ 6319 w 207"/>
                  <a:gd name="T13" fmla="*/ 35016 h 383"/>
                  <a:gd name="T14" fmla="*/ 10269 w 207"/>
                  <a:gd name="T15" fmla="*/ 44566 h 383"/>
                  <a:gd name="T16" fmla="*/ 3160 w 207"/>
                  <a:gd name="T17" fmla="*/ 57299 h 383"/>
                  <a:gd name="T18" fmla="*/ 3160 w 207"/>
                  <a:gd name="T19" fmla="*/ 61278 h 383"/>
                  <a:gd name="T20" fmla="*/ 3160 w 207"/>
                  <a:gd name="T21" fmla="*/ 63666 h 383"/>
                  <a:gd name="T22" fmla="*/ 13429 w 207"/>
                  <a:gd name="T23" fmla="*/ 73216 h 383"/>
                  <a:gd name="T24" fmla="*/ 13429 w 207"/>
                  <a:gd name="T25" fmla="*/ 70828 h 383"/>
                  <a:gd name="T26" fmla="*/ 16588 w 207"/>
                  <a:gd name="T27" fmla="*/ 73216 h 383"/>
                  <a:gd name="T28" fmla="*/ 20538 w 207"/>
                  <a:gd name="T29" fmla="*/ 76399 h 383"/>
                  <a:gd name="T30" fmla="*/ 23698 w 207"/>
                  <a:gd name="T31" fmla="*/ 73216 h 383"/>
                  <a:gd name="T32" fmla="*/ 20538 w 207"/>
                  <a:gd name="T33" fmla="*/ 70828 h 383"/>
                  <a:gd name="T34" fmla="*/ 13429 w 207"/>
                  <a:gd name="T35" fmla="*/ 70828 h 383"/>
                  <a:gd name="T36" fmla="*/ 10269 w 207"/>
                  <a:gd name="T37" fmla="*/ 57299 h 383"/>
                  <a:gd name="T38" fmla="*/ 6319 w 207"/>
                  <a:gd name="T39" fmla="*/ 57299 h 383"/>
                  <a:gd name="T40" fmla="*/ 6319 w 207"/>
                  <a:gd name="T41" fmla="*/ 54116 h 383"/>
                  <a:gd name="T42" fmla="*/ 10269 w 207"/>
                  <a:gd name="T43" fmla="*/ 44566 h 383"/>
                  <a:gd name="T44" fmla="*/ 10269 w 207"/>
                  <a:gd name="T45" fmla="*/ 38199 h 383"/>
                  <a:gd name="T46" fmla="*/ 16588 w 207"/>
                  <a:gd name="T47" fmla="*/ 38199 h 383"/>
                  <a:gd name="T48" fmla="*/ 16588 w 207"/>
                  <a:gd name="T49" fmla="*/ 42179 h 383"/>
                  <a:gd name="T50" fmla="*/ 20538 w 207"/>
                  <a:gd name="T51" fmla="*/ 42179 h 383"/>
                  <a:gd name="T52" fmla="*/ 26857 w 207"/>
                  <a:gd name="T53" fmla="*/ 47749 h 383"/>
                  <a:gd name="T54" fmla="*/ 26857 w 207"/>
                  <a:gd name="T55" fmla="*/ 44566 h 383"/>
                  <a:gd name="T56" fmla="*/ 23698 w 207"/>
                  <a:gd name="T57" fmla="*/ 38199 h 383"/>
                  <a:gd name="T58" fmla="*/ 26857 w 207"/>
                  <a:gd name="T59" fmla="*/ 32629 h 383"/>
                  <a:gd name="T60" fmla="*/ 40286 w 207"/>
                  <a:gd name="T61" fmla="*/ 32629 h 383"/>
                  <a:gd name="T62" fmla="*/ 40286 w 207"/>
                  <a:gd name="T63" fmla="*/ 25466 h 383"/>
                  <a:gd name="T64" fmla="*/ 37126 w 207"/>
                  <a:gd name="T65" fmla="*/ 23079 h 383"/>
                  <a:gd name="T66" fmla="*/ 33966 w 207"/>
                  <a:gd name="T67" fmla="*/ 15916 h 383"/>
                  <a:gd name="T68" fmla="*/ 30807 w 207"/>
                  <a:gd name="T69" fmla="*/ 9550 h 383"/>
                  <a:gd name="T70" fmla="*/ 23698 w 207"/>
                  <a:gd name="T71" fmla="*/ 13529 h 383"/>
                  <a:gd name="T72" fmla="*/ 16588 w 207"/>
                  <a:gd name="T73" fmla="*/ 15916 h 383"/>
                  <a:gd name="T74" fmla="*/ 16588 w 207"/>
                  <a:gd name="T75" fmla="*/ 6367 h 383"/>
                  <a:gd name="T76" fmla="*/ 13429 w 207"/>
                  <a:gd name="T77" fmla="*/ 3979 h 383"/>
                  <a:gd name="T78" fmla="*/ 13429 w 207"/>
                  <a:gd name="T79" fmla="*/ 0 h 38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07"/>
                  <a:gd name="T121" fmla="*/ 0 h 383"/>
                  <a:gd name="T122" fmla="*/ 207 w 207"/>
                  <a:gd name="T123" fmla="*/ 383 h 38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07" h="383">
                    <a:moveTo>
                      <a:pt x="69" y="0"/>
                    </a:moveTo>
                    <a:lnTo>
                      <a:pt x="69" y="0"/>
                    </a:lnTo>
                    <a:lnTo>
                      <a:pt x="0" y="32"/>
                    </a:lnTo>
                    <a:lnTo>
                      <a:pt x="0" y="65"/>
                    </a:lnTo>
                    <a:lnTo>
                      <a:pt x="17" y="113"/>
                    </a:lnTo>
                    <a:lnTo>
                      <a:pt x="17" y="143"/>
                    </a:lnTo>
                    <a:lnTo>
                      <a:pt x="35" y="176"/>
                    </a:lnTo>
                    <a:lnTo>
                      <a:pt x="52" y="224"/>
                    </a:lnTo>
                    <a:lnTo>
                      <a:pt x="17" y="287"/>
                    </a:lnTo>
                    <a:lnTo>
                      <a:pt x="17" y="305"/>
                    </a:lnTo>
                    <a:lnTo>
                      <a:pt x="17" y="320"/>
                    </a:lnTo>
                    <a:lnTo>
                      <a:pt x="69" y="368"/>
                    </a:lnTo>
                    <a:lnTo>
                      <a:pt x="69" y="353"/>
                    </a:lnTo>
                    <a:lnTo>
                      <a:pt x="87" y="368"/>
                    </a:lnTo>
                    <a:lnTo>
                      <a:pt x="104" y="383"/>
                    </a:lnTo>
                    <a:lnTo>
                      <a:pt x="121" y="368"/>
                    </a:lnTo>
                    <a:lnTo>
                      <a:pt x="104" y="353"/>
                    </a:lnTo>
                    <a:lnTo>
                      <a:pt x="69" y="353"/>
                    </a:lnTo>
                    <a:lnTo>
                      <a:pt x="52" y="287"/>
                    </a:lnTo>
                    <a:lnTo>
                      <a:pt x="35" y="287"/>
                    </a:lnTo>
                    <a:lnTo>
                      <a:pt x="35" y="272"/>
                    </a:lnTo>
                    <a:lnTo>
                      <a:pt x="52" y="224"/>
                    </a:lnTo>
                    <a:lnTo>
                      <a:pt x="52" y="191"/>
                    </a:lnTo>
                    <a:lnTo>
                      <a:pt x="87" y="191"/>
                    </a:lnTo>
                    <a:lnTo>
                      <a:pt x="87" y="209"/>
                    </a:lnTo>
                    <a:lnTo>
                      <a:pt x="104" y="209"/>
                    </a:lnTo>
                    <a:lnTo>
                      <a:pt x="138" y="239"/>
                    </a:lnTo>
                    <a:lnTo>
                      <a:pt x="138" y="224"/>
                    </a:lnTo>
                    <a:lnTo>
                      <a:pt x="121" y="191"/>
                    </a:lnTo>
                    <a:lnTo>
                      <a:pt x="138" y="161"/>
                    </a:lnTo>
                    <a:lnTo>
                      <a:pt x="207" y="161"/>
                    </a:lnTo>
                    <a:lnTo>
                      <a:pt x="207" y="128"/>
                    </a:lnTo>
                    <a:lnTo>
                      <a:pt x="190" y="113"/>
                    </a:lnTo>
                    <a:lnTo>
                      <a:pt x="173" y="80"/>
                    </a:lnTo>
                    <a:lnTo>
                      <a:pt x="156" y="48"/>
                    </a:lnTo>
                    <a:lnTo>
                      <a:pt x="121" y="65"/>
                    </a:lnTo>
                    <a:lnTo>
                      <a:pt x="87" y="80"/>
                    </a:lnTo>
                    <a:lnTo>
                      <a:pt x="87" y="32"/>
                    </a:lnTo>
                    <a:lnTo>
                      <a:pt x="69" y="17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20" name="Freeform 154">
                <a:extLst>
                  <a:ext uri="{FF2B5EF4-FFF2-40B4-BE49-F238E27FC236}">
                    <a16:creationId xmlns:a16="http://schemas.microsoft.com/office/drawing/2014/main" id="{405235CD-A570-2340-AEC1-66D88BB82B59}"/>
                  </a:ext>
                </a:extLst>
              </p:cNvPr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auto">
              <a:xfrm>
                <a:off x="6650037" y="4059238"/>
                <a:ext cx="66675" cy="25400"/>
              </a:xfrm>
              <a:custGeom>
                <a:avLst/>
                <a:gdLst>
                  <a:gd name="T0" fmla="*/ 13335 w 85"/>
                  <a:gd name="T1" fmla="*/ 0 h 33"/>
                  <a:gd name="T2" fmla="*/ 13335 w 85"/>
                  <a:gd name="T3" fmla="*/ 0 h 33"/>
                  <a:gd name="T4" fmla="*/ 3138 w 85"/>
                  <a:gd name="T5" fmla="*/ 0 h 33"/>
                  <a:gd name="T6" fmla="*/ 0 w 85"/>
                  <a:gd name="T7" fmla="*/ 3079 h 33"/>
                  <a:gd name="T8" fmla="*/ 0 w 85"/>
                  <a:gd name="T9" fmla="*/ 6158 h 33"/>
                  <a:gd name="T10" fmla="*/ 13335 w 85"/>
                  <a:gd name="T11" fmla="*/ 6158 h 33"/>
                  <a:gd name="T12" fmla="*/ 16473 w 85"/>
                  <a:gd name="T13" fmla="*/ 6158 h 33"/>
                  <a:gd name="T14" fmla="*/ 13335 w 85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5"/>
                  <a:gd name="T25" fmla="*/ 0 h 33"/>
                  <a:gd name="T26" fmla="*/ 85 w 85"/>
                  <a:gd name="T27" fmla="*/ 33 h 3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5" h="33">
                    <a:moveTo>
                      <a:pt x="69" y="0"/>
                    </a:moveTo>
                    <a:lnTo>
                      <a:pt x="69" y="0"/>
                    </a:lnTo>
                    <a:lnTo>
                      <a:pt x="18" y="0"/>
                    </a:lnTo>
                    <a:lnTo>
                      <a:pt x="0" y="16"/>
                    </a:lnTo>
                    <a:lnTo>
                      <a:pt x="0" y="33"/>
                    </a:lnTo>
                    <a:lnTo>
                      <a:pt x="69" y="33"/>
                    </a:lnTo>
                    <a:lnTo>
                      <a:pt x="85" y="33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21" name="Freeform 155">
                <a:extLst>
                  <a:ext uri="{FF2B5EF4-FFF2-40B4-BE49-F238E27FC236}">
                    <a16:creationId xmlns:a16="http://schemas.microsoft.com/office/drawing/2014/main" id="{DB3BF7A1-C5D9-4846-892A-417D8B45E871}"/>
                  </a:ext>
                </a:extLst>
              </p:cNvPr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auto">
              <a:xfrm>
                <a:off x="6456362" y="4010026"/>
                <a:ext cx="165100" cy="87313"/>
              </a:xfrm>
              <a:custGeom>
                <a:avLst/>
                <a:gdLst>
                  <a:gd name="T0" fmla="*/ 3145 w 210"/>
                  <a:gd name="T1" fmla="*/ 0 h 111"/>
                  <a:gd name="T2" fmla="*/ 3145 w 210"/>
                  <a:gd name="T3" fmla="*/ 0 h 111"/>
                  <a:gd name="T4" fmla="*/ 0 w 210"/>
                  <a:gd name="T5" fmla="*/ 9439 h 111"/>
                  <a:gd name="T6" fmla="*/ 6290 w 210"/>
                  <a:gd name="T7" fmla="*/ 11799 h 111"/>
                  <a:gd name="T8" fmla="*/ 36951 w 210"/>
                  <a:gd name="T9" fmla="*/ 21238 h 111"/>
                  <a:gd name="T10" fmla="*/ 40882 w 210"/>
                  <a:gd name="T11" fmla="*/ 21238 h 111"/>
                  <a:gd name="T12" fmla="*/ 40882 w 210"/>
                  <a:gd name="T13" fmla="*/ 18878 h 111"/>
                  <a:gd name="T14" fmla="*/ 40882 w 210"/>
                  <a:gd name="T15" fmla="*/ 11799 h 111"/>
                  <a:gd name="T16" fmla="*/ 30661 w 210"/>
                  <a:gd name="T17" fmla="*/ 11799 h 111"/>
                  <a:gd name="T18" fmla="*/ 23586 w 210"/>
                  <a:gd name="T19" fmla="*/ 9439 h 111"/>
                  <a:gd name="T20" fmla="*/ 20441 w 210"/>
                  <a:gd name="T21" fmla="*/ 5506 h 111"/>
                  <a:gd name="T22" fmla="*/ 16510 w 210"/>
                  <a:gd name="T23" fmla="*/ 5506 h 111"/>
                  <a:gd name="T24" fmla="*/ 10220 w 210"/>
                  <a:gd name="T25" fmla="*/ 0 h 111"/>
                  <a:gd name="T26" fmla="*/ 3145 w 210"/>
                  <a:gd name="T27" fmla="*/ 0 h 1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10"/>
                  <a:gd name="T43" fmla="*/ 0 h 111"/>
                  <a:gd name="T44" fmla="*/ 210 w 210"/>
                  <a:gd name="T45" fmla="*/ 111 h 1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10" h="111">
                    <a:moveTo>
                      <a:pt x="18" y="0"/>
                    </a:moveTo>
                    <a:lnTo>
                      <a:pt x="18" y="0"/>
                    </a:lnTo>
                    <a:lnTo>
                      <a:pt x="0" y="48"/>
                    </a:lnTo>
                    <a:lnTo>
                      <a:pt x="35" y="63"/>
                    </a:lnTo>
                    <a:lnTo>
                      <a:pt x="192" y="111"/>
                    </a:lnTo>
                    <a:lnTo>
                      <a:pt x="210" y="111"/>
                    </a:lnTo>
                    <a:lnTo>
                      <a:pt x="210" y="96"/>
                    </a:lnTo>
                    <a:lnTo>
                      <a:pt x="210" y="63"/>
                    </a:lnTo>
                    <a:lnTo>
                      <a:pt x="158" y="63"/>
                    </a:lnTo>
                    <a:lnTo>
                      <a:pt x="121" y="48"/>
                    </a:lnTo>
                    <a:lnTo>
                      <a:pt x="104" y="31"/>
                    </a:lnTo>
                    <a:lnTo>
                      <a:pt x="87" y="31"/>
                    </a:lnTo>
                    <a:lnTo>
                      <a:pt x="52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22" name="Freeform 156">
                <a:extLst>
                  <a:ext uri="{FF2B5EF4-FFF2-40B4-BE49-F238E27FC236}">
                    <a16:creationId xmlns:a16="http://schemas.microsoft.com/office/drawing/2014/main" id="{0FFA22B4-EF9C-2547-9DF7-989264864636}"/>
                  </a:ext>
                </a:extLst>
              </p:cNvPr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auto">
              <a:xfrm>
                <a:off x="7459662" y="3805238"/>
                <a:ext cx="68263" cy="101600"/>
              </a:xfrm>
              <a:custGeom>
                <a:avLst/>
                <a:gdLst>
                  <a:gd name="T0" fmla="*/ 0 w 86"/>
                  <a:gd name="T1" fmla="*/ 6350 h 128"/>
                  <a:gd name="T2" fmla="*/ 0 w 86"/>
                  <a:gd name="T3" fmla="*/ 6350 h 128"/>
                  <a:gd name="T4" fmla="*/ 9525 w 86"/>
                  <a:gd name="T5" fmla="*/ 0 h 128"/>
                  <a:gd name="T6" fmla="*/ 14288 w 86"/>
                  <a:gd name="T7" fmla="*/ 6350 h 128"/>
                  <a:gd name="T8" fmla="*/ 17463 w 86"/>
                  <a:gd name="T9" fmla="*/ 15875 h 128"/>
                  <a:gd name="T10" fmla="*/ 14288 w 86"/>
                  <a:gd name="T11" fmla="*/ 22225 h 128"/>
                  <a:gd name="T12" fmla="*/ 0 w 86"/>
                  <a:gd name="T13" fmla="*/ 25400 h 128"/>
                  <a:gd name="T14" fmla="*/ 0 w 86"/>
                  <a:gd name="T15" fmla="*/ 22225 h 128"/>
                  <a:gd name="T16" fmla="*/ 0 w 86"/>
                  <a:gd name="T17" fmla="*/ 19050 h 128"/>
                  <a:gd name="T18" fmla="*/ 0 w 86"/>
                  <a:gd name="T19" fmla="*/ 9525 h 128"/>
                  <a:gd name="T20" fmla="*/ 0 w 86"/>
                  <a:gd name="T21" fmla="*/ 6350 h 1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6"/>
                  <a:gd name="T34" fmla="*/ 0 h 128"/>
                  <a:gd name="T35" fmla="*/ 86 w 86"/>
                  <a:gd name="T36" fmla="*/ 128 h 1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6" h="128">
                    <a:moveTo>
                      <a:pt x="0" y="32"/>
                    </a:moveTo>
                    <a:lnTo>
                      <a:pt x="0" y="32"/>
                    </a:lnTo>
                    <a:lnTo>
                      <a:pt x="51" y="0"/>
                    </a:lnTo>
                    <a:lnTo>
                      <a:pt x="69" y="32"/>
                    </a:lnTo>
                    <a:lnTo>
                      <a:pt x="86" y="80"/>
                    </a:lnTo>
                    <a:lnTo>
                      <a:pt x="69" y="113"/>
                    </a:lnTo>
                    <a:lnTo>
                      <a:pt x="0" y="128"/>
                    </a:lnTo>
                    <a:lnTo>
                      <a:pt x="0" y="113"/>
                    </a:lnTo>
                    <a:lnTo>
                      <a:pt x="0" y="96"/>
                    </a:lnTo>
                    <a:lnTo>
                      <a:pt x="0" y="4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23" name="Freeform 157">
                <a:extLst>
                  <a:ext uri="{FF2B5EF4-FFF2-40B4-BE49-F238E27FC236}">
                    <a16:creationId xmlns:a16="http://schemas.microsoft.com/office/drawing/2014/main" id="{D7E4F27C-A891-044D-AC49-D69E9FC17AE2}"/>
                  </a:ext>
                </a:extLst>
              </p:cNvPr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auto">
              <a:xfrm>
                <a:off x="7418387" y="3705226"/>
                <a:ext cx="138113" cy="125413"/>
              </a:xfrm>
              <a:custGeom>
                <a:avLst/>
                <a:gdLst>
                  <a:gd name="T0" fmla="*/ 35331 w 172"/>
                  <a:gd name="T1" fmla="*/ 0 h 159"/>
                  <a:gd name="T2" fmla="*/ 35331 w 172"/>
                  <a:gd name="T3" fmla="*/ 0 h 159"/>
                  <a:gd name="T4" fmla="*/ 31316 w 172"/>
                  <a:gd name="T5" fmla="*/ 0 h 159"/>
                  <a:gd name="T6" fmla="*/ 24892 w 172"/>
                  <a:gd name="T7" fmla="*/ 3155 h 159"/>
                  <a:gd name="T8" fmla="*/ 20878 w 172"/>
                  <a:gd name="T9" fmla="*/ 3155 h 159"/>
                  <a:gd name="T10" fmla="*/ 17666 w 172"/>
                  <a:gd name="T11" fmla="*/ 5521 h 159"/>
                  <a:gd name="T12" fmla="*/ 14454 w 172"/>
                  <a:gd name="T13" fmla="*/ 5521 h 159"/>
                  <a:gd name="T14" fmla="*/ 0 w 172"/>
                  <a:gd name="T15" fmla="*/ 14986 h 159"/>
                  <a:gd name="T16" fmla="*/ 0 w 172"/>
                  <a:gd name="T17" fmla="*/ 18930 h 159"/>
                  <a:gd name="T18" fmla="*/ 4015 w 172"/>
                  <a:gd name="T19" fmla="*/ 18930 h 159"/>
                  <a:gd name="T20" fmla="*/ 0 w 172"/>
                  <a:gd name="T21" fmla="*/ 28395 h 159"/>
                  <a:gd name="T22" fmla="*/ 4015 w 172"/>
                  <a:gd name="T23" fmla="*/ 30762 h 159"/>
                  <a:gd name="T24" fmla="*/ 7227 w 172"/>
                  <a:gd name="T25" fmla="*/ 30762 h 159"/>
                  <a:gd name="T26" fmla="*/ 10439 w 172"/>
                  <a:gd name="T27" fmla="*/ 30762 h 159"/>
                  <a:gd name="T28" fmla="*/ 20878 w 172"/>
                  <a:gd name="T29" fmla="*/ 24452 h 159"/>
                  <a:gd name="T30" fmla="*/ 14454 w 172"/>
                  <a:gd name="T31" fmla="*/ 22085 h 159"/>
                  <a:gd name="T32" fmla="*/ 14454 w 172"/>
                  <a:gd name="T33" fmla="*/ 18930 h 159"/>
                  <a:gd name="T34" fmla="*/ 28104 w 172"/>
                  <a:gd name="T35" fmla="*/ 12620 h 159"/>
                  <a:gd name="T36" fmla="*/ 28104 w 172"/>
                  <a:gd name="T37" fmla="*/ 5521 h 159"/>
                  <a:gd name="T38" fmla="*/ 35331 w 172"/>
                  <a:gd name="T39" fmla="*/ 0 h 15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72"/>
                  <a:gd name="T61" fmla="*/ 0 h 159"/>
                  <a:gd name="T62" fmla="*/ 172 w 172"/>
                  <a:gd name="T63" fmla="*/ 159 h 15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72" h="159">
                    <a:moveTo>
                      <a:pt x="172" y="0"/>
                    </a:moveTo>
                    <a:lnTo>
                      <a:pt x="172" y="0"/>
                    </a:lnTo>
                    <a:lnTo>
                      <a:pt x="155" y="0"/>
                    </a:lnTo>
                    <a:lnTo>
                      <a:pt x="121" y="16"/>
                    </a:lnTo>
                    <a:lnTo>
                      <a:pt x="103" y="16"/>
                    </a:lnTo>
                    <a:lnTo>
                      <a:pt x="86" y="31"/>
                    </a:lnTo>
                    <a:lnTo>
                      <a:pt x="69" y="31"/>
                    </a:lnTo>
                    <a:lnTo>
                      <a:pt x="0" y="79"/>
                    </a:lnTo>
                    <a:lnTo>
                      <a:pt x="0" y="96"/>
                    </a:lnTo>
                    <a:lnTo>
                      <a:pt x="17" y="96"/>
                    </a:lnTo>
                    <a:lnTo>
                      <a:pt x="0" y="144"/>
                    </a:lnTo>
                    <a:lnTo>
                      <a:pt x="17" y="159"/>
                    </a:lnTo>
                    <a:lnTo>
                      <a:pt x="34" y="159"/>
                    </a:lnTo>
                    <a:lnTo>
                      <a:pt x="52" y="159"/>
                    </a:lnTo>
                    <a:lnTo>
                      <a:pt x="103" y="127"/>
                    </a:lnTo>
                    <a:lnTo>
                      <a:pt x="69" y="112"/>
                    </a:lnTo>
                    <a:lnTo>
                      <a:pt x="69" y="96"/>
                    </a:lnTo>
                    <a:lnTo>
                      <a:pt x="138" y="64"/>
                    </a:lnTo>
                    <a:lnTo>
                      <a:pt x="138" y="31"/>
                    </a:lnTo>
                    <a:lnTo>
                      <a:pt x="172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24" name="Freeform 158">
                <a:extLst>
                  <a:ext uri="{FF2B5EF4-FFF2-40B4-BE49-F238E27FC236}">
                    <a16:creationId xmlns:a16="http://schemas.microsoft.com/office/drawing/2014/main" id="{5AF466F3-1D91-AD40-A36F-1EC15E68A906}"/>
                  </a:ext>
                </a:extLst>
              </p:cNvPr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auto">
              <a:xfrm>
                <a:off x="7527924" y="3919538"/>
                <a:ext cx="55563" cy="76200"/>
              </a:xfrm>
              <a:custGeom>
                <a:avLst/>
                <a:gdLst>
                  <a:gd name="T0" fmla="*/ 0 w 69"/>
                  <a:gd name="T1" fmla="*/ 3969 h 96"/>
                  <a:gd name="T2" fmla="*/ 0 w 69"/>
                  <a:gd name="T3" fmla="*/ 3969 h 96"/>
                  <a:gd name="T4" fmla="*/ 0 w 69"/>
                  <a:gd name="T5" fmla="*/ 6350 h 96"/>
                  <a:gd name="T6" fmla="*/ 4026 w 69"/>
                  <a:gd name="T7" fmla="*/ 6350 h 96"/>
                  <a:gd name="T8" fmla="*/ 4026 w 69"/>
                  <a:gd name="T9" fmla="*/ 15875 h 96"/>
                  <a:gd name="T10" fmla="*/ 7247 w 69"/>
                  <a:gd name="T11" fmla="*/ 19050 h 96"/>
                  <a:gd name="T12" fmla="*/ 10468 w 69"/>
                  <a:gd name="T13" fmla="*/ 15875 h 96"/>
                  <a:gd name="T14" fmla="*/ 14495 w 69"/>
                  <a:gd name="T15" fmla="*/ 6350 h 96"/>
                  <a:gd name="T16" fmla="*/ 10468 w 69"/>
                  <a:gd name="T17" fmla="*/ 3969 h 96"/>
                  <a:gd name="T18" fmla="*/ 4026 w 69"/>
                  <a:gd name="T19" fmla="*/ 0 h 96"/>
                  <a:gd name="T20" fmla="*/ 0 w 69"/>
                  <a:gd name="T21" fmla="*/ 3969 h 9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9"/>
                  <a:gd name="T34" fmla="*/ 0 h 96"/>
                  <a:gd name="T35" fmla="*/ 69 w 69"/>
                  <a:gd name="T36" fmla="*/ 96 h 9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9" h="96">
                    <a:moveTo>
                      <a:pt x="0" y="17"/>
                    </a:moveTo>
                    <a:lnTo>
                      <a:pt x="0" y="17"/>
                    </a:lnTo>
                    <a:lnTo>
                      <a:pt x="0" y="32"/>
                    </a:lnTo>
                    <a:lnTo>
                      <a:pt x="17" y="32"/>
                    </a:lnTo>
                    <a:lnTo>
                      <a:pt x="17" y="80"/>
                    </a:lnTo>
                    <a:lnTo>
                      <a:pt x="34" y="96"/>
                    </a:lnTo>
                    <a:lnTo>
                      <a:pt x="52" y="80"/>
                    </a:lnTo>
                    <a:lnTo>
                      <a:pt x="69" y="32"/>
                    </a:lnTo>
                    <a:lnTo>
                      <a:pt x="52" y="17"/>
                    </a:lnTo>
                    <a:lnTo>
                      <a:pt x="17" y="0"/>
                    </a:lnTo>
                    <a:lnTo>
                      <a:pt x="0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25" name="Freeform 159">
                <a:extLst>
                  <a:ext uri="{FF2B5EF4-FFF2-40B4-BE49-F238E27FC236}">
                    <a16:creationId xmlns:a16="http://schemas.microsoft.com/office/drawing/2014/main" id="{B43D1F14-11FE-3846-ABD3-9435D1B32E3C}"/>
                  </a:ext>
                </a:extLst>
              </p:cNvPr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auto">
              <a:xfrm>
                <a:off x="7583487" y="3919538"/>
                <a:ext cx="57150" cy="25400"/>
              </a:xfrm>
              <a:custGeom>
                <a:avLst/>
                <a:gdLst>
                  <a:gd name="T0" fmla="*/ 0 w 71"/>
                  <a:gd name="T1" fmla="*/ 3175 h 32"/>
                  <a:gd name="T2" fmla="*/ 0 w 71"/>
                  <a:gd name="T3" fmla="*/ 3175 h 32"/>
                  <a:gd name="T4" fmla="*/ 0 w 71"/>
                  <a:gd name="T5" fmla="*/ 6350 h 32"/>
                  <a:gd name="T6" fmla="*/ 4025 w 71"/>
                  <a:gd name="T7" fmla="*/ 6350 h 32"/>
                  <a:gd name="T8" fmla="*/ 7244 w 71"/>
                  <a:gd name="T9" fmla="*/ 3175 h 32"/>
                  <a:gd name="T10" fmla="*/ 11269 w 71"/>
                  <a:gd name="T11" fmla="*/ 3175 h 32"/>
                  <a:gd name="T12" fmla="*/ 14489 w 71"/>
                  <a:gd name="T13" fmla="*/ 0 h 32"/>
                  <a:gd name="T14" fmla="*/ 7244 w 71"/>
                  <a:gd name="T15" fmla="*/ 0 h 32"/>
                  <a:gd name="T16" fmla="*/ 0 w 71"/>
                  <a:gd name="T17" fmla="*/ 3175 h 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1"/>
                  <a:gd name="T28" fmla="*/ 0 h 32"/>
                  <a:gd name="T29" fmla="*/ 71 w 71"/>
                  <a:gd name="T30" fmla="*/ 32 h 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1" h="32">
                    <a:moveTo>
                      <a:pt x="0" y="17"/>
                    </a:moveTo>
                    <a:lnTo>
                      <a:pt x="0" y="17"/>
                    </a:lnTo>
                    <a:lnTo>
                      <a:pt x="0" y="32"/>
                    </a:lnTo>
                    <a:lnTo>
                      <a:pt x="17" y="32"/>
                    </a:lnTo>
                    <a:lnTo>
                      <a:pt x="35" y="17"/>
                    </a:lnTo>
                    <a:lnTo>
                      <a:pt x="54" y="17"/>
                    </a:lnTo>
                    <a:lnTo>
                      <a:pt x="71" y="0"/>
                    </a:lnTo>
                    <a:lnTo>
                      <a:pt x="35" y="0"/>
                    </a:lnTo>
                    <a:lnTo>
                      <a:pt x="0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26" name="Freeform 160">
                <a:extLst>
                  <a:ext uri="{FF2B5EF4-FFF2-40B4-BE49-F238E27FC236}">
                    <a16:creationId xmlns:a16="http://schemas.microsoft.com/office/drawing/2014/main" id="{4464793F-9148-CE44-9FA3-806DB7F0F97D}"/>
                  </a:ext>
                </a:extLst>
              </p:cNvPr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auto">
              <a:xfrm>
                <a:off x="7558087" y="3729038"/>
                <a:ext cx="233363" cy="204788"/>
              </a:xfrm>
              <a:custGeom>
                <a:avLst/>
                <a:gdLst>
                  <a:gd name="T0" fmla="*/ 0 w 294"/>
                  <a:gd name="T1" fmla="*/ 44623 h 257"/>
                  <a:gd name="T2" fmla="*/ 0 w 294"/>
                  <a:gd name="T3" fmla="*/ 44623 h 257"/>
                  <a:gd name="T4" fmla="*/ 0 w 294"/>
                  <a:gd name="T5" fmla="*/ 47810 h 257"/>
                  <a:gd name="T6" fmla="*/ 7144 w 294"/>
                  <a:gd name="T7" fmla="*/ 47810 h 257"/>
                  <a:gd name="T8" fmla="*/ 20638 w 294"/>
                  <a:gd name="T9" fmla="*/ 42233 h 257"/>
                  <a:gd name="T10" fmla="*/ 23813 w 294"/>
                  <a:gd name="T11" fmla="*/ 44623 h 257"/>
                  <a:gd name="T12" fmla="*/ 23813 w 294"/>
                  <a:gd name="T13" fmla="*/ 47810 h 257"/>
                  <a:gd name="T14" fmla="*/ 27781 w 294"/>
                  <a:gd name="T15" fmla="*/ 51795 h 257"/>
                  <a:gd name="T16" fmla="*/ 30956 w 294"/>
                  <a:gd name="T17" fmla="*/ 44623 h 257"/>
                  <a:gd name="T18" fmla="*/ 30956 w 294"/>
                  <a:gd name="T19" fmla="*/ 42233 h 257"/>
                  <a:gd name="T20" fmla="*/ 34131 w 294"/>
                  <a:gd name="T21" fmla="*/ 44623 h 257"/>
                  <a:gd name="T22" fmla="*/ 37306 w 294"/>
                  <a:gd name="T23" fmla="*/ 44623 h 257"/>
                  <a:gd name="T24" fmla="*/ 41275 w 294"/>
                  <a:gd name="T25" fmla="*/ 42233 h 257"/>
                  <a:gd name="T26" fmla="*/ 44450 w 294"/>
                  <a:gd name="T27" fmla="*/ 44623 h 257"/>
                  <a:gd name="T28" fmla="*/ 44450 w 294"/>
                  <a:gd name="T29" fmla="*/ 42233 h 257"/>
                  <a:gd name="T30" fmla="*/ 47625 w 294"/>
                  <a:gd name="T31" fmla="*/ 38248 h 257"/>
                  <a:gd name="T32" fmla="*/ 47625 w 294"/>
                  <a:gd name="T33" fmla="*/ 42233 h 257"/>
                  <a:gd name="T34" fmla="*/ 51594 w 294"/>
                  <a:gd name="T35" fmla="*/ 42233 h 257"/>
                  <a:gd name="T36" fmla="*/ 55563 w 294"/>
                  <a:gd name="T37" fmla="*/ 38248 h 257"/>
                  <a:gd name="T38" fmla="*/ 55563 w 294"/>
                  <a:gd name="T39" fmla="*/ 23108 h 257"/>
                  <a:gd name="T40" fmla="*/ 58738 w 294"/>
                  <a:gd name="T41" fmla="*/ 23108 h 257"/>
                  <a:gd name="T42" fmla="*/ 58738 w 294"/>
                  <a:gd name="T43" fmla="*/ 16734 h 257"/>
                  <a:gd name="T44" fmla="*/ 58738 w 294"/>
                  <a:gd name="T45" fmla="*/ 3984 h 257"/>
                  <a:gd name="T46" fmla="*/ 55563 w 294"/>
                  <a:gd name="T47" fmla="*/ 0 h 257"/>
                  <a:gd name="T48" fmla="*/ 55563 w 294"/>
                  <a:gd name="T49" fmla="*/ 3984 h 257"/>
                  <a:gd name="T50" fmla="*/ 51594 w 294"/>
                  <a:gd name="T51" fmla="*/ 3984 h 257"/>
                  <a:gd name="T52" fmla="*/ 47625 w 294"/>
                  <a:gd name="T53" fmla="*/ 16734 h 257"/>
                  <a:gd name="T54" fmla="*/ 41275 w 294"/>
                  <a:gd name="T55" fmla="*/ 25499 h 257"/>
                  <a:gd name="T56" fmla="*/ 34131 w 294"/>
                  <a:gd name="T57" fmla="*/ 32670 h 257"/>
                  <a:gd name="T58" fmla="*/ 34131 w 294"/>
                  <a:gd name="T59" fmla="*/ 25499 h 257"/>
                  <a:gd name="T60" fmla="*/ 30956 w 294"/>
                  <a:gd name="T61" fmla="*/ 28686 h 257"/>
                  <a:gd name="T62" fmla="*/ 27781 w 294"/>
                  <a:gd name="T63" fmla="*/ 38248 h 257"/>
                  <a:gd name="T64" fmla="*/ 23813 w 294"/>
                  <a:gd name="T65" fmla="*/ 38248 h 257"/>
                  <a:gd name="T66" fmla="*/ 10319 w 294"/>
                  <a:gd name="T67" fmla="*/ 38248 h 257"/>
                  <a:gd name="T68" fmla="*/ 0 w 294"/>
                  <a:gd name="T69" fmla="*/ 44623 h 25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94"/>
                  <a:gd name="T106" fmla="*/ 0 h 257"/>
                  <a:gd name="T107" fmla="*/ 294 w 294"/>
                  <a:gd name="T108" fmla="*/ 257 h 257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94" h="257">
                    <a:moveTo>
                      <a:pt x="0" y="224"/>
                    </a:moveTo>
                    <a:lnTo>
                      <a:pt x="0" y="224"/>
                    </a:lnTo>
                    <a:lnTo>
                      <a:pt x="0" y="240"/>
                    </a:lnTo>
                    <a:lnTo>
                      <a:pt x="35" y="240"/>
                    </a:lnTo>
                    <a:lnTo>
                      <a:pt x="104" y="209"/>
                    </a:lnTo>
                    <a:lnTo>
                      <a:pt x="121" y="224"/>
                    </a:lnTo>
                    <a:lnTo>
                      <a:pt x="121" y="240"/>
                    </a:lnTo>
                    <a:lnTo>
                      <a:pt x="139" y="257"/>
                    </a:lnTo>
                    <a:lnTo>
                      <a:pt x="156" y="224"/>
                    </a:lnTo>
                    <a:lnTo>
                      <a:pt x="156" y="209"/>
                    </a:lnTo>
                    <a:lnTo>
                      <a:pt x="173" y="224"/>
                    </a:lnTo>
                    <a:lnTo>
                      <a:pt x="190" y="224"/>
                    </a:lnTo>
                    <a:lnTo>
                      <a:pt x="208" y="209"/>
                    </a:lnTo>
                    <a:lnTo>
                      <a:pt x="225" y="224"/>
                    </a:lnTo>
                    <a:lnTo>
                      <a:pt x="225" y="209"/>
                    </a:lnTo>
                    <a:lnTo>
                      <a:pt x="242" y="192"/>
                    </a:lnTo>
                    <a:lnTo>
                      <a:pt x="242" y="209"/>
                    </a:lnTo>
                    <a:lnTo>
                      <a:pt x="260" y="209"/>
                    </a:lnTo>
                    <a:lnTo>
                      <a:pt x="277" y="192"/>
                    </a:lnTo>
                    <a:lnTo>
                      <a:pt x="277" y="113"/>
                    </a:lnTo>
                    <a:lnTo>
                      <a:pt x="294" y="113"/>
                    </a:lnTo>
                    <a:lnTo>
                      <a:pt x="294" y="81"/>
                    </a:lnTo>
                    <a:lnTo>
                      <a:pt x="294" y="17"/>
                    </a:lnTo>
                    <a:lnTo>
                      <a:pt x="277" y="0"/>
                    </a:lnTo>
                    <a:lnTo>
                      <a:pt x="277" y="17"/>
                    </a:lnTo>
                    <a:lnTo>
                      <a:pt x="260" y="17"/>
                    </a:lnTo>
                    <a:lnTo>
                      <a:pt x="242" y="81"/>
                    </a:lnTo>
                    <a:lnTo>
                      <a:pt x="208" y="128"/>
                    </a:lnTo>
                    <a:lnTo>
                      <a:pt x="173" y="161"/>
                    </a:lnTo>
                    <a:lnTo>
                      <a:pt x="173" y="128"/>
                    </a:lnTo>
                    <a:lnTo>
                      <a:pt x="156" y="144"/>
                    </a:lnTo>
                    <a:lnTo>
                      <a:pt x="139" y="192"/>
                    </a:lnTo>
                    <a:lnTo>
                      <a:pt x="121" y="192"/>
                    </a:lnTo>
                    <a:lnTo>
                      <a:pt x="52" y="192"/>
                    </a:lnTo>
                    <a:lnTo>
                      <a:pt x="0" y="224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27" name="Freeform 161">
                <a:extLst>
                  <a:ext uri="{FF2B5EF4-FFF2-40B4-BE49-F238E27FC236}">
                    <a16:creationId xmlns:a16="http://schemas.microsoft.com/office/drawing/2014/main" id="{560FE611-EC53-0248-B209-3789A81EF7D4}"/>
                  </a:ext>
                </a:extLst>
              </p:cNvPr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auto">
              <a:xfrm>
                <a:off x="7750174" y="3614738"/>
                <a:ext cx="136525" cy="114300"/>
              </a:xfrm>
              <a:custGeom>
                <a:avLst/>
                <a:gdLst>
                  <a:gd name="T0" fmla="*/ 0 w 173"/>
                  <a:gd name="T1" fmla="*/ 22225 h 144"/>
                  <a:gd name="T2" fmla="*/ 0 w 173"/>
                  <a:gd name="T3" fmla="*/ 22225 h 144"/>
                  <a:gd name="T4" fmla="*/ 0 w 173"/>
                  <a:gd name="T5" fmla="*/ 28575 h 144"/>
                  <a:gd name="T6" fmla="*/ 6313 w 173"/>
                  <a:gd name="T7" fmla="*/ 26194 h 144"/>
                  <a:gd name="T8" fmla="*/ 3157 w 173"/>
                  <a:gd name="T9" fmla="*/ 26194 h 144"/>
                  <a:gd name="T10" fmla="*/ 3157 w 173"/>
                  <a:gd name="T11" fmla="*/ 22225 h 144"/>
                  <a:gd name="T12" fmla="*/ 6313 w 173"/>
                  <a:gd name="T13" fmla="*/ 22225 h 144"/>
                  <a:gd name="T14" fmla="*/ 10259 w 173"/>
                  <a:gd name="T15" fmla="*/ 22225 h 144"/>
                  <a:gd name="T16" fmla="*/ 20518 w 173"/>
                  <a:gd name="T17" fmla="*/ 26194 h 144"/>
                  <a:gd name="T18" fmla="*/ 23675 w 173"/>
                  <a:gd name="T19" fmla="*/ 19050 h 144"/>
                  <a:gd name="T20" fmla="*/ 26832 w 173"/>
                  <a:gd name="T21" fmla="*/ 19050 h 144"/>
                  <a:gd name="T22" fmla="*/ 33934 w 173"/>
                  <a:gd name="T23" fmla="*/ 15875 h 144"/>
                  <a:gd name="T24" fmla="*/ 30777 w 173"/>
                  <a:gd name="T25" fmla="*/ 15875 h 144"/>
                  <a:gd name="T26" fmla="*/ 26832 w 173"/>
                  <a:gd name="T27" fmla="*/ 13494 h 144"/>
                  <a:gd name="T28" fmla="*/ 30777 w 173"/>
                  <a:gd name="T29" fmla="*/ 9525 h 144"/>
                  <a:gd name="T30" fmla="*/ 26832 w 173"/>
                  <a:gd name="T31" fmla="*/ 13494 h 144"/>
                  <a:gd name="T32" fmla="*/ 20518 w 173"/>
                  <a:gd name="T33" fmla="*/ 9525 h 144"/>
                  <a:gd name="T34" fmla="*/ 10259 w 173"/>
                  <a:gd name="T35" fmla="*/ 0 h 144"/>
                  <a:gd name="T36" fmla="*/ 10259 w 173"/>
                  <a:gd name="T37" fmla="*/ 3969 h 144"/>
                  <a:gd name="T38" fmla="*/ 10259 w 173"/>
                  <a:gd name="T39" fmla="*/ 7144 h 144"/>
                  <a:gd name="T40" fmla="*/ 6313 w 173"/>
                  <a:gd name="T41" fmla="*/ 19050 h 144"/>
                  <a:gd name="T42" fmla="*/ 3157 w 173"/>
                  <a:gd name="T43" fmla="*/ 15875 h 144"/>
                  <a:gd name="T44" fmla="*/ 3157 w 173"/>
                  <a:gd name="T45" fmla="*/ 19050 h 144"/>
                  <a:gd name="T46" fmla="*/ 0 w 173"/>
                  <a:gd name="T47" fmla="*/ 22225 h 14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73"/>
                  <a:gd name="T73" fmla="*/ 0 h 144"/>
                  <a:gd name="T74" fmla="*/ 173 w 173"/>
                  <a:gd name="T75" fmla="*/ 144 h 14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73" h="144">
                    <a:moveTo>
                      <a:pt x="0" y="113"/>
                    </a:moveTo>
                    <a:lnTo>
                      <a:pt x="0" y="113"/>
                    </a:lnTo>
                    <a:lnTo>
                      <a:pt x="0" y="144"/>
                    </a:lnTo>
                    <a:lnTo>
                      <a:pt x="35" y="129"/>
                    </a:lnTo>
                    <a:lnTo>
                      <a:pt x="18" y="129"/>
                    </a:lnTo>
                    <a:lnTo>
                      <a:pt x="18" y="113"/>
                    </a:lnTo>
                    <a:lnTo>
                      <a:pt x="35" y="113"/>
                    </a:lnTo>
                    <a:lnTo>
                      <a:pt x="52" y="113"/>
                    </a:lnTo>
                    <a:lnTo>
                      <a:pt x="104" y="129"/>
                    </a:lnTo>
                    <a:lnTo>
                      <a:pt x="121" y="96"/>
                    </a:lnTo>
                    <a:lnTo>
                      <a:pt x="139" y="96"/>
                    </a:lnTo>
                    <a:lnTo>
                      <a:pt x="173" y="81"/>
                    </a:lnTo>
                    <a:lnTo>
                      <a:pt x="156" y="81"/>
                    </a:lnTo>
                    <a:lnTo>
                      <a:pt x="139" y="65"/>
                    </a:lnTo>
                    <a:lnTo>
                      <a:pt x="156" y="48"/>
                    </a:lnTo>
                    <a:lnTo>
                      <a:pt x="139" y="65"/>
                    </a:lnTo>
                    <a:lnTo>
                      <a:pt x="104" y="48"/>
                    </a:lnTo>
                    <a:lnTo>
                      <a:pt x="52" y="0"/>
                    </a:lnTo>
                    <a:lnTo>
                      <a:pt x="52" y="17"/>
                    </a:lnTo>
                    <a:lnTo>
                      <a:pt x="52" y="33"/>
                    </a:lnTo>
                    <a:lnTo>
                      <a:pt x="35" y="96"/>
                    </a:lnTo>
                    <a:lnTo>
                      <a:pt x="18" y="81"/>
                    </a:lnTo>
                    <a:lnTo>
                      <a:pt x="18" y="96"/>
                    </a:lnTo>
                    <a:lnTo>
                      <a:pt x="0" y="11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28" name="Freeform 162">
                <a:extLst>
                  <a:ext uri="{FF2B5EF4-FFF2-40B4-BE49-F238E27FC236}">
                    <a16:creationId xmlns:a16="http://schemas.microsoft.com/office/drawing/2014/main" id="{E7F86125-6437-234C-827A-963A6704C3A5}"/>
                  </a:ext>
                </a:extLst>
              </p:cNvPr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auto">
              <a:xfrm>
                <a:off x="8078787" y="3462338"/>
                <a:ext cx="26988" cy="25400"/>
              </a:xfrm>
              <a:custGeom>
                <a:avLst/>
                <a:gdLst>
                  <a:gd name="T0" fmla="*/ 0 w 35"/>
                  <a:gd name="T1" fmla="*/ 3079 h 33"/>
                  <a:gd name="T2" fmla="*/ 0 w 35"/>
                  <a:gd name="T3" fmla="*/ 3079 h 33"/>
                  <a:gd name="T4" fmla="*/ 0 w 35"/>
                  <a:gd name="T5" fmla="*/ 6158 h 33"/>
                  <a:gd name="T6" fmla="*/ 3084 w 35"/>
                  <a:gd name="T7" fmla="*/ 3079 h 33"/>
                  <a:gd name="T8" fmla="*/ 6169 w 35"/>
                  <a:gd name="T9" fmla="*/ 0 h 33"/>
                  <a:gd name="T10" fmla="*/ 0 w 35"/>
                  <a:gd name="T11" fmla="*/ 3079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"/>
                  <a:gd name="T19" fmla="*/ 0 h 33"/>
                  <a:gd name="T20" fmla="*/ 35 w 35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" h="33">
                    <a:moveTo>
                      <a:pt x="0" y="17"/>
                    </a:moveTo>
                    <a:lnTo>
                      <a:pt x="0" y="17"/>
                    </a:lnTo>
                    <a:lnTo>
                      <a:pt x="0" y="33"/>
                    </a:lnTo>
                    <a:lnTo>
                      <a:pt x="17" y="17"/>
                    </a:lnTo>
                    <a:lnTo>
                      <a:pt x="35" y="0"/>
                    </a:lnTo>
                    <a:lnTo>
                      <a:pt x="0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29" name="Freeform 163">
                <a:extLst>
                  <a:ext uri="{FF2B5EF4-FFF2-40B4-BE49-F238E27FC236}">
                    <a16:creationId xmlns:a16="http://schemas.microsoft.com/office/drawing/2014/main" id="{C1604ED1-FD8F-9244-9662-48E727401AEB}"/>
                  </a:ext>
                </a:extLst>
              </p:cNvPr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auto">
              <a:xfrm>
                <a:off x="7791449" y="3348038"/>
                <a:ext cx="53975" cy="266700"/>
              </a:xfrm>
              <a:custGeom>
                <a:avLst/>
                <a:gdLst>
                  <a:gd name="T0" fmla="*/ 0 w 69"/>
                  <a:gd name="T1" fmla="*/ 7144 h 336"/>
                  <a:gd name="T2" fmla="*/ 0 w 69"/>
                  <a:gd name="T3" fmla="*/ 7144 h 336"/>
                  <a:gd name="T4" fmla="*/ 0 w 69"/>
                  <a:gd name="T5" fmla="*/ 22225 h 336"/>
                  <a:gd name="T6" fmla="*/ 3129 w 69"/>
                  <a:gd name="T7" fmla="*/ 26194 h 336"/>
                  <a:gd name="T8" fmla="*/ 0 w 69"/>
                  <a:gd name="T9" fmla="*/ 44450 h 336"/>
                  <a:gd name="T10" fmla="*/ 3129 w 69"/>
                  <a:gd name="T11" fmla="*/ 51594 h 336"/>
                  <a:gd name="T12" fmla="*/ 0 w 69"/>
                  <a:gd name="T13" fmla="*/ 61119 h 336"/>
                  <a:gd name="T14" fmla="*/ 3129 w 69"/>
                  <a:gd name="T15" fmla="*/ 66675 h 336"/>
                  <a:gd name="T16" fmla="*/ 3129 w 69"/>
                  <a:gd name="T17" fmla="*/ 61119 h 336"/>
                  <a:gd name="T18" fmla="*/ 10169 w 69"/>
                  <a:gd name="T19" fmla="*/ 64294 h 336"/>
                  <a:gd name="T20" fmla="*/ 10169 w 69"/>
                  <a:gd name="T21" fmla="*/ 61119 h 336"/>
                  <a:gd name="T22" fmla="*/ 3129 w 69"/>
                  <a:gd name="T23" fmla="*/ 51594 h 336"/>
                  <a:gd name="T24" fmla="*/ 6258 w 69"/>
                  <a:gd name="T25" fmla="*/ 41275 h 336"/>
                  <a:gd name="T26" fmla="*/ 10169 w 69"/>
                  <a:gd name="T27" fmla="*/ 41275 h 336"/>
                  <a:gd name="T28" fmla="*/ 13298 w 69"/>
                  <a:gd name="T29" fmla="*/ 41275 h 336"/>
                  <a:gd name="T30" fmla="*/ 6258 w 69"/>
                  <a:gd name="T31" fmla="*/ 19050 h 336"/>
                  <a:gd name="T32" fmla="*/ 6258 w 69"/>
                  <a:gd name="T33" fmla="*/ 3969 h 336"/>
                  <a:gd name="T34" fmla="*/ 6258 w 69"/>
                  <a:gd name="T35" fmla="*/ 0 h 336"/>
                  <a:gd name="T36" fmla="*/ 3129 w 69"/>
                  <a:gd name="T37" fmla="*/ 0 h 336"/>
                  <a:gd name="T38" fmla="*/ 3129 w 69"/>
                  <a:gd name="T39" fmla="*/ 3969 h 336"/>
                  <a:gd name="T40" fmla="*/ 0 w 69"/>
                  <a:gd name="T41" fmla="*/ 7144 h 3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9"/>
                  <a:gd name="T64" fmla="*/ 0 h 336"/>
                  <a:gd name="T65" fmla="*/ 69 w 69"/>
                  <a:gd name="T66" fmla="*/ 336 h 3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9" h="336">
                    <a:moveTo>
                      <a:pt x="0" y="33"/>
                    </a:moveTo>
                    <a:lnTo>
                      <a:pt x="0" y="33"/>
                    </a:lnTo>
                    <a:lnTo>
                      <a:pt x="0" y="113"/>
                    </a:lnTo>
                    <a:lnTo>
                      <a:pt x="17" y="129"/>
                    </a:lnTo>
                    <a:lnTo>
                      <a:pt x="0" y="225"/>
                    </a:lnTo>
                    <a:lnTo>
                      <a:pt x="17" y="257"/>
                    </a:lnTo>
                    <a:lnTo>
                      <a:pt x="0" y="305"/>
                    </a:lnTo>
                    <a:lnTo>
                      <a:pt x="17" y="336"/>
                    </a:lnTo>
                    <a:lnTo>
                      <a:pt x="17" y="305"/>
                    </a:lnTo>
                    <a:lnTo>
                      <a:pt x="52" y="321"/>
                    </a:lnTo>
                    <a:lnTo>
                      <a:pt x="52" y="305"/>
                    </a:lnTo>
                    <a:lnTo>
                      <a:pt x="17" y="257"/>
                    </a:lnTo>
                    <a:lnTo>
                      <a:pt x="35" y="209"/>
                    </a:lnTo>
                    <a:lnTo>
                      <a:pt x="52" y="209"/>
                    </a:lnTo>
                    <a:lnTo>
                      <a:pt x="69" y="209"/>
                    </a:lnTo>
                    <a:lnTo>
                      <a:pt x="35" y="96"/>
                    </a:lnTo>
                    <a:lnTo>
                      <a:pt x="35" y="17"/>
                    </a:lnTo>
                    <a:lnTo>
                      <a:pt x="35" y="0"/>
                    </a:lnTo>
                    <a:lnTo>
                      <a:pt x="17" y="0"/>
                    </a:lnTo>
                    <a:lnTo>
                      <a:pt x="17" y="17"/>
                    </a:lnTo>
                    <a:lnTo>
                      <a:pt x="0" y="3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30" name="Line 164">
                <a:extLst>
                  <a:ext uri="{FF2B5EF4-FFF2-40B4-BE49-F238E27FC236}">
                    <a16:creationId xmlns:a16="http://schemas.microsoft.com/office/drawing/2014/main" id="{B6AF0AAD-4404-E147-A6D4-D01E69E9875D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92"/>
                </p:custDataLst>
              </p:nvPr>
            </p:nvSpPr>
            <p:spPr bwMode="auto">
              <a:xfrm flipV="1">
                <a:off x="7961312" y="3608388"/>
                <a:ext cx="26988" cy="381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31" name="Freeform 165">
                <a:extLst>
                  <a:ext uri="{FF2B5EF4-FFF2-40B4-BE49-F238E27FC236}">
                    <a16:creationId xmlns:a16="http://schemas.microsoft.com/office/drawing/2014/main" id="{39F862F0-EEA3-214F-B8CA-D68CD3005528}"/>
                  </a:ext>
                </a:extLst>
              </p:cNvPr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auto">
              <a:xfrm>
                <a:off x="6318249" y="3373438"/>
                <a:ext cx="1322388" cy="850900"/>
              </a:xfrm>
              <a:custGeom>
                <a:avLst/>
                <a:gdLst>
                  <a:gd name="T0" fmla="*/ 76292 w 1664"/>
                  <a:gd name="T1" fmla="*/ 34958 h 1071"/>
                  <a:gd name="T2" fmla="*/ 92980 w 1664"/>
                  <a:gd name="T3" fmla="*/ 50847 h 1071"/>
                  <a:gd name="T4" fmla="*/ 123974 w 1664"/>
                  <a:gd name="T5" fmla="*/ 79449 h 1071"/>
                  <a:gd name="T6" fmla="*/ 169272 w 1664"/>
                  <a:gd name="T7" fmla="*/ 88983 h 1071"/>
                  <a:gd name="T8" fmla="*/ 207418 w 1664"/>
                  <a:gd name="T9" fmla="*/ 73093 h 1071"/>
                  <a:gd name="T10" fmla="*/ 217749 w 1664"/>
                  <a:gd name="T11" fmla="*/ 66737 h 1071"/>
                  <a:gd name="T12" fmla="*/ 247948 w 1664"/>
                  <a:gd name="T13" fmla="*/ 54025 h 1071"/>
                  <a:gd name="T14" fmla="*/ 234438 w 1664"/>
                  <a:gd name="T15" fmla="*/ 47669 h 1071"/>
                  <a:gd name="T16" fmla="*/ 231259 w 1664"/>
                  <a:gd name="T17" fmla="*/ 28602 h 1071"/>
                  <a:gd name="T18" fmla="*/ 251921 w 1664"/>
                  <a:gd name="T19" fmla="*/ 15890 h 1071"/>
                  <a:gd name="T20" fmla="*/ 251921 w 1664"/>
                  <a:gd name="T21" fmla="*/ 9534 h 1071"/>
                  <a:gd name="T22" fmla="*/ 278941 w 1664"/>
                  <a:gd name="T23" fmla="*/ 3178 h 1071"/>
                  <a:gd name="T24" fmla="*/ 299604 w 1664"/>
                  <a:gd name="T25" fmla="*/ 31780 h 1071"/>
                  <a:gd name="T26" fmla="*/ 317087 w 1664"/>
                  <a:gd name="T27" fmla="*/ 44491 h 1071"/>
                  <a:gd name="T28" fmla="*/ 321061 w 1664"/>
                  <a:gd name="T29" fmla="*/ 66737 h 1071"/>
                  <a:gd name="T30" fmla="*/ 313908 w 1664"/>
                  <a:gd name="T31" fmla="*/ 76271 h 1071"/>
                  <a:gd name="T32" fmla="*/ 299604 w 1664"/>
                  <a:gd name="T33" fmla="*/ 85805 h 1071"/>
                  <a:gd name="T34" fmla="*/ 289272 w 1664"/>
                  <a:gd name="T35" fmla="*/ 88983 h 1071"/>
                  <a:gd name="T36" fmla="*/ 268610 w 1664"/>
                  <a:gd name="T37" fmla="*/ 101695 h 1071"/>
                  <a:gd name="T38" fmla="*/ 258279 w 1664"/>
                  <a:gd name="T39" fmla="*/ 101695 h 1071"/>
                  <a:gd name="T40" fmla="*/ 247948 w 1664"/>
                  <a:gd name="T41" fmla="*/ 101695 h 1071"/>
                  <a:gd name="T42" fmla="*/ 238411 w 1664"/>
                  <a:gd name="T43" fmla="*/ 108051 h 1071"/>
                  <a:gd name="T44" fmla="*/ 265431 w 1664"/>
                  <a:gd name="T45" fmla="*/ 117585 h 1071"/>
                  <a:gd name="T46" fmla="*/ 255100 w 1664"/>
                  <a:gd name="T47" fmla="*/ 120763 h 1071"/>
                  <a:gd name="T48" fmla="*/ 255100 w 1664"/>
                  <a:gd name="T49" fmla="*/ 146186 h 1071"/>
                  <a:gd name="T50" fmla="*/ 262252 w 1664"/>
                  <a:gd name="T51" fmla="*/ 155720 h 1071"/>
                  <a:gd name="T52" fmla="*/ 258279 w 1664"/>
                  <a:gd name="T53" fmla="*/ 171610 h 1071"/>
                  <a:gd name="T54" fmla="*/ 247948 w 1664"/>
                  <a:gd name="T55" fmla="*/ 184322 h 1071"/>
                  <a:gd name="T56" fmla="*/ 241590 w 1664"/>
                  <a:gd name="T57" fmla="*/ 193856 h 1071"/>
                  <a:gd name="T58" fmla="*/ 220928 w 1664"/>
                  <a:gd name="T59" fmla="*/ 203390 h 1071"/>
                  <a:gd name="T60" fmla="*/ 213775 w 1664"/>
                  <a:gd name="T61" fmla="*/ 203390 h 1071"/>
                  <a:gd name="T62" fmla="*/ 197087 w 1664"/>
                  <a:gd name="T63" fmla="*/ 206568 h 1071"/>
                  <a:gd name="T64" fmla="*/ 179603 w 1664"/>
                  <a:gd name="T65" fmla="*/ 206568 h 1071"/>
                  <a:gd name="T66" fmla="*/ 158146 w 1664"/>
                  <a:gd name="T67" fmla="*/ 203390 h 1071"/>
                  <a:gd name="T68" fmla="*/ 151789 w 1664"/>
                  <a:gd name="T69" fmla="*/ 203390 h 1071"/>
                  <a:gd name="T70" fmla="*/ 148610 w 1664"/>
                  <a:gd name="T71" fmla="*/ 206568 h 1071"/>
                  <a:gd name="T72" fmla="*/ 138279 w 1664"/>
                  <a:gd name="T73" fmla="*/ 200212 h 1071"/>
                  <a:gd name="T74" fmla="*/ 131126 w 1664"/>
                  <a:gd name="T75" fmla="*/ 193856 h 1071"/>
                  <a:gd name="T76" fmla="*/ 127947 w 1664"/>
                  <a:gd name="T77" fmla="*/ 171610 h 1071"/>
                  <a:gd name="T78" fmla="*/ 96954 w 1664"/>
                  <a:gd name="T79" fmla="*/ 171610 h 1071"/>
                  <a:gd name="T80" fmla="*/ 79470 w 1664"/>
                  <a:gd name="T81" fmla="*/ 171610 h 1071"/>
                  <a:gd name="T82" fmla="*/ 58808 w 1664"/>
                  <a:gd name="T83" fmla="*/ 168432 h 1071"/>
                  <a:gd name="T84" fmla="*/ 44503 w 1664"/>
                  <a:gd name="T85" fmla="*/ 158898 h 1071"/>
                  <a:gd name="T86" fmla="*/ 24636 w 1664"/>
                  <a:gd name="T87" fmla="*/ 146186 h 1071"/>
                  <a:gd name="T88" fmla="*/ 34172 w 1664"/>
                  <a:gd name="T89" fmla="*/ 133474 h 1071"/>
                  <a:gd name="T90" fmla="*/ 20662 w 1664"/>
                  <a:gd name="T91" fmla="*/ 127119 h 1071"/>
                  <a:gd name="T92" fmla="*/ 3974 w 1664"/>
                  <a:gd name="T93" fmla="*/ 117585 h 1071"/>
                  <a:gd name="T94" fmla="*/ 0 w 1664"/>
                  <a:gd name="T95" fmla="*/ 108051 h 1071"/>
                  <a:gd name="T96" fmla="*/ 14305 w 1664"/>
                  <a:gd name="T97" fmla="*/ 95339 h 1071"/>
                  <a:gd name="T98" fmla="*/ 34172 w 1664"/>
                  <a:gd name="T99" fmla="*/ 85805 h 1071"/>
                  <a:gd name="T100" fmla="*/ 34172 w 1664"/>
                  <a:gd name="T101" fmla="*/ 63559 h 1071"/>
                  <a:gd name="T102" fmla="*/ 58808 w 1664"/>
                  <a:gd name="T103" fmla="*/ 50847 h 1071"/>
                  <a:gd name="T104" fmla="*/ 69139 w 1664"/>
                  <a:gd name="T105" fmla="*/ 38136 h 107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664"/>
                  <a:gd name="T160" fmla="*/ 0 h 1071"/>
                  <a:gd name="T161" fmla="*/ 1664 w 1664"/>
                  <a:gd name="T162" fmla="*/ 1071 h 1071"/>
                  <a:gd name="connsiteX0" fmla="*/ 2085 w 10000"/>
                  <a:gd name="connsiteY0" fmla="*/ 1793 h 10000"/>
                  <a:gd name="connsiteX1" fmla="*/ 2085 w 10000"/>
                  <a:gd name="connsiteY1" fmla="*/ 1793 h 10000"/>
                  <a:gd name="connsiteX2" fmla="*/ 2296 w 10000"/>
                  <a:gd name="connsiteY2" fmla="*/ 1643 h 10000"/>
                  <a:gd name="connsiteX3" fmla="*/ 2500 w 10000"/>
                  <a:gd name="connsiteY3" fmla="*/ 2092 h 10000"/>
                  <a:gd name="connsiteX4" fmla="*/ 2710 w 10000"/>
                  <a:gd name="connsiteY4" fmla="*/ 2092 h 10000"/>
                  <a:gd name="connsiteX5" fmla="*/ 2813 w 10000"/>
                  <a:gd name="connsiteY5" fmla="*/ 2381 h 10000"/>
                  <a:gd name="connsiteX6" fmla="*/ 2813 w 10000"/>
                  <a:gd name="connsiteY6" fmla="*/ 2988 h 10000"/>
                  <a:gd name="connsiteX7" fmla="*/ 3438 w 10000"/>
                  <a:gd name="connsiteY7" fmla="*/ 3277 h 10000"/>
                  <a:gd name="connsiteX8" fmla="*/ 3750 w 10000"/>
                  <a:gd name="connsiteY8" fmla="*/ 3725 h 10000"/>
                  <a:gd name="connsiteX9" fmla="*/ 4369 w 10000"/>
                  <a:gd name="connsiteY9" fmla="*/ 3725 h 10000"/>
                  <a:gd name="connsiteX10" fmla="*/ 4681 w 10000"/>
                  <a:gd name="connsiteY10" fmla="*/ 4034 h 10000"/>
                  <a:gd name="connsiteX11" fmla="*/ 5096 w 10000"/>
                  <a:gd name="connsiteY11" fmla="*/ 4174 h 10000"/>
                  <a:gd name="connsiteX12" fmla="*/ 5523 w 10000"/>
                  <a:gd name="connsiteY12" fmla="*/ 3884 h 10000"/>
                  <a:gd name="connsiteX13" fmla="*/ 5938 w 10000"/>
                  <a:gd name="connsiteY13" fmla="*/ 3884 h 10000"/>
                  <a:gd name="connsiteX14" fmla="*/ 6250 w 10000"/>
                  <a:gd name="connsiteY14" fmla="*/ 3436 h 10000"/>
                  <a:gd name="connsiteX15" fmla="*/ 6148 w 10000"/>
                  <a:gd name="connsiteY15" fmla="*/ 3277 h 10000"/>
                  <a:gd name="connsiteX16" fmla="*/ 6352 w 10000"/>
                  <a:gd name="connsiteY16" fmla="*/ 2988 h 10000"/>
                  <a:gd name="connsiteX17" fmla="*/ 6563 w 10000"/>
                  <a:gd name="connsiteY17" fmla="*/ 3137 h 10000"/>
                  <a:gd name="connsiteX18" fmla="*/ 6875 w 10000"/>
                  <a:gd name="connsiteY18" fmla="*/ 2829 h 10000"/>
                  <a:gd name="connsiteX19" fmla="*/ 7079 w 10000"/>
                  <a:gd name="connsiteY19" fmla="*/ 2540 h 10000"/>
                  <a:gd name="connsiteX20" fmla="*/ 7494 w 10000"/>
                  <a:gd name="connsiteY20" fmla="*/ 2540 h 10000"/>
                  <a:gd name="connsiteX21" fmla="*/ 7392 w 10000"/>
                  <a:gd name="connsiteY21" fmla="*/ 2241 h 10000"/>
                  <a:gd name="connsiteX22" fmla="*/ 7290 w 10000"/>
                  <a:gd name="connsiteY22" fmla="*/ 2092 h 10000"/>
                  <a:gd name="connsiteX23" fmla="*/ 7079 w 10000"/>
                  <a:gd name="connsiteY23" fmla="*/ 2241 h 10000"/>
                  <a:gd name="connsiteX24" fmla="*/ 6875 w 10000"/>
                  <a:gd name="connsiteY24" fmla="*/ 2241 h 10000"/>
                  <a:gd name="connsiteX25" fmla="*/ 6875 w 10000"/>
                  <a:gd name="connsiteY25" fmla="*/ 1643 h 10000"/>
                  <a:gd name="connsiteX26" fmla="*/ 6977 w 10000"/>
                  <a:gd name="connsiteY26" fmla="*/ 1345 h 10000"/>
                  <a:gd name="connsiteX27" fmla="*/ 7188 w 10000"/>
                  <a:gd name="connsiteY27" fmla="*/ 1485 h 10000"/>
                  <a:gd name="connsiteX28" fmla="*/ 7494 w 10000"/>
                  <a:gd name="connsiteY28" fmla="*/ 1345 h 10000"/>
                  <a:gd name="connsiteX29" fmla="*/ 7602 w 10000"/>
                  <a:gd name="connsiteY29" fmla="*/ 747 h 10000"/>
                  <a:gd name="connsiteX30" fmla="*/ 7704 w 10000"/>
                  <a:gd name="connsiteY30" fmla="*/ 588 h 10000"/>
                  <a:gd name="connsiteX31" fmla="*/ 7704 w 10000"/>
                  <a:gd name="connsiteY31" fmla="*/ 448 h 10000"/>
                  <a:gd name="connsiteX32" fmla="*/ 7602 w 10000"/>
                  <a:gd name="connsiteY32" fmla="*/ 448 h 10000"/>
                  <a:gd name="connsiteX33" fmla="*/ 7704 w 10000"/>
                  <a:gd name="connsiteY33" fmla="*/ 140 h 10000"/>
                  <a:gd name="connsiteX34" fmla="*/ 8119 w 10000"/>
                  <a:gd name="connsiteY34" fmla="*/ 0 h 10000"/>
                  <a:gd name="connsiteX35" fmla="*/ 8431 w 10000"/>
                  <a:gd name="connsiteY35" fmla="*/ 140 h 10000"/>
                  <a:gd name="connsiteX36" fmla="*/ 8642 w 10000"/>
                  <a:gd name="connsiteY36" fmla="*/ 448 h 10000"/>
                  <a:gd name="connsiteX37" fmla="*/ 8846 w 10000"/>
                  <a:gd name="connsiteY37" fmla="*/ 1485 h 10000"/>
                  <a:gd name="connsiteX38" fmla="*/ 9056 w 10000"/>
                  <a:gd name="connsiteY38" fmla="*/ 1485 h 10000"/>
                  <a:gd name="connsiteX39" fmla="*/ 9363 w 10000"/>
                  <a:gd name="connsiteY39" fmla="*/ 1793 h 10000"/>
                  <a:gd name="connsiteX40" fmla="*/ 9363 w 10000"/>
                  <a:gd name="connsiteY40" fmla="*/ 2092 h 10000"/>
                  <a:gd name="connsiteX41" fmla="*/ 9585 w 10000"/>
                  <a:gd name="connsiteY41" fmla="*/ 2092 h 10000"/>
                  <a:gd name="connsiteX42" fmla="*/ 10000 w 10000"/>
                  <a:gd name="connsiteY42" fmla="*/ 1933 h 10000"/>
                  <a:gd name="connsiteX43" fmla="*/ 10000 w 10000"/>
                  <a:gd name="connsiteY43" fmla="*/ 2241 h 10000"/>
                  <a:gd name="connsiteX44" fmla="*/ 9688 w 10000"/>
                  <a:gd name="connsiteY44" fmla="*/ 3137 h 10000"/>
                  <a:gd name="connsiteX45" fmla="*/ 9585 w 10000"/>
                  <a:gd name="connsiteY45" fmla="*/ 2988 h 10000"/>
                  <a:gd name="connsiteX46" fmla="*/ 9363 w 10000"/>
                  <a:gd name="connsiteY46" fmla="*/ 3137 h 10000"/>
                  <a:gd name="connsiteX47" fmla="*/ 9483 w 10000"/>
                  <a:gd name="connsiteY47" fmla="*/ 3585 h 10000"/>
                  <a:gd name="connsiteX48" fmla="*/ 9363 w 10000"/>
                  <a:gd name="connsiteY48" fmla="*/ 3884 h 10000"/>
                  <a:gd name="connsiteX49" fmla="*/ 9261 w 10000"/>
                  <a:gd name="connsiteY49" fmla="*/ 3884 h 10000"/>
                  <a:gd name="connsiteX50" fmla="*/ 9056 w 10000"/>
                  <a:gd name="connsiteY50" fmla="*/ 4034 h 10000"/>
                  <a:gd name="connsiteX51" fmla="*/ 8948 w 10000"/>
                  <a:gd name="connsiteY51" fmla="*/ 4034 h 10000"/>
                  <a:gd name="connsiteX52" fmla="*/ 8846 w 10000"/>
                  <a:gd name="connsiteY52" fmla="*/ 4174 h 10000"/>
                  <a:gd name="connsiteX53" fmla="*/ 8744 w 10000"/>
                  <a:gd name="connsiteY53" fmla="*/ 4174 h 10000"/>
                  <a:gd name="connsiteX54" fmla="*/ 8329 w 10000"/>
                  <a:gd name="connsiteY54" fmla="*/ 4622 h 10000"/>
                  <a:gd name="connsiteX55" fmla="*/ 8329 w 10000"/>
                  <a:gd name="connsiteY55" fmla="*/ 4781 h 10000"/>
                  <a:gd name="connsiteX56" fmla="*/ 8119 w 10000"/>
                  <a:gd name="connsiteY56" fmla="*/ 4781 h 10000"/>
                  <a:gd name="connsiteX57" fmla="*/ 7806 w 10000"/>
                  <a:gd name="connsiteY57" fmla="*/ 5070 h 10000"/>
                  <a:gd name="connsiteX58" fmla="*/ 7806 w 10000"/>
                  <a:gd name="connsiteY58" fmla="*/ 4930 h 10000"/>
                  <a:gd name="connsiteX59" fmla="*/ 7806 w 10000"/>
                  <a:gd name="connsiteY59" fmla="*/ 4781 h 10000"/>
                  <a:gd name="connsiteX60" fmla="*/ 7915 w 10000"/>
                  <a:gd name="connsiteY60" fmla="*/ 4482 h 10000"/>
                  <a:gd name="connsiteX61" fmla="*/ 7806 w 10000"/>
                  <a:gd name="connsiteY61" fmla="*/ 4332 h 10000"/>
                  <a:gd name="connsiteX62" fmla="*/ 7494 w 10000"/>
                  <a:gd name="connsiteY62" fmla="*/ 4781 h 10000"/>
                  <a:gd name="connsiteX63" fmla="*/ 7392 w 10000"/>
                  <a:gd name="connsiteY63" fmla="*/ 4930 h 10000"/>
                  <a:gd name="connsiteX64" fmla="*/ 7290 w 10000"/>
                  <a:gd name="connsiteY64" fmla="*/ 4930 h 10000"/>
                  <a:gd name="connsiteX65" fmla="*/ 7188 w 10000"/>
                  <a:gd name="connsiteY65" fmla="*/ 5070 h 10000"/>
                  <a:gd name="connsiteX66" fmla="*/ 7494 w 10000"/>
                  <a:gd name="connsiteY66" fmla="*/ 5518 h 10000"/>
                  <a:gd name="connsiteX67" fmla="*/ 7704 w 10000"/>
                  <a:gd name="connsiteY67" fmla="*/ 5369 h 10000"/>
                  <a:gd name="connsiteX68" fmla="*/ 8017 w 10000"/>
                  <a:gd name="connsiteY68" fmla="*/ 5518 h 10000"/>
                  <a:gd name="connsiteX69" fmla="*/ 8017 w 10000"/>
                  <a:gd name="connsiteY69" fmla="*/ 5677 h 10000"/>
                  <a:gd name="connsiteX70" fmla="*/ 7915 w 10000"/>
                  <a:gd name="connsiteY70" fmla="*/ 5518 h 10000"/>
                  <a:gd name="connsiteX71" fmla="*/ 7704 w 10000"/>
                  <a:gd name="connsiteY71" fmla="*/ 5677 h 10000"/>
                  <a:gd name="connsiteX72" fmla="*/ 7494 w 10000"/>
                  <a:gd name="connsiteY72" fmla="*/ 6125 h 10000"/>
                  <a:gd name="connsiteX73" fmla="*/ 7602 w 10000"/>
                  <a:gd name="connsiteY73" fmla="*/ 6265 h 10000"/>
                  <a:gd name="connsiteX74" fmla="*/ 7704 w 10000"/>
                  <a:gd name="connsiteY74" fmla="*/ 6863 h 10000"/>
                  <a:gd name="connsiteX75" fmla="*/ 7915 w 10000"/>
                  <a:gd name="connsiteY75" fmla="*/ 7021 h 10000"/>
                  <a:gd name="connsiteX76" fmla="*/ 7806 w 10000"/>
                  <a:gd name="connsiteY76" fmla="*/ 7021 h 10000"/>
                  <a:gd name="connsiteX77" fmla="*/ 7915 w 10000"/>
                  <a:gd name="connsiteY77" fmla="*/ 7311 h 10000"/>
                  <a:gd name="connsiteX78" fmla="*/ 7602 w 10000"/>
                  <a:gd name="connsiteY78" fmla="*/ 7470 h 10000"/>
                  <a:gd name="connsiteX79" fmla="*/ 7915 w 10000"/>
                  <a:gd name="connsiteY79" fmla="*/ 7470 h 10000"/>
                  <a:gd name="connsiteX80" fmla="*/ 7806 w 10000"/>
                  <a:gd name="connsiteY80" fmla="*/ 8058 h 10000"/>
                  <a:gd name="connsiteX81" fmla="*/ 7602 w 10000"/>
                  <a:gd name="connsiteY81" fmla="*/ 8366 h 10000"/>
                  <a:gd name="connsiteX82" fmla="*/ 7494 w 10000"/>
                  <a:gd name="connsiteY82" fmla="*/ 8366 h 10000"/>
                  <a:gd name="connsiteX83" fmla="*/ 7494 w 10000"/>
                  <a:gd name="connsiteY83" fmla="*/ 8655 h 10000"/>
                  <a:gd name="connsiteX84" fmla="*/ 7392 w 10000"/>
                  <a:gd name="connsiteY84" fmla="*/ 8954 h 10000"/>
                  <a:gd name="connsiteX85" fmla="*/ 7290 w 10000"/>
                  <a:gd name="connsiteY85" fmla="*/ 8954 h 10000"/>
                  <a:gd name="connsiteX86" fmla="*/ 7290 w 10000"/>
                  <a:gd name="connsiteY86" fmla="*/ 9104 h 10000"/>
                  <a:gd name="connsiteX87" fmla="*/ 6977 w 10000"/>
                  <a:gd name="connsiteY87" fmla="*/ 9402 h 10000"/>
                  <a:gd name="connsiteX88" fmla="*/ 6665 w 10000"/>
                  <a:gd name="connsiteY88" fmla="*/ 9402 h 10000"/>
                  <a:gd name="connsiteX89" fmla="*/ 6665 w 10000"/>
                  <a:gd name="connsiteY89" fmla="*/ 9552 h 10000"/>
                  <a:gd name="connsiteX90" fmla="*/ 6563 w 10000"/>
                  <a:gd name="connsiteY90" fmla="*/ 9402 h 10000"/>
                  <a:gd name="connsiteX91" fmla="*/ 6563 w 10000"/>
                  <a:gd name="connsiteY91" fmla="*/ 9552 h 10000"/>
                  <a:gd name="connsiteX92" fmla="*/ 6460 w 10000"/>
                  <a:gd name="connsiteY92" fmla="*/ 9552 h 10000"/>
                  <a:gd name="connsiteX93" fmla="*/ 6046 w 10000"/>
                  <a:gd name="connsiteY93" fmla="*/ 9851 h 10000"/>
                  <a:gd name="connsiteX94" fmla="*/ 5938 w 10000"/>
                  <a:gd name="connsiteY94" fmla="*/ 10000 h 10000"/>
                  <a:gd name="connsiteX95" fmla="*/ 5938 w 10000"/>
                  <a:gd name="connsiteY95" fmla="*/ 9711 h 10000"/>
                  <a:gd name="connsiteX96" fmla="*/ 5733 w 10000"/>
                  <a:gd name="connsiteY96" fmla="*/ 9711 h 10000"/>
                  <a:gd name="connsiteX97" fmla="*/ 5625 w 10000"/>
                  <a:gd name="connsiteY97" fmla="*/ 9711 h 10000"/>
                  <a:gd name="connsiteX98" fmla="*/ 5409 w 10000"/>
                  <a:gd name="connsiteY98" fmla="*/ 9711 h 10000"/>
                  <a:gd name="connsiteX99" fmla="*/ 5409 w 10000"/>
                  <a:gd name="connsiteY99" fmla="*/ 9402 h 10000"/>
                  <a:gd name="connsiteX100" fmla="*/ 5198 w 10000"/>
                  <a:gd name="connsiteY100" fmla="*/ 9402 h 10000"/>
                  <a:gd name="connsiteX101" fmla="*/ 4784 w 10000"/>
                  <a:gd name="connsiteY101" fmla="*/ 9552 h 10000"/>
                  <a:gd name="connsiteX102" fmla="*/ 4681 w 10000"/>
                  <a:gd name="connsiteY102" fmla="*/ 9402 h 10000"/>
                  <a:gd name="connsiteX103" fmla="*/ 4681 w 10000"/>
                  <a:gd name="connsiteY103" fmla="*/ 9552 h 10000"/>
                  <a:gd name="connsiteX104" fmla="*/ 4579 w 10000"/>
                  <a:gd name="connsiteY104" fmla="*/ 9552 h 10000"/>
                  <a:gd name="connsiteX105" fmla="*/ 4579 w 10000"/>
                  <a:gd name="connsiteY105" fmla="*/ 9851 h 10000"/>
                  <a:gd name="connsiteX106" fmla="*/ 4477 w 10000"/>
                  <a:gd name="connsiteY106" fmla="*/ 9851 h 10000"/>
                  <a:gd name="connsiteX107" fmla="*/ 4477 w 10000"/>
                  <a:gd name="connsiteY107" fmla="*/ 9711 h 10000"/>
                  <a:gd name="connsiteX108" fmla="*/ 4369 w 10000"/>
                  <a:gd name="connsiteY108" fmla="*/ 9711 h 10000"/>
                  <a:gd name="connsiteX109" fmla="*/ 4165 w 10000"/>
                  <a:gd name="connsiteY109" fmla="*/ 9552 h 10000"/>
                  <a:gd name="connsiteX110" fmla="*/ 4165 w 10000"/>
                  <a:gd name="connsiteY110" fmla="*/ 9402 h 10000"/>
                  <a:gd name="connsiteX111" fmla="*/ 4165 w 10000"/>
                  <a:gd name="connsiteY111" fmla="*/ 9262 h 10000"/>
                  <a:gd name="connsiteX112" fmla="*/ 4056 w 10000"/>
                  <a:gd name="connsiteY112" fmla="*/ 9104 h 10000"/>
                  <a:gd name="connsiteX113" fmla="*/ 3954 w 10000"/>
                  <a:gd name="connsiteY113" fmla="*/ 9104 h 10000"/>
                  <a:gd name="connsiteX114" fmla="*/ 4056 w 10000"/>
                  <a:gd name="connsiteY114" fmla="*/ 8366 h 10000"/>
                  <a:gd name="connsiteX115" fmla="*/ 3954 w 10000"/>
                  <a:gd name="connsiteY115" fmla="*/ 8058 h 10000"/>
                  <a:gd name="connsiteX116" fmla="*/ 3852 w 10000"/>
                  <a:gd name="connsiteY116" fmla="*/ 8058 h 10000"/>
                  <a:gd name="connsiteX117" fmla="*/ 3642 w 10000"/>
                  <a:gd name="connsiteY117" fmla="*/ 7759 h 10000"/>
                  <a:gd name="connsiteX118" fmla="*/ 3438 w 10000"/>
                  <a:gd name="connsiteY118" fmla="*/ 7759 h 10000"/>
                  <a:gd name="connsiteX119" fmla="*/ 2915 w 10000"/>
                  <a:gd name="connsiteY119" fmla="*/ 8058 h 10000"/>
                  <a:gd name="connsiteX120" fmla="*/ 2608 w 10000"/>
                  <a:gd name="connsiteY120" fmla="*/ 8058 h 10000"/>
                  <a:gd name="connsiteX121" fmla="*/ 2500 w 10000"/>
                  <a:gd name="connsiteY121" fmla="*/ 8207 h 10000"/>
                  <a:gd name="connsiteX122" fmla="*/ 2398 w 10000"/>
                  <a:gd name="connsiteY122" fmla="*/ 8058 h 10000"/>
                  <a:gd name="connsiteX123" fmla="*/ 2296 w 10000"/>
                  <a:gd name="connsiteY123" fmla="*/ 8058 h 10000"/>
                  <a:gd name="connsiteX124" fmla="*/ 1983 w 10000"/>
                  <a:gd name="connsiteY124" fmla="*/ 8058 h 10000"/>
                  <a:gd name="connsiteX125" fmla="*/ 1773 w 10000"/>
                  <a:gd name="connsiteY125" fmla="*/ 7918 h 10000"/>
                  <a:gd name="connsiteX126" fmla="*/ 1671 w 10000"/>
                  <a:gd name="connsiteY126" fmla="*/ 7759 h 10000"/>
                  <a:gd name="connsiteX127" fmla="*/ 1556 w 10000"/>
                  <a:gd name="connsiteY127" fmla="*/ 7759 h 10000"/>
                  <a:gd name="connsiteX128" fmla="*/ 1346 w 10000"/>
                  <a:gd name="connsiteY128" fmla="*/ 7470 h 10000"/>
                  <a:gd name="connsiteX129" fmla="*/ 1142 w 10000"/>
                  <a:gd name="connsiteY129" fmla="*/ 7470 h 10000"/>
                  <a:gd name="connsiteX130" fmla="*/ 829 w 10000"/>
                  <a:gd name="connsiteY130" fmla="*/ 7311 h 10000"/>
                  <a:gd name="connsiteX131" fmla="*/ 727 w 10000"/>
                  <a:gd name="connsiteY131" fmla="*/ 6863 h 10000"/>
                  <a:gd name="connsiteX132" fmla="*/ 931 w 10000"/>
                  <a:gd name="connsiteY132" fmla="*/ 6863 h 10000"/>
                  <a:gd name="connsiteX133" fmla="*/ 829 w 10000"/>
                  <a:gd name="connsiteY133" fmla="*/ 6573 h 10000"/>
                  <a:gd name="connsiteX134" fmla="*/ 1034 w 10000"/>
                  <a:gd name="connsiteY134" fmla="*/ 6265 h 10000"/>
                  <a:gd name="connsiteX135" fmla="*/ 1034 w 10000"/>
                  <a:gd name="connsiteY135" fmla="*/ 5966 h 10000"/>
                  <a:gd name="connsiteX136" fmla="*/ 931 w 10000"/>
                  <a:gd name="connsiteY136" fmla="*/ 5817 h 10000"/>
                  <a:gd name="connsiteX137" fmla="*/ 619 w 10000"/>
                  <a:gd name="connsiteY137" fmla="*/ 5966 h 10000"/>
                  <a:gd name="connsiteX138" fmla="*/ 415 w 10000"/>
                  <a:gd name="connsiteY138" fmla="*/ 5817 h 10000"/>
                  <a:gd name="connsiteX139" fmla="*/ 306 w 10000"/>
                  <a:gd name="connsiteY139" fmla="*/ 5677 h 10000"/>
                  <a:gd name="connsiteX140" fmla="*/ 102 w 10000"/>
                  <a:gd name="connsiteY140" fmla="*/ 5518 h 10000"/>
                  <a:gd name="connsiteX141" fmla="*/ 216 w 10000"/>
                  <a:gd name="connsiteY141" fmla="*/ 5243 h 10000"/>
                  <a:gd name="connsiteX142" fmla="*/ 204 w 10000"/>
                  <a:gd name="connsiteY142" fmla="*/ 5070 h 10000"/>
                  <a:gd name="connsiteX143" fmla="*/ 0 w 10000"/>
                  <a:gd name="connsiteY143" fmla="*/ 5070 h 10000"/>
                  <a:gd name="connsiteX144" fmla="*/ 0 w 10000"/>
                  <a:gd name="connsiteY144" fmla="*/ 4622 h 10000"/>
                  <a:gd name="connsiteX145" fmla="*/ 204 w 10000"/>
                  <a:gd name="connsiteY145" fmla="*/ 4482 h 10000"/>
                  <a:gd name="connsiteX146" fmla="*/ 415 w 10000"/>
                  <a:gd name="connsiteY146" fmla="*/ 4482 h 10000"/>
                  <a:gd name="connsiteX147" fmla="*/ 517 w 10000"/>
                  <a:gd name="connsiteY147" fmla="*/ 4332 h 10000"/>
                  <a:gd name="connsiteX148" fmla="*/ 727 w 10000"/>
                  <a:gd name="connsiteY148" fmla="*/ 4332 h 10000"/>
                  <a:gd name="connsiteX149" fmla="*/ 1034 w 10000"/>
                  <a:gd name="connsiteY149" fmla="*/ 4034 h 10000"/>
                  <a:gd name="connsiteX150" fmla="*/ 1142 w 10000"/>
                  <a:gd name="connsiteY150" fmla="*/ 3725 h 10000"/>
                  <a:gd name="connsiteX151" fmla="*/ 1034 w 10000"/>
                  <a:gd name="connsiteY151" fmla="*/ 3137 h 10000"/>
                  <a:gd name="connsiteX152" fmla="*/ 1034 w 10000"/>
                  <a:gd name="connsiteY152" fmla="*/ 2988 h 10000"/>
                  <a:gd name="connsiteX153" fmla="*/ 1346 w 10000"/>
                  <a:gd name="connsiteY153" fmla="*/ 2988 h 10000"/>
                  <a:gd name="connsiteX154" fmla="*/ 1454 w 10000"/>
                  <a:gd name="connsiteY154" fmla="*/ 2381 h 10000"/>
                  <a:gd name="connsiteX155" fmla="*/ 1773 w 10000"/>
                  <a:gd name="connsiteY155" fmla="*/ 2381 h 10000"/>
                  <a:gd name="connsiteX156" fmla="*/ 1881 w 10000"/>
                  <a:gd name="connsiteY156" fmla="*/ 2381 h 10000"/>
                  <a:gd name="connsiteX157" fmla="*/ 1983 w 10000"/>
                  <a:gd name="connsiteY157" fmla="*/ 1933 h 10000"/>
                  <a:gd name="connsiteX158" fmla="*/ 2085 w 10000"/>
                  <a:gd name="connsiteY158" fmla="*/ 1793 h 10000"/>
                  <a:gd name="connsiteX0" fmla="*/ 2085 w 10000"/>
                  <a:gd name="connsiteY0" fmla="*/ 1793 h 10000"/>
                  <a:gd name="connsiteX1" fmla="*/ 2085 w 10000"/>
                  <a:gd name="connsiteY1" fmla="*/ 1793 h 10000"/>
                  <a:gd name="connsiteX2" fmla="*/ 2296 w 10000"/>
                  <a:gd name="connsiteY2" fmla="*/ 1643 h 10000"/>
                  <a:gd name="connsiteX3" fmla="*/ 2500 w 10000"/>
                  <a:gd name="connsiteY3" fmla="*/ 2092 h 10000"/>
                  <a:gd name="connsiteX4" fmla="*/ 2710 w 10000"/>
                  <a:gd name="connsiteY4" fmla="*/ 2092 h 10000"/>
                  <a:gd name="connsiteX5" fmla="*/ 2813 w 10000"/>
                  <a:gd name="connsiteY5" fmla="*/ 2381 h 10000"/>
                  <a:gd name="connsiteX6" fmla="*/ 2813 w 10000"/>
                  <a:gd name="connsiteY6" fmla="*/ 2988 h 10000"/>
                  <a:gd name="connsiteX7" fmla="*/ 3438 w 10000"/>
                  <a:gd name="connsiteY7" fmla="*/ 3277 h 10000"/>
                  <a:gd name="connsiteX8" fmla="*/ 3750 w 10000"/>
                  <a:gd name="connsiteY8" fmla="*/ 3725 h 10000"/>
                  <a:gd name="connsiteX9" fmla="*/ 4369 w 10000"/>
                  <a:gd name="connsiteY9" fmla="*/ 3725 h 10000"/>
                  <a:gd name="connsiteX10" fmla="*/ 4681 w 10000"/>
                  <a:gd name="connsiteY10" fmla="*/ 4034 h 10000"/>
                  <a:gd name="connsiteX11" fmla="*/ 5096 w 10000"/>
                  <a:gd name="connsiteY11" fmla="*/ 4174 h 10000"/>
                  <a:gd name="connsiteX12" fmla="*/ 5523 w 10000"/>
                  <a:gd name="connsiteY12" fmla="*/ 3884 h 10000"/>
                  <a:gd name="connsiteX13" fmla="*/ 5938 w 10000"/>
                  <a:gd name="connsiteY13" fmla="*/ 3884 h 10000"/>
                  <a:gd name="connsiteX14" fmla="*/ 6250 w 10000"/>
                  <a:gd name="connsiteY14" fmla="*/ 3436 h 10000"/>
                  <a:gd name="connsiteX15" fmla="*/ 6148 w 10000"/>
                  <a:gd name="connsiteY15" fmla="*/ 3277 h 10000"/>
                  <a:gd name="connsiteX16" fmla="*/ 6352 w 10000"/>
                  <a:gd name="connsiteY16" fmla="*/ 2988 h 10000"/>
                  <a:gd name="connsiteX17" fmla="*/ 6563 w 10000"/>
                  <a:gd name="connsiteY17" fmla="*/ 3137 h 10000"/>
                  <a:gd name="connsiteX18" fmla="*/ 6875 w 10000"/>
                  <a:gd name="connsiteY18" fmla="*/ 2829 h 10000"/>
                  <a:gd name="connsiteX19" fmla="*/ 7079 w 10000"/>
                  <a:gd name="connsiteY19" fmla="*/ 2540 h 10000"/>
                  <a:gd name="connsiteX20" fmla="*/ 7494 w 10000"/>
                  <a:gd name="connsiteY20" fmla="*/ 2540 h 10000"/>
                  <a:gd name="connsiteX21" fmla="*/ 7392 w 10000"/>
                  <a:gd name="connsiteY21" fmla="*/ 2241 h 10000"/>
                  <a:gd name="connsiteX22" fmla="*/ 7290 w 10000"/>
                  <a:gd name="connsiteY22" fmla="*/ 2092 h 10000"/>
                  <a:gd name="connsiteX23" fmla="*/ 7079 w 10000"/>
                  <a:gd name="connsiteY23" fmla="*/ 2241 h 10000"/>
                  <a:gd name="connsiteX24" fmla="*/ 6875 w 10000"/>
                  <a:gd name="connsiteY24" fmla="*/ 2241 h 10000"/>
                  <a:gd name="connsiteX25" fmla="*/ 6875 w 10000"/>
                  <a:gd name="connsiteY25" fmla="*/ 1643 h 10000"/>
                  <a:gd name="connsiteX26" fmla="*/ 6977 w 10000"/>
                  <a:gd name="connsiteY26" fmla="*/ 1345 h 10000"/>
                  <a:gd name="connsiteX27" fmla="*/ 7188 w 10000"/>
                  <a:gd name="connsiteY27" fmla="*/ 1485 h 10000"/>
                  <a:gd name="connsiteX28" fmla="*/ 7494 w 10000"/>
                  <a:gd name="connsiteY28" fmla="*/ 1345 h 10000"/>
                  <a:gd name="connsiteX29" fmla="*/ 7602 w 10000"/>
                  <a:gd name="connsiteY29" fmla="*/ 747 h 10000"/>
                  <a:gd name="connsiteX30" fmla="*/ 7704 w 10000"/>
                  <a:gd name="connsiteY30" fmla="*/ 588 h 10000"/>
                  <a:gd name="connsiteX31" fmla="*/ 7704 w 10000"/>
                  <a:gd name="connsiteY31" fmla="*/ 448 h 10000"/>
                  <a:gd name="connsiteX32" fmla="*/ 7602 w 10000"/>
                  <a:gd name="connsiteY32" fmla="*/ 448 h 10000"/>
                  <a:gd name="connsiteX33" fmla="*/ 7704 w 10000"/>
                  <a:gd name="connsiteY33" fmla="*/ 140 h 10000"/>
                  <a:gd name="connsiteX34" fmla="*/ 8119 w 10000"/>
                  <a:gd name="connsiteY34" fmla="*/ 0 h 10000"/>
                  <a:gd name="connsiteX35" fmla="*/ 8431 w 10000"/>
                  <a:gd name="connsiteY35" fmla="*/ 140 h 10000"/>
                  <a:gd name="connsiteX36" fmla="*/ 8642 w 10000"/>
                  <a:gd name="connsiteY36" fmla="*/ 448 h 10000"/>
                  <a:gd name="connsiteX37" fmla="*/ 8846 w 10000"/>
                  <a:gd name="connsiteY37" fmla="*/ 1485 h 10000"/>
                  <a:gd name="connsiteX38" fmla="*/ 9056 w 10000"/>
                  <a:gd name="connsiteY38" fmla="*/ 1485 h 10000"/>
                  <a:gd name="connsiteX39" fmla="*/ 9363 w 10000"/>
                  <a:gd name="connsiteY39" fmla="*/ 1793 h 10000"/>
                  <a:gd name="connsiteX40" fmla="*/ 9363 w 10000"/>
                  <a:gd name="connsiteY40" fmla="*/ 2092 h 10000"/>
                  <a:gd name="connsiteX41" fmla="*/ 9585 w 10000"/>
                  <a:gd name="connsiteY41" fmla="*/ 2092 h 10000"/>
                  <a:gd name="connsiteX42" fmla="*/ 10000 w 10000"/>
                  <a:gd name="connsiteY42" fmla="*/ 1933 h 10000"/>
                  <a:gd name="connsiteX43" fmla="*/ 10000 w 10000"/>
                  <a:gd name="connsiteY43" fmla="*/ 2241 h 10000"/>
                  <a:gd name="connsiteX44" fmla="*/ 9688 w 10000"/>
                  <a:gd name="connsiteY44" fmla="*/ 3137 h 10000"/>
                  <a:gd name="connsiteX45" fmla="*/ 9585 w 10000"/>
                  <a:gd name="connsiteY45" fmla="*/ 2988 h 10000"/>
                  <a:gd name="connsiteX46" fmla="*/ 9363 w 10000"/>
                  <a:gd name="connsiteY46" fmla="*/ 3137 h 10000"/>
                  <a:gd name="connsiteX47" fmla="*/ 9483 w 10000"/>
                  <a:gd name="connsiteY47" fmla="*/ 3585 h 10000"/>
                  <a:gd name="connsiteX48" fmla="*/ 9363 w 10000"/>
                  <a:gd name="connsiteY48" fmla="*/ 3884 h 10000"/>
                  <a:gd name="connsiteX49" fmla="*/ 9261 w 10000"/>
                  <a:gd name="connsiteY49" fmla="*/ 3884 h 10000"/>
                  <a:gd name="connsiteX50" fmla="*/ 9056 w 10000"/>
                  <a:gd name="connsiteY50" fmla="*/ 4034 h 10000"/>
                  <a:gd name="connsiteX51" fmla="*/ 8948 w 10000"/>
                  <a:gd name="connsiteY51" fmla="*/ 4034 h 10000"/>
                  <a:gd name="connsiteX52" fmla="*/ 8846 w 10000"/>
                  <a:gd name="connsiteY52" fmla="*/ 4174 h 10000"/>
                  <a:gd name="connsiteX53" fmla="*/ 8744 w 10000"/>
                  <a:gd name="connsiteY53" fmla="*/ 4174 h 10000"/>
                  <a:gd name="connsiteX54" fmla="*/ 8329 w 10000"/>
                  <a:gd name="connsiteY54" fmla="*/ 4622 h 10000"/>
                  <a:gd name="connsiteX55" fmla="*/ 8329 w 10000"/>
                  <a:gd name="connsiteY55" fmla="*/ 4781 h 10000"/>
                  <a:gd name="connsiteX56" fmla="*/ 8119 w 10000"/>
                  <a:gd name="connsiteY56" fmla="*/ 4781 h 10000"/>
                  <a:gd name="connsiteX57" fmla="*/ 7806 w 10000"/>
                  <a:gd name="connsiteY57" fmla="*/ 5070 h 10000"/>
                  <a:gd name="connsiteX58" fmla="*/ 7806 w 10000"/>
                  <a:gd name="connsiteY58" fmla="*/ 4930 h 10000"/>
                  <a:gd name="connsiteX59" fmla="*/ 7806 w 10000"/>
                  <a:gd name="connsiteY59" fmla="*/ 4781 h 10000"/>
                  <a:gd name="connsiteX60" fmla="*/ 7915 w 10000"/>
                  <a:gd name="connsiteY60" fmla="*/ 4482 h 10000"/>
                  <a:gd name="connsiteX61" fmla="*/ 7806 w 10000"/>
                  <a:gd name="connsiteY61" fmla="*/ 4332 h 10000"/>
                  <a:gd name="connsiteX62" fmla="*/ 7494 w 10000"/>
                  <a:gd name="connsiteY62" fmla="*/ 4781 h 10000"/>
                  <a:gd name="connsiteX63" fmla="*/ 7392 w 10000"/>
                  <a:gd name="connsiteY63" fmla="*/ 4930 h 10000"/>
                  <a:gd name="connsiteX64" fmla="*/ 7290 w 10000"/>
                  <a:gd name="connsiteY64" fmla="*/ 4930 h 10000"/>
                  <a:gd name="connsiteX65" fmla="*/ 7188 w 10000"/>
                  <a:gd name="connsiteY65" fmla="*/ 5070 h 10000"/>
                  <a:gd name="connsiteX66" fmla="*/ 7494 w 10000"/>
                  <a:gd name="connsiteY66" fmla="*/ 5518 h 10000"/>
                  <a:gd name="connsiteX67" fmla="*/ 7704 w 10000"/>
                  <a:gd name="connsiteY67" fmla="*/ 5369 h 10000"/>
                  <a:gd name="connsiteX68" fmla="*/ 8017 w 10000"/>
                  <a:gd name="connsiteY68" fmla="*/ 5518 h 10000"/>
                  <a:gd name="connsiteX69" fmla="*/ 8017 w 10000"/>
                  <a:gd name="connsiteY69" fmla="*/ 5677 h 10000"/>
                  <a:gd name="connsiteX70" fmla="*/ 7915 w 10000"/>
                  <a:gd name="connsiteY70" fmla="*/ 5518 h 10000"/>
                  <a:gd name="connsiteX71" fmla="*/ 7704 w 10000"/>
                  <a:gd name="connsiteY71" fmla="*/ 5677 h 10000"/>
                  <a:gd name="connsiteX72" fmla="*/ 7494 w 10000"/>
                  <a:gd name="connsiteY72" fmla="*/ 6125 h 10000"/>
                  <a:gd name="connsiteX73" fmla="*/ 7602 w 10000"/>
                  <a:gd name="connsiteY73" fmla="*/ 6265 h 10000"/>
                  <a:gd name="connsiteX74" fmla="*/ 7704 w 10000"/>
                  <a:gd name="connsiteY74" fmla="*/ 6863 h 10000"/>
                  <a:gd name="connsiteX75" fmla="*/ 7915 w 10000"/>
                  <a:gd name="connsiteY75" fmla="*/ 7021 h 10000"/>
                  <a:gd name="connsiteX76" fmla="*/ 7806 w 10000"/>
                  <a:gd name="connsiteY76" fmla="*/ 7021 h 10000"/>
                  <a:gd name="connsiteX77" fmla="*/ 7915 w 10000"/>
                  <a:gd name="connsiteY77" fmla="*/ 7311 h 10000"/>
                  <a:gd name="connsiteX78" fmla="*/ 7602 w 10000"/>
                  <a:gd name="connsiteY78" fmla="*/ 7470 h 10000"/>
                  <a:gd name="connsiteX79" fmla="*/ 7915 w 10000"/>
                  <a:gd name="connsiteY79" fmla="*/ 7470 h 10000"/>
                  <a:gd name="connsiteX80" fmla="*/ 7806 w 10000"/>
                  <a:gd name="connsiteY80" fmla="*/ 8058 h 10000"/>
                  <a:gd name="connsiteX81" fmla="*/ 7602 w 10000"/>
                  <a:gd name="connsiteY81" fmla="*/ 8366 h 10000"/>
                  <a:gd name="connsiteX82" fmla="*/ 7494 w 10000"/>
                  <a:gd name="connsiteY82" fmla="*/ 8366 h 10000"/>
                  <a:gd name="connsiteX83" fmla="*/ 7494 w 10000"/>
                  <a:gd name="connsiteY83" fmla="*/ 8655 h 10000"/>
                  <a:gd name="connsiteX84" fmla="*/ 7392 w 10000"/>
                  <a:gd name="connsiteY84" fmla="*/ 8954 h 10000"/>
                  <a:gd name="connsiteX85" fmla="*/ 7290 w 10000"/>
                  <a:gd name="connsiteY85" fmla="*/ 8954 h 10000"/>
                  <a:gd name="connsiteX86" fmla="*/ 7290 w 10000"/>
                  <a:gd name="connsiteY86" fmla="*/ 9104 h 10000"/>
                  <a:gd name="connsiteX87" fmla="*/ 6977 w 10000"/>
                  <a:gd name="connsiteY87" fmla="*/ 9402 h 10000"/>
                  <a:gd name="connsiteX88" fmla="*/ 6665 w 10000"/>
                  <a:gd name="connsiteY88" fmla="*/ 9402 h 10000"/>
                  <a:gd name="connsiteX89" fmla="*/ 6665 w 10000"/>
                  <a:gd name="connsiteY89" fmla="*/ 9552 h 10000"/>
                  <a:gd name="connsiteX90" fmla="*/ 6563 w 10000"/>
                  <a:gd name="connsiteY90" fmla="*/ 9402 h 10000"/>
                  <a:gd name="connsiteX91" fmla="*/ 6563 w 10000"/>
                  <a:gd name="connsiteY91" fmla="*/ 9552 h 10000"/>
                  <a:gd name="connsiteX92" fmla="*/ 6460 w 10000"/>
                  <a:gd name="connsiteY92" fmla="*/ 9552 h 10000"/>
                  <a:gd name="connsiteX93" fmla="*/ 6046 w 10000"/>
                  <a:gd name="connsiteY93" fmla="*/ 9851 h 10000"/>
                  <a:gd name="connsiteX94" fmla="*/ 5938 w 10000"/>
                  <a:gd name="connsiteY94" fmla="*/ 10000 h 10000"/>
                  <a:gd name="connsiteX95" fmla="*/ 5938 w 10000"/>
                  <a:gd name="connsiteY95" fmla="*/ 9711 h 10000"/>
                  <a:gd name="connsiteX96" fmla="*/ 5733 w 10000"/>
                  <a:gd name="connsiteY96" fmla="*/ 9711 h 10000"/>
                  <a:gd name="connsiteX97" fmla="*/ 5625 w 10000"/>
                  <a:gd name="connsiteY97" fmla="*/ 9711 h 10000"/>
                  <a:gd name="connsiteX98" fmla="*/ 5409 w 10000"/>
                  <a:gd name="connsiteY98" fmla="*/ 9711 h 10000"/>
                  <a:gd name="connsiteX99" fmla="*/ 5409 w 10000"/>
                  <a:gd name="connsiteY99" fmla="*/ 9402 h 10000"/>
                  <a:gd name="connsiteX100" fmla="*/ 5198 w 10000"/>
                  <a:gd name="connsiteY100" fmla="*/ 9402 h 10000"/>
                  <a:gd name="connsiteX101" fmla="*/ 4784 w 10000"/>
                  <a:gd name="connsiteY101" fmla="*/ 9552 h 10000"/>
                  <a:gd name="connsiteX102" fmla="*/ 4681 w 10000"/>
                  <a:gd name="connsiteY102" fmla="*/ 9402 h 10000"/>
                  <a:gd name="connsiteX103" fmla="*/ 4681 w 10000"/>
                  <a:gd name="connsiteY103" fmla="*/ 9552 h 10000"/>
                  <a:gd name="connsiteX104" fmla="*/ 4579 w 10000"/>
                  <a:gd name="connsiteY104" fmla="*/ 9552 h 10000"/>
                  <a:gd name="connsiteX105" fmla="*/ 4579 w 10000"/>
                  <a:gd name="connsiteY105" fmla="*/ 9851 h 10000"/>
                  <a:gd name="connsiteX106" fmla="*/ 4477 w 10000"/>
                  <a:gd name="connsiteY106" fmla="*/ 9851 h 10000"/>
                  <a:gd name="connsiteX107" fmla="*/ 4477 w 10000"/>
                  <a:gd name="connsiteY107" fmla="*/ 9711 h 10000"/>
                  <a:gd name="connsiteX108" fmla="*/ 4369 w 10000"/>
                  <a:gd name="connsiteY108" fmla="*/ 9711 h 10000"/>
                  <a:gd name="connsiteX109" fmla="*/ 4165 w 10000"/>
                  <a:gd name="connsiteY109" fmla="*/ 9552 h 10000"/>
                  <a:gd name="connsiteX110" fmla="*/ 4165 w 10000"/>
                  <a:gd name="connsiteY110" fmla="*/ 9402 h 10000"/>
                  <a:gd name="connsiteX111" fmla="*/ 4165 w 10000"/>
                  <a:gd name="connsiteY111" fmla="*/ 9262 h 10000"/>
                  <a:gd name="connsiteX112" fmla="*/ 4056 w 10000"/>
                  <a:gd name="connsiteY112" fmla="*/ 9104 h 10000"/>
                  <a:gd name="connsiteX113" fmla="*/ 3954 w 10000"/>
                  <a:gd name="connsiteY113" fmla="*/ 9104 h 10000"/>
                  <a:gd name="connsiteX114" fmla="*/ 4056 w 10000"/>
                  <a:gd name="connsiteY114" fmla="*/ 8366 h 10000"/>
                  <a:gd name="connsiteX115" fmla="*/ 3954 w 10000"/>
                  <a:gd name="connsiteY115" fmla="*/ 8058 h 10000"/>
                  <a:gd name="connsiteX116" fmla="*/ 3852 w 10000"/>
                  <a:gd name="connsiteY116" fmla="*/ 8058 h 10000"/>
                  <a:gd name="connsiteX117" fmla="*/ 3642 w 10000"/>
                  <a:gd name="connsiteY117" fmla="*/ 7759 h 10000"/>
                  <a:gd name="connsiteX118" fmla="*/ 3438 w 10000"/>
                  <a:gd name="connsiteY118" fmla="*/ 7759 h 10000"/>
                  <a:gd name="connsiteX119" fmla="*/ 2915 w 10000"/>
                  <a:gd name="connsiteY119" fmla="*/ 8058 h 10000"/>
                  <a:gd name="connsiteX120" fmla="*/ 2608 w 10000"/>
                  <a:gd name="connsiteY120" fmla="*/ 8058 h 10000"/>
                  <a:gd name="connsiteX121" fmla="*/ 2500 w 10000"/>
                  <a:gd name="connsiteY121" fmla="*/ 8207 h 10000"/>
                  <a:gd name="connsiteX122" fmla="*/ 2398 w 10000"/>
                  <a:gd name="connsiteY122" fmla="*/ 8058 h 10000"/>
                  <a:gd name="connsiteX123" fmla="*/ 2296 w 10000"/>
                  <a:gd name="connsiteY123" fmla="*/ 8058 h 10000"/>
                  <a:gd name="connsiteX124" fmla="*/ 1983 w 10000"/>
                  <a:gd name="connsiteY124" fmla="*/ 8058 h 10000"/>
                  <a:gd name="connsiteX125" fmla="*/ 1773 w 10000"/>
                  <a:gd name="connsiteY125" fmla="*/ 7918 h 10000"/>
                  <a:gd name="connsiteX126" fmla="*/ 1671 w 10000"/>
                  <a:gd name="connsiteY126" fmla="*/ 7759 h 10000"/>
                  <a:gd name="connsiteX127" fmla="*/ 1556 w 10000"/>
                  <a:gd name="connsiteY127" fmla="*/ 7759 h 10000"/>
                  <a:gd name="connsiteX128" fmla="*/ 1346 w 10000"/>
                  <a:gd name="connsiteY128" fmla="*/ 7470 h 10000"/>
                  <a:gd name="connsiteX129" fmla="*/ 1142 w 10000"/>
                  <a:gd name="connsiteY129" fmla="*/ 7470 h 10000"/>
                  <a:gd name="connsiteX130" fmla="*/ 829 w 10000"/>
                  <a:gd name="connsiteY130" fmla="*/ 7311 h 10000"/>
                  <a:gd name="connsiteX131" fmla="*/ 727 w 10000"/>
                  <a:gd name="connsiteY131" fmla="*/ 6863 h 10000"/>
                  <a:gd name="connsiteX132" fmla="*/ 931 w 10000"/>
                  <a:gd name="connsiteY132" fmla="*/ 6863 h 10000"/>
                  <a:gd name="connsiteX133" fmla="*/ 829 w 10000"/>
                  <a:gd name="connsiteY133" fmla="*/ 6573 h 10000"/>
                  <a:gd name="connsiteX134" fmla="*/ 1034 w 10000"/>
                  <a:gd name="connsiteY134" fmla="*/ 6265 h 10000"/>
                  <a:gd name="connsiteX135" fmla="*/ 1034 w 10000"/>
                  <a:gd name="connsiteY135" fmla="*/ 5966 h 10000"/>
                  <a:gd name="connsiteX136" fmla="*/ 931 w 10000"/>
                  <a:gd name="connsiteY136" fmla="*/ 5817 h 10000"/>
                  <a:gd name="connsiteX137" fmla="*/ 619 w 10000"/>
                  <a:gd name="connsiteY137" fmla="*/ 5966 h 10000"/>
                  <a:gd name="connsiteX138" fmla="*/ 415 w 10000"/>
                  <a:gd name="connsiteY138" fmla="*/ 5817 h 10000"/>
                  <a:gd name="connsiteX139" fmla="*/ 444 w 10000"/>
                  <a:gd name="connsiteY139" fmla="*/ 5373 h 10000"/>
                  <a:gd name="connsiteX140" fmla="*/ 102 w 10000"/>
                  <a:gd name="connsiteY140" fmla="*/ 5518 h 10000"/>
                  <a:gd name="connsiteX141" fmla="*/ 216 w 10000"/>
                  <a:gd name="connsiteY141" fmla="*/ 5243 h 10000"/>
                  <a:gd name="connsiteX142" fmla="*/ 204 w 10000"/>
                  <a:gd name="connsiteY142" fmla="*/ 5070 h 10000"/>
                  <a:gd name="connsiteX143" fmla="*/ 0 w 10000"/>
                  <a:gd name="connsiteY143" fmla="*/ 5070 h 10000"/>
                  <a:gd name="connsiteX144" fmla="*/ 0 w 10000"/>
                  <a:gd name="connsiteY144" fmla="*/ 4622 h 10000"/>
                  <a:gd name="connsiteX145" fmla="*/ 204 w 10000"/>
                  <a:gd name="connsiteY145" fmla="*/ 4482 h 10000"/>
                  <a:gd name="connsiteX146" fmla="*/ 415 w 10000"/>
                  <a:gd name="connsiteY146" fmla="*/ 4482 h 10000"/>
                  <a:gd name="connsiteX147" fmla="*/ 517 w 10000"/>
                  <a:gd name="connsiteY147" fmla="*/ 4332 h 10000"/>
                  <a:gd name="connsiteX148" fmla="*/ 727 w 10000"/>
                  <a:gd name="connsiteY148" fmla="*/ 4332 h 10000"/>
                  <a:gd name="connsiteX149" fmla="*/ 1034 w 10000"/>
                  <a:gd name="connsiteY149" fmla="*/ 4034 h 10000"/>
                  <a:gd name="connsiteX150" fmla="*/ 1142 w 10000"/>
                  <a:gd name="connsiteY150" fmla="*/ 3725 h 10000"/>
                  <a:gd name="connsiteX151" fmla="*/ 1034 w 10000"/>
                  <a:gd name="connsiteY151" fmla="*/ 3137 h 10000"/>
                  <a:gd name="connsiteX152" fmla="*/ 1034 w 10000"/>
                  <a:gd name="connsiteY152" fmla="*/ 2988 h 10000"/>
                  <a:gd name="connsiteX153" fmla="*/ 1346 w 10000"/>
                  <a:gd name="connsiteY153" fmla="*/ 2988 h 10000"/>
                  <a:gd name="connsiteX154" fmla="*/ 1454 w 10000"/>
                  <a:gd name="connsiteY154" fmla="*/ 2381 h 10000"/>
                  <a:gd name="connsiteX155" fmla="*/ 1773 w 10000"/>
                  <a:gd name="connsiteY155" fmla="*/ 2381 h 10000"/>
                  <a:gd name="connsiteX156" fmla="*/ 1881 w 10000"/>
                  <a:gd name="connsiteY156" fmla="*/ 2381 h 10000"/>
                  <a:gd name="connsiteX157" fmla="*/ 1983 w 10000"/>
                  <a:gd name="connsiteY157" fmla="*/ 1933 h 10000"/>
                  <a:gd name="connsiteX158" fmla="*/ 2085 w 10000"/>
                  <a:gd name="connsiteY158" fmla="*/ 1793 h 10000"/>
                  <a:gd name="connsiteX0" fmla="*/ 2085 w 10000"/>
                  <a:gd name="connsiteY0" fmla="*/ 1793 h 10000"/>
                  <a:gd name="connsiteX1" fmla="*/ 2085 w 10000"/>
                  <a:gd name="connsiteY1" fmla="*/ 1793 h 10000"/>
                  <a:gd name="connsiteX2" fmla="*/ 2296 w 10000"/>
                  <a:gd name="connsiteY2" fmla="*/ 1643 h 10000"/>
                  <a:gd name="connsiteX3" fmla="*/ 2500 w 10000"/>
                  <a:gd name="connsiteY3" fmla="*/ 2092 h 10000"/>
                  <a:gd name="connsiteX4" fmla="*/ 2710 w 10000"/>
                  <a:gd name="connsiteY4" fmla="*/ 2092 h 10000"/>
                  <a:gd name="connsiteX5" fmla="*/ 2813 w 10000"/>
                  <a:gd name="connsiteY5" fmla="*/ 2381 h 10000"/>
                  <a:gd name="connsiteX6" fmla="*/ 2813 w 10000"/>
                  <a:gd name="connsiteY6" fmla="*/ 2988 h 10000"/>
                  <a:gd name="connsiteX7" fmla="*/ 3438 w 10000"/>
                  <a:gd name="connsiteY7" fmla="*/ 3277 h 10000"/>
                  <a:gd name="connsiteX8" fmla="*/ 3750 w 10000"/>
                  <a:gd name="connsiteY8" fmla="*/ 3725 h 10000"/>
                  <a:gd name="connsiteX9" fmla="*/ 4369 w 10000"/>
                  <a:gd name="connsiteY9" fmla="*/ 3725 h 10000"/>
                  <a:gd name="connsiteX10" fmla="*/ 4681 w 10000"/>
                  <a:gd name="connsiteY10" fmla="*/ 4034 h 10000"/>
                  <a:gd name="connsiteX11" fmla="*/ 5096 w 10000"/>
                  <a:gd name="connsiteY11" fmla="*/ 4174 h 10000"/>
                  <a:gd name="connsiteX12" fmla="*/ 5523 w 10000"/>
                  <a:gd name="connsiteY12" fmla="*/ 3884 h 10000"/>
                  <a:gd name="connsiteX13" fmla="*/ 5938 w 10000"/>
                  <a:gd name="connsiteY13" fmla="*/ 3884 h 10000"/>
                  <a:gd name="connsiteX14" fmla="*/ 6250 w 10000"/>
                  <a:gd name="connsiteY14" fmla="*/ 3436 h 10000"/>
                  <a:gd name="connsiteX15" fmla="*/ 6148 w 10000"/>
                  <a:gd name="connsiteY15" fmla="*/ 3277 h 10000"/>
                  <a:gd name="connsiteX16" fmla="*/ 6352 w 10000"/>
                  <a:gd name="connsiteY16" fmla="*/ 2988 h 10000"/>
                  <a:gd name="connsiteX17" fmla="*/ 6563 w 10000"/>
                  <a:gd name="connsiteY17" fmla="*/ 3137 h 10000"/>
                  <a:gd name="connsiteX18" fmla="*/ 6875 w 10000"/>
                  <a:gd name="connsiteY18" fmla="*/ 2829 h 10000"/>
                  <a:gd name="connsiteX19" fmla="*/ 7079 w 10000"/>
                  <a:gd name="connsiteY19" fmla="*/ 2540 h 10000"/>
                  <a:gd name="connsiteX20" fmla="*/ 7494 w 10000"/>
                  <a:gd name="connsiteY20" fmla="*/ 2540 h 10000"/>
                  <a:gd name="connsiteX21" fmla="*/ 7392 w 10000"/>
                  <a:gd name="connsiteY21" fmla="*/ 2241 h 10000"/>
                  <a:gd name="connsiteX22" fmla="*/ 7290 w 10000"/>
                  <a:gd name="connsiteY22" fmla="*/ 2092 h 10000"/>
                  <a:gd name="connsiteX23" fmla="*/ 7079 w 10000"/>
                  <a:gd name="connsiteY23" fmla="*/ 2241 h 10000"/>
                  <a:gd name="connsiteX24" fmla="*/ 6875 w 10000"/>
                  <a:gd name="connsiteY24" fmla="*/ 2241 h 10000"/>
                  <a:gd name="connsiteX25" fmla="*/ 6875 w 10000"/>
                  <a:gd name="connsiteY25" fmla="*/ 1643 h 10000"/>
                  <a:gd name="connsiteX26" fmla="*/ 6977 w 10000"/>
                  <a:gd name="connsiteY26" fmla="*/ 1345 h 10000"/>
                  <a:gd name="connsiteX27" fmla="*/ 7188 w 10000"/>
                  <a:gd name="connsiteY27" fmla="*/ 1485 h 10000"/>
                  <a:gd name="connsiteX28" fmla="*/ 7494 w 10000"/>
                  <a:gd name="connsiteY28" fmla="*/ 1345 h 10000"/>
                  <a:gd name="connsiteX29" fmla="*/ 7602 w 10000"/>
                  <a:gd name="connsiteY29" fmla="*/ 747 h 10000"/>
                  <a:gd name="connsiteX30" fmla="*/ 7704 w 10000"/>
                  <a:gd name="connsiteY30" fmla="*/ 588 h 10000"/>
                  <a:gd name="connsiteX31" fmla="*/ 7704 w 10000"/>
                  <a:gd name="connsiteY31" fmla="*/ 448 h 10000"/>
                  <a:gd name="connsiteX32" fmla="*/ 7602 w 10000"/>
                  <a:gd name="connsiteY32" fmla="*/ 448 h 10000"/>
                  <a:gd name="connsiteX33" fmla="*/ 7704 w 10000"/>
                  <a:gd name="connsiteY33" fmla="*/ 140 h 10000"/>
                  <a:gd name="connsiteX34" fmla="*/ 8119 w 10000"/>
                  <a:gd name="connsiteY34" fmla="*/ 0 h 10000"/>
                  <a:gd name="connsiteX35" fmla="*/ 8431 w 10000"/>
                  <a:gd name="connsiteY35" fmla="*/ 140 h 10000"/>
                  <a:gd name="connsiteX36" fmla="*/ 8642 w 10000"/>
                  <a:gd name="connsiteY36" fmla="*/ 448 h 10000"/>
                  <a:gd name="connsiteX37" fmla="*/ 8846 w 10000"/>
                  <a:gd name="connsiteY37" fmla="*/ 1485 h 10000"/>
                  <a:gd name="connsiteX38" fmla="*/ 9056 w 10000"/>
                  <a:gd name="connsiteY38" fmla="*/ 1485 h 10000"/>
                  <a:gd name="connsiteX39" fmla="*/ 9363 w 10000"/>
                  <a:gd name="connsiteY39" fmla="*/ 1793 h 10000"/>
                  <a:gd name="connsiteX40" fmla="*/ 9363 w 10000"/>
                  <a:gd name="connsiteY40" fmla="*/ 2092 h 10000"/>
                  <a:gd name="connsiteX41" fmla="*/ 9585 w 10000"/>
                  <a:gd name="connsiteY41" fmla="*/ 2092 h 10000"/>
                  <a:gd name="connsiteX42" fmla="*/ 10000 w 10000"/>
                  <a:gd name="connsiteY42" fmla="*/ 1933 h 10000"/>
                  <a:gd name="connsiteX43" fmla="*/ 10000 w 10000"/>
                  <a:gd name="connsiteY43" fmla="*/ 2241 h 10000"/>
                  <a:gd name="connsiteX44" fmla="*/ 9688 w 10000"/>
                  <a:gd name="connsiteY44" fmla="*/ 3137 h 10000"/>
                  <a:gd name="connsiteX45" fmla="*/ 9585 w 10000"/>
                  <a:gd name="connsiteY45" fmla="*/ 2988 h 10000"/>
                  <a:gd name="connsiteX46" fmla="*/ 9363 w 10000"/>
                  <a:gd name="connsiteY46" fmla="*/ 3137 h 10000"/>
                  <a:gd name="connsiteX47" fmla="*/ 9483 w 10000"/>
                  <a:gd name="connsiteY47" fmla="*/ 3585 h 10000"/>
                  <a:gd name="connsiteX48" fmla="*/ 9363 w 10000"/>
                  <a:gd name="connsiteY48" fmla="*/ 3884 h 10000"/>
                  <a:gd name="connsiteX49" fmla="*/ 9261 w 10000"/>
                  <a:gd name="connsiteY49" fmla="*/ 3884 h 10000"/>
                  <a:gd name="connsiteX50" fmla="*/ 9056 w 10000"/>
                  <a:gd name="connsiteY50" fmla="*/ 4034 h 10000"/>
                  <a:gd name="connsiteX51" fmla="*/ 8948 w 10000"/>
                  <a:gd name="connsiteY51" fmla="*/ 4034 h 10000"/>
                  <a:gd name="connsiteX52" fmla="*/ 8846 w 10000"/>
                  <a:gd name="connsiteY52" fmla="*/ 4174 h 10000"/>
                  <a:gd name="connsiteX53" fmla="*/ 8744 w 10000"/>
                  <a:gd name="connsiteY53" fmla="*/ 4174 h 10000"/>
                  <a:gd name="connsiteX54" fmla="*/ 8329 w 10000"/>
                  <a:gd name="connsiteY54" fmla="*/ 4622 h 10000"/>
                  <a:gd name="connsiteX55" fmla="*/ 8329 w 10000"/>
                  <a:gd name="connsiteY55" fmla="*/ 4781 h 10000"/>
                  <a:gd name="connsiteX56" fmla="*/ 8119 w 10000"/>
                  <a:gd name="connsiteY56" fmla="*/ 4781 h 10000"/>
                  <a:gd name="connsiteX57" fmla="*/ 7806 w 10000"/>
                  <a:gd name="connsiteY57" fmla="*/ 5070 h 10000"/>
                  <a:gd name="connsiteX58" fmla="*/ 7806 w 10000"/>
                  <a:gd name="connsiteY58" fmla="*/ 4930 h 10000"/>
                  <a:gd name="connsiteX59" fmla="*/ 7806 w 10000"/>
                  <a:gd name="connsiteY59" fmla="*/ 4781 h 10000"/>
                  <a:gd name="connsiteX60" fmla="*/ 7915 w 10000"/>
                  <a:gd name="connsiteY60" fmla="*/ 4482 h 10000"/>
                  <a:gd name="connsiteX61" fmla="*/ 7806 w 10000"/>
                  <a:gd name="connsiteY61" fmla="*/ 4332 h 10000"/>
                  <a:gd name="connsiteX62" fmla="*/ 7494 w 10000"/>
                  <a:gd name="connsiteY62" fmla="*/ 4781 h 10000"/>
                  <a:gd name="connsiteX63" fmla="*/ 7392 w 10000"/>
                  <a:gd name="connsiteY63" fmla="*/ 4930 h 10000"/>
                  <a:gd name="connsiteX64" fmla="*/ 7290 w 10000"/>
                  <a:gd name="connsiteY64" fmla="*/ 4930 h 10000"/>
                  <a:gd name="connsiteX65" fmla="*/ 7188 w 10000"/>
                  <a:gd name="connsiteY65" fmla="*/ 5070 h 10000"/>
                  <a:gd name="connsiteX66" fmla="*/ 7494 w 10000"/>
                  <a:gd name="connsiteY66" fmla="*/ 5518 h 10000"/>
                  <a:gd name="connsiteX67" fmla="*/ 7704 w 10000"/>
                  <a:gd name="connsiteY67" fmla="*/ 5369 h 10000"/>
                  <a:gd name="connsiteX68" fmla="*/ 8017 w 10000"/>
                  <a:gd name="connsiteY68" fmla="*/ 5518 h 10000"/>
                  <a:gd name="connsiteX69" fmla="*/ 8017 w 10000"/>
                  <a:gd name="connsiteY69" fmla="*/ 5677 h 10000"/>
                  <a:gd name="connsiteX70" fmla="*/ 7915 w 10000"/>
                  <a:gd name="connsiteY70" fmla="*/ 5518 h 10000"/>
                  <a:gd name="connsiteX71" fmla="*/ 7704 w 10000"/>
                  <a:gd name="connsiteY71" fmla="*/ 5677 h 10000"/>
                  <a:gd name="connsiteX72" fmla="*/ 7494 w 10000"/>
                  <a:gd name="connsiteY72" fmla="*/ 6125 h 10000"/>
                  <a:gd name="connsiteX73" fmla="*/ 7602 w 10000"/>
                  <a:gd name="connsiteY73" fmla="*/ 6265 h 10000"/>
                  <a:gd name="connsiteX74" fmla="*/ 7704 w 10000"/>
                  <a:gd name="connsiteY74" fmla="*/ 6863 h 10000"/>
                  <a:gd name="connsiteX75" fmla="*/ 7915 w 10000"/>
                  <a:gd name="connsiteY75" fmla="*/ 7021 h 10000"/>
                  <a:gd name="connsiteX76" fmla="*/ 7806 w 10000"/>
                  <a:gd name="connsiteY76" fmla="*/ 7021 h 10000"/>
                  <a:gd name="connsiteX77" fmla="*/ 7915 w 10000"/>
                  <a:gd name="connsiteY77" fmla="*/ 7311 h 10000"/>
                  <a:gd name="connsiteX78" fmla="*/ 7602 w 10000"/>
                  <a:gd name="connsiteY78" fmla="*/ 7470 h 10000"/>
                  <a:gd name="connsiteX79" fmla="*/ 7915 w 10000"/>
                  <a:gd name="connsiteY79" fmla="*/ 7470 h 10000"/>
                  <a:gd name="connsiteX80" fmla="*/ 7806 w 10000"/>
                  <a:gd name="connsiteY80" fmla="*/ 8058 h 10000"/>
                  <a:gd name="connsiteX81" fmla="*/ 7602 w 10000"/>
                  <a:gd name="connsiteY81" fmla="*/ 8366 h 10000"/>
                  <a:gd name="connsiteX82" fmla="*/ 7494 w 10000"/>
                  <a:gd name="connsiteY82" fmla="*/ 8366 h 10000"/>
                  <a:gd name="connsiteX83" fmla="*/ 7494 w 10000"/>
                  <a:gd name="connsiteY83" fmla="*/ 8655 h 10000"/>
                  <a:gd name="connsiteX84" fmla="*/ 7392 w 10000"/>
                  <a:gd name="connsiteY84" fmla="*/ 8954 h 10000"/>
                  <a:gd name="connsiteX85" fmla="*/ 7290 w 10000"/>
                  <a:gd name="connsiteY85" fmla="*/ 8954 h 10000"/>
                  <a:gd name="connsiteX86" fmla="*/ 7290 w 10000"/>
                  <a:gd name="connsiteY86" fmla="*/ 9104 h 10000"/>
                  <a:gd name="connsiteX87" fmla="*/ 6977 w 10000"/>
                  <a:gd name="connsiteY87" fmla="*/ 9402 h 10000"/>
                  <a:gd name="connsiteX88" fmla="*/ 6665 w 10000"/>
                  <a:gd name="connsiteY88" fmla="*/ 9402 h 10000"/>
                  <a:gd name="connsiteX89" fmla="*/ 6665 w 10000"/>
                  <a:gd name="connsiteY89" fmla="*/ 9552 h 10000"/>
                  <a:gd name="connsiteX90" fmla="*/ 6563 w 10000"/>
                  <a:gd name="connsiteY90" fmla="*/ 9402 h 10000"/>
                  <a:gd name="connsiteX91" fmla="*/ 6563 w 10000"/>
                  <a:gd name="connsiteY91" fmla="*/ 9552 h 10000"/>
                  <a:gd name="connsiteX92" fmla="*/ 6460 w 10000"/>
                  <a:gd name="connsiteY92" fmla="*/ 9552 h 10000"/>
                  <a:gd name="connsiteX93" fmla="*/ 6046 w 10000"/>
                  <a:gd name="connsiteY93" fmla="*/ 9851 h 10000"/>
                  <a:gd name="connsiteX94" fmla="*/ 5938 w 10000"/>
                  <a:gd name="connsiteY94" fmla="*/ 10000 h 10000"/>
                  <a:gd name="connsiteX95" fmla="*/ 5938 w 10000"/>
                  <a:gd name="connsiteY95" fmla="*/ 9711 h 10000"/>
                  <a:gd name="connsiteX96" fmla="*/ 5733 w 10000"/>
                  <a:gd name="connsiteY96" fmla="*/ 9711 h 10000"/>
                  <a:gd name="connsiteX97" fmla="*/ 5625 w 10000"/>
                  <a:gd name="connsiteY97" fmla="*/ 9711 h 10000"/>
                  <a:gd name="connsiteX98" fmla="*/ 5409 w 10000"/>
                  <a:gd name="connsiteY98" fmla="*/ 9711 h 10000"/>
                  <a:gd name="connsiteX99" fmla="*/ 5409 w 10000"/>
                  <a:gd name="connsiteY99" fmla="*/ 9402 h 10000"/>
                  <a:gd name="connsiteX100" fmla="*/ 5198 w 10000"/>
                  <a:gd name="connsiteY100" fmla="*/ 9402 h 10000"/>
                  <a:gd name="connsiteX101" fmla="*/ 4784 w 10000"/>
                  <a:gd name="connsiteY101" fmla="*/ 9552 h 10000"/>
                  <a:gd name="connsiteX102" fmla="*/ 4681 w 10000"/>
                  <a:gd name="connsiteY102" fmla="*/ 9402 h 10000"/>
                  <a:gd name="connsiteX103" fmla="*/ 4681 w 10000"/>
                  <a:gd name="connsiteY103" fmla="*/ 9552 h 10000"/>
                  <a:gd name="connsiteX104" fmla="*/ 4579 w 10000"/>
                  <a:gd name="connsiteY104" fmla="*/ 9552 h 10000"/>
                  <a:gd name="connsiteX105" fmla="*/ 4579 w 10000"/>
                  <a:gd name="connsiteY105" fmla="*/ 9851 h 10000"/>
                  <a:gd name="connsiteX106" fmla="*/ 4477 w 10000"/>
                  <a:gd name="connsiteY106" fmla="*/ 9851 h 10000"/>
                  <a:gd name="connsiteX107" fmla="*/ 4477 w 10000"/>
                  <a:gd name="connsiteY107" fmla="*/ 9711 h 10000"/>
                  <a:gd name="connsiteX108" fmla="*/ 4369 w 10000"/>
                  <a:gd name="connsiteY108" fmla="*/ 9711 h 10000"/>
                  <a:gd name="connsiteX109" fmla="*/ 4165 w 10000"/>
                  <a:gd name="connsiteY109" fmla="*/ 9552 h 10000"/>
                  <a:gd name="connsiteX110" fmla="*/ 4165 w 10000"/>
                  <a:gd name="connsiteY110" fmla="*/ 9402 h 10000"/>
                  <a:gd name="connsiteX111" fmla="*/ 4165 w 10000"/>
                  <a:gd name="connsiteY111" fmla="*/ 9262 h 10000"/>
                  <a:gd name="connsiteX112" fmla="*/ 4056 w 10000"/>
                  <a:gd name="connsiteY112" fmla="*/ 9104 h 10000"/>
                  <a:gd name="connsiteX113" fmla="*/ 3954 w 10000"/>
                  <a:gd name="connsiteY113" fmla="*/ 9104 h 10000"/>
                  <a:gd name="connsiteX114" fmla="*/ 4056 w 10000"/>
                  <a:gd name="connsiteY114" fmla="*/ 8366 h 10000"/>
                  <a:gd name="connsiteX115" fmla="*/ 3954 w 10000"/>
                  <a:gd name="connsiteY115" fmla="*/ 8058 h 10000"/>
                  <a:gd name="connsiteX116" fmla="*/ 3852 w 10000"/>
                  <a:gd name="connsiteY116" fmla="*/ 8058 h 10000"/>
                  <a:gd name="connsiteX117" fmla="*/ 3642 w 10000"/>
                  <a:gd name="connsiteY117" fmla="*/ 7759 h 10000"/>
                  <a:gd name="connsiteX118" fmla="*/ 3438 w 10000"/>
                  <a:gd name="connsiteY118" fmla="*/ 7759 h 10000"/>
                  <a:gd name="connsiteX119" fmla="*/ 2915 w 10000"/>
                  <a:gd name="connsiteY119" fmla="*/ 8058 h 10000"/>
                  <a:gd name="connsiteX120" fmla="*/ 2608 w 10000"/>
                  <a:gd name="connsiteY120" fmla="*/ 8058 h 10000"/>
                  <a:gd name="connsiteX121" fmla="*/ 2500 w 10000"/>
                  <a:gd name="connsiteY121" fmla="*/ 8207 h 10000"/>
                  <a:gd name="connsiteX122" fmla="*/ 2398 w 10000"/>
                  <a:gd name="connsiteY122" fmla="*/ 8058 h 10000"/>
                  <a:gd name="connsiteX123" fmla="*/ 2296 w 10000"/>
                  <a:gd name="connsiteY123" fmla="*/ 8058 h 10000"/>
                  <a:gd name="connsiteX124" fmla="*/ 1983 w 10000"/>
                  <a:gd name="connsiteY124" fmla="*/ 8058 h 10000"/>
                  <a:gd name="connsiteX125" fmla="*/ 1773 w 10000"/>
                  <a:gd name="connsiteY125" fmla="*/ 7918 h 10000"/>
                  <a:gd name="connsiteX126" fmla="*/ 1671 w 10000"/>
                  <a:gd name="connsiteY126" fmla="*/ 7759 h 10000"/>
                  <a:gd name="connsiteX127" fmla="*/ 1556 w 10000"/>
                  <a:gd name="connsiteY127" fmla="*/ 7759 h 10000"/>
                  <a:gd name="connsiteX128" fmla="*/ 1346 w 10000"/>
                  <a:gd name="connsiteY128" fmla="*/ 7470 h 10000"/>
                  <a:gd name="connsiteX129" fmla="*/ 1142 w 10000"/>
                  <a:gd name="connsiteY129" fmla="*/ 7470 h 10000"/>
                  <a:gd name="connsiteX130" fmla="*/ 829 w 10000"/>
                  <a:gd name="connsiteY130" fmla="*/ 7311 h 10000"/>
                  <a:gd name="connsiteX131" fmla="*/ 727 w 10000"/>
                  <a:gd name="connsiteY131" fmla="*/ 6863 h 10000"/>
                  <a:gd name="connsiteX132" fmla="*/ 931 w 10000"/>
                  <a:gd name="connsiteY132" fmla="*/ 6863 h 10000"/>
                  <a:gd name="connsiteX133" fmla="*/ 829 w 10000"/>
                  <a:gd name="connsiteY133" fmla="*/ 6573 h 10000"/>
                  <a:gd name="connsiteX134" fmla="*/ 1034 w 10000"/>
                  <a:gd name="connsiteY134" fmla="*/ 6265 h 10000"/>
                  <a:gd name="connsiteX135" fmla="*/ 1034 w 10000"/>
                  <a:gd name="connsiteY135" fmla="*/ 5966 h 10000"/>
                  <a:gd name="connsiteX136" fmla="*/ 931 w 10000"/>
                  <a:gd name="connsiteY136" fmla="*/ 5817 h 10000"/>
                  <a:gd name="connsiteX137" fmla="*/ 619 w 10000"/>
                  <a:gd name="connsiteY137" fmla="*/ 5966 h 10000"/>
                  <a:gd name="connsiteX138" fmla="*/ 936 w 10000"/>
                  <a:gd name="connsiteY138" fmla="*/ 5821 h 10000"/>
                  <a:gd name="connsiteX139" fmla="*/ 444 w 10000"/>
                  <a:gd name="connsiteY139" fmla="*/ 5373 h 10000"/>
                  <a:gd name="connsiteX140" fmla="*/ 102 w 10000"/>
                  <a:gd name="connsiteY140" fmla="*/ 5518 h 10000"/>
                  <a:gd name="connsiteX141" fmla="*/ 216 w 10000"/>
                  <a:gd name="connsiteY141" fmla="*/ 5243 h 10000"/>
                  <a:gd name="connsiteX142" fmla="*/ 204 w 10000"/>
                  <a:gd name="connsiteY142" fmla="*/ 5070 h 10000"/>
                  <a:gd name="connsiteX143" fmla="*/ 0 w 10000"/>
                  <a:gd name="connsiteY143" fmla="*/ 5070 h 10000"/>
                  <a:gd name="connsiteX144" fmla="*/ 0 w 10000"/>
                  <a:gd name="connsiteY144" fmla="*/ 4622 h 10000"/>
                  <a:gd name="connsiteX145" fmla="*/ 204 w 10000"/>
                  <a:gd name="connsiteY145" fmla="*/ 4482 h 10000"/>
                  <a:gd name="connsiteX146" fmla="*/ 415 w 10000"/>
                  <a:gd name="connsiteY146" fmla="*/ 4482 h 10000"/>
                  <a:gd name="connsiteX147" fmla="*/ 517 w 10000"/>
                  <a:gd name="connsiteY147" fmla="*/ 4332 h 10000"/>
                  <a:gd name="connsiteX148" fmla="*/ 727 w 10000"/>
                  <a:gd name="connsiteY148" fmla="*/ 4332 h 10000"/>
                  <a:gd name="connsiteX149" fmla="*/ 1034 w 10000"/>
                  <a:gd name="connsiteY149" fmla="*/ 4034 h 10000"/>
                  <a:gd name="connsiteX150" fmla="*/ 1142 w 10000"/>
                  <a:gd name="connsiteY150" fmla="*/ 3725 h 10000"/>
                  <a:gd name="connsiteX151" fmla="*/ 1034 w 10000"/>
                  <a:gd name="connsiteY151" fmla="*/ 3137 h 10000"/>
                  <a:gd name="connsiteX152" fmla="*/ 1034 w 10000"/>
                  <a:gd name="connsiteY152" fmla="*/ 2988 h 10000"/>
                  <a:gd name="connsiteX153" fmla="*/ 1346 w 10000"/>
                  <a:gd name="connsiteY153" fmla="*/ 2988 h 10000"/>
                  <a:gd name="connsiteX154" fmla="*/ 1454 w 10000"/>
                  <a:gd name="connsiteY154" fmla="*/ 2381 h 10000"/>
                  <a:gd name="connsiteX155" fmla="*/ 1773 w 10000"/>
                  <a:gd name="connsiteY155" fmla="*/ 2381 h 10000"/>
                  <a:gd name="connsiteX156" fmla="*/ 1881 w 10000"/>
                  <a:gd name="connsiteY156" fmla="*/ 2381 h 10000"/>
                  <a:gd name="connsiteX157" fmla="*/ 1983 w 10000"/>
                  <a:gd name="connsiteY157" fmla="*/ 1933 h 10000"/>
                  <a:gd name="connsiteX158" fmla="*/ 2085 w 10000"/>
                  <a:gd name="connsiteY158" fmla="*/ 1793 h 10000"/>
                  <a:gd name="connsiteX0" fmla="*/ 2085 w 10000"/>
                  <a:gd name="connsiteY0" fmla="*/ 1793 h 10000"/>
                  <a:gd name="connsiteX1" fmla="*/ 2085 w 10000"/>
                  <a:gd name="connsiteY1" fmla="*/ 1793 h 10000"/>
                  <a:gd name="connsiteX2" fmla="*/ 2296 w 10000"/>
                  <a:gd name="connsiteY2" fmla="*/ 1643 h 10000"/>
                  <a:gd name="connsiteX3" fmla="*/ 2500 w 10000"/>
                  <a:gd name="connsiteY3" fmla="*/ 2092 h 10000"/>
                  <a:gd name="connsiteX4" fmla="*/ 2710 w 10000"/>
                  <a:gd name="connsiteY4" fmla="*/ 2092 h 10000"/>
                  <a:gd name="connsiteX5" fmla="*/ 2813 w 10000"/>
                  <a:gd name="connsiteY5" fmla="*/ 2381 h 10000"/>
                  <a:gd name="connsiteX6" fmla="*/ 2813 w 10000"/>
                  <a:gd name="connsiteY6" fmla="*/ 2988 h 10000"/>
                  <a:gd name="connsiteX7" fmla="*/ 3438 w 10000"/>
                  <a:gd name="connsiteY7" fmla="*/ 3277 h 10000"/>
                  <a:gd name="connsiteX8" fmla="*/ 3750 w 10000"/>
                  <a:gd name="connsiteY8" fmla="*/ 3725 h 10000"/>
                  <a:gd name="connsiteX9" fmla="*/ 4369 w 10000"/>
                  <a:gd name="connsiteY9" fmla="*/ 3725 h 10000"/>
                  <a:gd name="connsiteX10" fmla="*/ 4681 w 10000"/>
                  <a:gd name="connsiteY10" fmla="*/ 4034 h 10000"/>
                  <a:gd name="connsiteX11" fmla="*/ 5096 w 10000"/>
                  <a:gd name="connsiteY11" fmla="*/ 4174 h 10000"/>
                  <a:gd name="connsiteX12" fmla="*/ 5523 w 10000"/>
                  <a:gd name="connsiteY12" fmla="*/ 3884 h 10000"/>
                  <a:gd name="connsiteX13" fmla="*/ 5938 w 10000"/>
                  <a:gd name="connsiteY13" fmla="*/ 3884 h 10000"/>
                  <a:gd name="connsiteX14" fmla="*/ 6250 w 10000"/>
                  <a:gd name="connsiteY14" fmla="*/ 3436 h 10000"/>
                  <a:gd name="connsiteX15" fmla="*/ 6148 w 10000"/>
                  <a:gd name="connsiteY15" fmla="*/ 3277 h 10000"/>
                  <a:gd name="connsiteX16" fmla="*/ 6352 w 10000"/>
                  <a:gd name="connsiteY16" fmla="*/ 2988 h 10000"/>
                  <a:gd name="connsiteX17" fmla="*/ 6563 w 10000"/>
                  <a:gd name="connsiteY17" fmla="*/ 3137 h 10000"/>
                  <a:gd name="connsiteX18" fmla="*/ 6875 w 10000"/>
                  <a:gd name="connsiteY18" fmla="*/ 2829 h 10000"/>
                  <a:gd name="connsiteX19" fmla="*/ 7079 w 10000"/>
                  <a:gd name="connsiteY19" fmla="*/ 2540 h 10000"/>
                  <a:gd name="connsiteX20" fmla="*/ 7494 w 10000"/>
                  <a:gd name="connsiteY20" fmla="*/ 2540 h 10000"/>
                  <a:gd name="connsiteX21" fmla="*/ 7392 w 10000"/>
                  <a:gd name="connsiteY21" fmla="*/ 2241 h 10000"/>
                  <a:gd name="connsiteX22" fmla="*/ 7290 w 10000"/>
                  <a:gd name="connsiteY22" fmla="*/ 2092 h 10000"/>
                  <a:gd name="connsiteX23" fmla="*/ 7079 w 10000"/>
                  <a:gd name="connsiteY23" fmla="*/ 2241 h 10000"/>
                  <a:gd name="connsiteX24" fmla="*/ 6875 w 10000"/>
                  <a:gd name="connsiteY24" fmla="*/ 2241 h 10000"/>
                  <a:gd name="connsiteX25" fmla="*/ 6875 w 10000"/>
                  <a:gd name="connsiteY25" fmla="*/ 1643 h 10000"/>
                  <a:gd name="connsiteX26" fmla="*/ 6977 w 10000"/>
                  <a:gd name="connsiteY26" fmla="*/ 1345 h 10000"/>
                  <a:gd name="connsiteX27" fmla="*/ 7188 w 10000"/>
                  <a:gd name="connsiteY27" fmla="*/ 1485 h 10000"/>
                  <a:gd name="connsiteX28" fmla="*/ 7494 w 10000"/>
                  <a:gd name="connsiteY28" fmla="*/ 1345 h 10000"/>
                  <a:gd name="connsiteX29" fmla="*/ 7602 w 10000"/>
                  <a:gd name="connsiteY29" fmla="*/ 747 h 10000"/>
                  <a:gd name="connsiteX30" fmla="*/ 7704 w 10000"/>
                  <a:gd name="connsiteY30" fmla="*/ 588 h 10000"/>
                  <a:gd name="connsiteX31" fmla="*/ 7704 w 10000"/>
                  <a:gd name="connsiteY31" fmla="*/ 448 h 10000"/>
                  <a:gd name="connsiteX32" fmla="*/ 7602 w 10000"/>
                  <a:gd name="connsiteY32" fmla="*/ 448 h 10000"/>
                  <a:gd name="connsiteX33" fmla="*/ 7704 w 10000"/>
                  <a:gd name="connsiteY33" fmla="*/ 140 h 10000"/>
                  <a:gd name="connsiteX34" fmla="*/ 8119 w 10000"/>
                  <a:gd name="connsiteY34" fmla="*/ 0 h 10000"/>
                  <a:gd name="connsiteX35" fmla="*/ 8431 w 10000"/>
                  <a:gd name="connsiteY35" fmla="*/ 140 h 10000"/>
                  <a:gd name="connsiteX36" fmla="*/ 8642 w 10000"/>
                  <a:gd name="connsiteY36" fmla="*/ 448 h 10000"/>
                  <a:gd name="connsiteX37" fmla="*/ 8846 w 10000"/>
                  <a:gd name="connsiteY37" fmla="*/ 1485 h 10000"/>
                  <a:gd name="connsiteX38" fmla="*/ 9056 w 10000"/>
                  <a:gd name="connsiteY38" fmla="*/ 1485 h 10000"/>
                  <a:gd name="connsiteX39" fmla="*/ 9363 w 10000"/>
                  <a:gd name="connsiteY39" fmla="*/ 1793 h 10000"/>
                  <a:gd name="connsiteX40" fmla="*/ 9363 w 10000"/>
                  <a:gd name="connsiteY40" fmla="*/ 2092 h 10000"/>
                  <a:gd name="connsiteX41" fmla="*/ 9585 w 10000"/>
                  <a:gd name="connsiteY41" fmla="*/ 2092 h 10000"/>
                  <a:gd name="connsiteX42" fmla="*/ 10000 w 10000"/>
                  <a:gd name="connsiteY42" fmla="*/ 1933 h 10000"/>
                  <a:gd name="connsiteX43" fmla="*/ 10000 w 10000"/>
                  <a:gd name="connsiteY43" fmla="*/ 2241 h 10000"/>
                  <a:gd name="connsiteX44" fmla="*/ 9688 w 10000"/>
                  <a:gd name="connsiteY44" fmla="*/ 3137 h 10000"/>
                  <a:gd name="connsiteX45" fmla="*/ 9585 w 10000"/>
                  <a:gd name="connsiteY45" fmla="*/ 2988 h 10000"/>
                  <a:gd name="connsiteX46" fmla="*/ 9363 w 10000"/>
                  <a:gd name="connsiteY46" fmla="*/ 3137 h 10000"/>
                  <a:gd name="connsiteX47" fmla="*/ 9483 w 10000"/>
                  <a:gd name="connsiteY47" fmla="*/ 3585 h 10000"/>
                  <a:gd name="connsiteX48" fmla="*/ 9363 w 10000"/>
                  <a:gd name="connsiteY48" fmla="*/ 3884 h 10000"/>
                  <a:gd name="connsiteX49" fmla="*/ 9261 w 10000"/>
                  <a:gd name="connsiteY49" fmla="*/ 3884 h 10000"/>
                  <a:gd name="connsiteX50" fmla="*/ 9056 w 10000"/>
                  <a:gd name="connsiteY50" fmla="*/ 4034 h 10000"/>
                  <a:gd name="connsiteX51" fmla="*/ 8948 w 10000"/>
                  <a:gd name="connsiteY51" fmla="*/ 4034 h 10000"/>
                  <a:gd name="connsiteX52" fmla="*/ 8846 w 10000"/>
                  <a:gd name="connsiteY52" fmla="*/ 4174 h 10000"/>
                  <a:gd name="connsiteX53" fmla="*/ 8744 w 10000"/>
                  <a:gd name="connsiteY53" fmla="*/ 4174 h 10000"/>
                  <a:gd name="connsiteX54" fmla="*/ 8329 w 10000"/>
                  <a:gd name="connsiteY54" fmla="*/ 4622 h 10000"/>
                  <a:gd name="connsiteX55" fmla="*/ 8329 w 10000"/>
                  <a:gd name="connsiteY55" fmla="*/ 4781 h 10000"/>
                  <a:gd name="connsiteX56" fmla="*/ 8119 w 10000"/>
                  <a:gd name="connsiteY56" fmla="*/ 4781 h 10000"/>
                  <a:gd name="connsiteX57" fmla="*/ 7806 w 10000"/>
                  <a:gd name="connsiteY57" fmla="*/ 5070 h 10000"/>
                  <a:gd name="connsiteX58" fmla="*/ 7806 w 10000"/>
                  <a:gd name="connsiteY58" fmla="*/ 4930 h 10000"/>
                  <a:gd name="connsiteX59" fmla="*/ 7806 w 10000"/>
                  <a:gd name="connsiteY59" fmla="*/ 4781 h 10000"/>
                  <a:gd name="connsiteX60" fmla="*/ 7915 w 10000"/>
                  <a:gd name="connsiteY60" fmla="*/ 4482 h 10000"/>
                  <a:gd name="connsiteX61" fmla="*/ 7806 w 10000"/>
                  <a:gd name="connsiteY61" fmla="*/ 4332 h 10000"/>
                  <a:gd name="connsiteX62" fmla="*/ 7494 w 10000"/>
                  <a:gd name="connsiteY62" fmla="*/ 4781 h 10000"/>
                  <a:gd name="connsiteX63" fmla="*/ 7392 w 10000"/>
                  <a:gd name="connsiteY63" fmla="*/ 4930 h 10000"/>
                  <a:gd name="connsiteX64" fmla="*/ 7290 w 10000"/>
                  <a:gd name="connsiteY64" fmla="*/ 4930 h 10000"/>
                  <a:gd name="connsiteX65" fmla="*/ 7188 w 10000"/>
                  <a:gd name="connsiteY65" fmla="*/ 5070 h 10000"/>
                  <a:gd name="connsiteX66" fmla="*/ 7494 w 10000"/>
                  <a:gd name="connsiteY66" fmla="*/ 5518 h 10000"/>
                  <a:gd name="connsiteX67" fmla="*/ 7704 w 10000"/>
                  <a:gd name="connsiteY67" fmla="*/ 5369 h 10000"/>
                  <a:gd name="connsiteX68" fmla="*/ 8017 w 10000"/>
                  <a:gd name="connsiteY68" fmla="*/ 5518 h 10000"/>
                  <a:gd name="connsiteX69" fmla="*/ 8017 w 10000"/>
                  <a:gd name="connsiteY69" fmla="*/ 5677 h 10000"/>
                  <a:gd name="connsiteX70" fmla="*/ 7915 w 10000"/>
                  <a:gd name="connsiteY70" fmla="*/ 5518 h 10000"/>
                  <a:gd name="connsiteX71" fmla="*/ 7704 w 10000"/>
                  <a:gd name="connsiteY71" fmla="*/ 5677 h 10000"/>
                  <a:gd name="connsiteX72" fmla="*/ 7494 w 10000"/>
                  <a:gd name="connsiteY72" fmla="*/ 6125 h 10000"/>
                  <a:gd name="connsiteX73" fmla="*/ 7602 w 10000"/>
                  <a:gd name="connsiteY73" fmla="*/ 6265 h 10000"/>
                  <a:gd name="connsiteX74" fmla="*/ 7704 w 10000"/>
                  <a:gd name="connsiteY74" fmla="*/ 6863 h 10000"/>
                  <a:gd name="connsiteX75" fmla="*/ 7915 w 10000"/>
                  <a:gd name="connsiteY75" fmla="*/ 7021 h 10000"/>
                  <a:gd name="connsiteX76" fmla="*/ 7806 w 10000"/>
                  <a:gd name="connsiteY76" fmla="*/ 7021 h 10000"/>
                  <a:gd name="connsiteX77" fmla="*/ 7915 w 10000"/>
                  <a:gd name="connsiteY77" fmla="*/ 7311 h 10000"/>
                  <a:gd name="connsiteX78" fmla="*/ 7602 w 10000"/>
                  <a:gd name="connsiteY78" fmla="*/ 7470 h 10000"/>
                  <a:gd name="connsiteX79" fmla="*/ 7915 w 10000"/>
                  <a:gd name="connsiteY79" fmla="*/ 7470 h 10000"/>
                  <a:gd name="connsiteX80" fmla="*/ 7806 w 10000"/>
                  <a:gd name="connsiteY80" fmla="*/ 8058 h 10000"/>
                  <a:gd name="connsiteX81" fmla="*/ 7602 w 10000"/>
                  <a:gd name="connsiteY81" fmla="*/ 8366 h 10000"/>
                  <a:gd name="connsiteX82" fmla="*/ 7494 w 10000"/>
                  <a:gd name="connsiteY82" fmla="*/ 8366 h 10000"/>
                  <a:gd name="connsiteX83" fmla="*/ 7494 w 10000"/>
                  <a:gd name="connsiteY83" fmla="*/ 8655 h 10000"/>
                  <a:gd name="connsiteX84" fmla="*/ 7392 w 10000"/>
                  <a:gd name="connsiteY84" fmla="*/ 8954 h 10000"/>
                  <a:gd name="connsiteX85" fmla="*/ 7290 w 10000"/>
                  <a:gd name="connsiteY85" fmla="*/ 8954 h 10000"/>
                  <a:gd name="connsiteX86" fmla="*/ 7290 w 10000"/>
                  <a:gd name="connsiteY86" fmla="*/ 9104 h 10000"/>
                  <a:gd name="connsiteX87" fmla="*/ 6977 w 10000"/>
                  <a:gd name="connsiteY87" fmla="*/ 9402 h 10000"/>
                  <a:gd name="connsiteX88" fmla="*/ 6665 w 10000"/>
                  <a:gd name="connsiteY88" fmla="*/ 9402 h 10000"/>
                  <a:gd name="connsiteX89" fmla="*/ 6665 w 10000"/>
                  <a:gd name="connsiteY89" fmla="*/ 9552 h 10000"/>
                  <a:gd name="connsiteX90" fmla="*/ 6563 w 10000"/>
                  <a:gd name="connsiteY90" fmla="*/ 9402 h 10000"/>
                  <a:gd name="connsiteX91" fmla="*/ 6563 w 10000"/>
                  <a:gd name="connsiteY91" fmla="*/ 9552 h 10000"/>
                  <a:gd name="connsiteX92" fmla="*/ 6460 w 10000"/>
                  <a:gd name="connsiteY92" fmla="*/ 9552 h 10000"/>
                  <a:gd name="connsiteX93" fmla="*/ 6046 w 10000"/>
                  <a:gd name="connsiteY93" fmla="*/ 9851 h 10000"/>
                  <a:gd name="connsiteX94" fmla="*/ 5938 w 10000"/>
                  <a:gd name="connsiteY94" fmla="*/ 10000 h 10000"/>
                  <a:gd name="connsiteX95" fmla="*/ 5938 w 10000"/>
                  <a:gd name="connsiteY95" fmla="*/ 9711 h 10000"/>
                  <a:gd name="connsiteX96" fmla="*/ 5733 w 10000"/>
                  <a:gd name="connsiteY96" fmla="*/ 9711 h 10000"/>
                  <a:gd name="connsiteX97" fmla="*/ 5625 w 10000"/>
                  <a:gd name="connsiteY97" fmla="*/ 9711 h 10000"/>
                  <a:gd name="connsiteX98" fmla="*/ 5409 w 10000"/>
                  <a:gd name="connsiteY98" fmla="*/ 9711 h 10000"/>
                  <a:gd name="connsiteX99" fmla="*/ 5409 w 10000"/>
                  <a:gd name="connsiteY99" fmla="*/ 9402 h 10000"/>
                  <a:gd name="connsiteX100" fmla="*/ 5198 w 10000"/>
                  <a:gd name="connsiteY100" fmla="*/ 9402 h 10000"/>
                  <a:gd name="connsiteX101" fmla="*/ 4784 w 10000"/>
                  <a:gd name="connsiteY101" fmla="*/ 9552 h 10000"/>
                  <a:gd name="connsiteX102" fmla="*/ 4681 w 10000"/>
                  <a:gd name="connsiteY102" fmla="*/ 9402 h 10000"/>
                  <a:gd name="connsiteX103" fmla="*/ 4681 w 10000"/>
                  <a:gd name="connsiteY103" fmla="*/ 9552 h 10000"/>
                  <a:gd name="connsiteX104" fmla="*/ 4579 w 10000"/>
                  <a:gd name="connsiteY104" fmla="*/ 9552 h 10000"/>
                  <a:gd name="connsiteX105" fmla="*/ 4579 w 10000"/>
                  <a:gd name="connsiteY105" fmla="*/ 9851 h 10000"/>
                  <a:gd name="connsiteX106" fmla="*/ 4477 w 10000"/>
                  <a:gd name="connsiteY106" fmla="*/ 9851 h 10000"/>
                  <a:gd name="connsiteX107" fmla="*/ 4477 w 10000"/>
                  <a:gd name="connsiteY107" fmla="*/ 9711 h 10000"/>
                  <a:gd name="connsiteX108" fmla="*/ 4369 w 10000"/>
                  <a:gd name="connsiteY108" fmla="*/ 9711 h 10000"/>
                  <a:gd name="connsiteX109" fmla="*/ 4165 w 10000"/>
                  <a:gd name="connsiteY109" fmla="*/ 9552 h 10000"/>
                  <a:gd name="connsiteX110" fmla="*/ 4165 w 10000"/>
                  <a:gd name="connsiteY110" fmla="*/ 9402 h 10000"/>
                  <a:gd name="connsiteX111" fmla="*/ 4165 w 10000"/>
                  <a:gd name="connsiteY111" fmla="*/ 9262 h 10000"/>
                  <a:gd name="connsiteX112" fmla="*/ 4056 w 10000"/>
                  <a:gd name="connsiteY112" fmla="*/ 9104 h 10000"/>
                  <a:gd name="connsiteX113" fmla="*/ 3954 w 10000"/>
                  <a:gd name="connsiteY113" fmla="*/ 9104 h 10000"/>
                  <a:gd name="connsiteX114" fmla="*/ 4056 w 10000"/>
                  <a:gd name="connsiteY114" fmla="*/ 8366 h 10000"/>
                  <a:gd name="connsiteX115" fmla="*/ 3954 w 10000"/>
                  <a:gd name="connsiteY115" fmla="*/ 8058 h 10000"/>
                  <a:gd name="connsiteX116" fmla="*/ 3852 w 10000"/>
                  <a:gd name="connsiteY116" fmla="*/ 8058 h 10000"/>
                  <a:gd name="connsiteX117" fmla="*/ 3642 w 10000"/>
                  <a:gd name="connsiteY117" fmla="*/ 7759 h 10000"/>
                  <a:gd name="connsiteX118" fmla="*/ 3438 w 10000"/>
                  <a:gd name="connsiteY118" fmla="*/ 7759 h 10000"/>
                  <a:gd name="connsiteX119" fmla="*/ 2915 w 10000"/>
                  <a:gd name="connsiteY119" fmla="*/ 8058 h 10000"/>
                  <a:gd name="connsiteX120" fmla="*/ 2608 w 10000"/>
                  <a:gd name="connsiteY120" fmla="*/ 8058 h 10000"/>
                  <a:gd name="connsiteX121" fmla="*/ 2500 w 10000"/>
                  <a:gd name="connsiteY121" fmla="*/ 8207 h 10000"/>
                  <a:gd name="connsiteX122" fmla="*/ 2398 w 10000"/>
                  <a:gd name="connsiteY122" fmla="*/ 8058 h 10000"/>
                  <a:gd name="connsiteX123" fmla="*/ 2296 w 10000"/>
                  <a:gd name="connsiteY123" fmla="*/ 8058 h 10000"/>
                  <a:gd name="connsiteX124" fmla="*/ 1983 w 10000"/>
                  <a:gd name="connsiteY124" fmla="*/ 8058 h 10000"/>
                  <a:gd name="connsiteX125" fmla="*/ 1773 w 10000"/>
                  <a:gd name="connsiteY125" fmla="*/ 7918 h 10000"/>
                  <a:gd name="connsiteX126" fmla="*/ 1671 w 10000"/>
                  <a:gd name="connsiteY126" fmla="*/ 7759 h 10000"/>
                  <a:gd name="connsiteX127" fmla="*/ 1556 w 10000"/>
                  <a:gd name="connsiteY127" fmla="*/ 7759 h 10000"/>
                  <a:gd name="connsiteX128" fmla="*/ 1346 w 10000"/>
                  <a:gd name="connsiteY128" fmla="*/ 7470 h 10000"/>
                  <a:gd name="connsiteX129" fmla="*/ 1142 w 10000"/>
                  <a:gd name="connsiteY129" fmla="*/ 7470 h 10000"/>
                  <a:gd name="connsiteX130" fmla="*/ 829 w 10000"/>
                  <a:gd name="connsiteY130" fmla="*/ 7311 h 10000"/>
                  <a:gd name="connsiteX131" fmla="*/ 727 w 10000"/>
                  <a:gd name="connsiteY131" fmla="*/ 6863 h 10000"/>
                  <a:gd name="connsiteX132" fmla="*/ 931 w 10000"/>
                  <a:gd name="connsiteY132" fmla="*/ 6863 h 10000"/>
                  <a:gd name="connsiteX133" fmla="*/ 829 w 10000"/>
                  <a:gd name="connsiteY133" fmla="*/ 6573 h 10000"/>
                  <a:gd name="connsiteX134" fmla="*/ 1034 w 10000"/>
                  <a:gd name="connsiteY134" fmla="*/ 6265 h 10000"/>
                  <a:gd name="connsiteX135" fmla="*/ 1034 w 10000"/>
                  <a:gd name="connsiteY135" fmla="*/ 5966 h 10000"/>
                  <a:gd name="connsiteX136" fmla="*/ 931 w 10000"/>
                  <a:gd name="connsiteY136" fmla="*/ 5817 h 10000"/>
                  <a:gd name="connsiteX137" fmla="*/ 619 w 10000"/>
                  <a:gd name="connsiteY137" fmla="*/ 5966 h 10000"/>
                  <a:gd name="connsiteX138" fmla="*/ 444 w 10000"/>
                  <a:gd name="connsiteY138" fmla="*/ 5373 h 10000"/>
                  <a:gd name="connsiteX139" fmla="*/ 102 w 10000"/>
                  <a:gd name="connsiteY139" fmla="*/ 5518 h 10000"/>
                  <a:gd name="connsiteX140" fmla="*/ 216 w 10000"/>
                  <a:gd name="connsiteY140" fmla="*/ 5243 h 10000"/>
                  <a:gd name="connsiteX141" fmla="*/ 204 w 10000"/>
                  <a:gd name="connsiteY141" fmla="*/ 5070 h 10000"/>
                  <a:gd name="connsiteX142" fmla="*/ 0 w 10000"/>
                  <a:gd name="connsiteY142" fmla="*/ 5070 h 10000"/>
                  <a:gd name="connsiteX143" fmla="*/ 0 w 10000"/>
                  <a:gd name="connsiteY143" fmla="*/ 4622 h 10000"/>
                  <a:gd name="connsiteX144" fmla="*/ 204 w 10000"/>
                  <a:gd name="connsiteY144" fmla="*/ 4482 h 10000"/>
                  <a:gd name="connsiteX145" fmla="*/ 415 w 10000"/>
                  <a:gd name="connsiteY145" fmla="*/ 4482 h 10000"/>
                  <a:gd name="connsiteX146" fmla="*/ 517 w 10000"/>
                  <a:gd name="connsiteY146" fmla="*/ 4332 h 10000"/>
                  <a:gd name="connsiteX147" fmla="*/ 727 w 10000"/>
                  <a:gd name="connsiteY147" fmla="*/ 4332 h 10000"/>
                  <a:gd name="connsiteX148" fmla="*/ 1034 w 10000"/>
                  <a:gd name="connsiteY148" fmla="*/ 4034 h 10000"/>
                  <a:gd name="connsiteX149" fmla="*/ 1142 w 10000"/>
                  <a:gd name="connsiteY149" fmla="*/ 3725 h 10000"/>
                  <a:gd name="connsiteX150" fmla="*/ 1034 w 10000"/>
                  <a:gd name="connsiteY150" fmla="*/ 3137 h 10000"/>
                  <a:gd name="connsiteX151" fmla="*/ 1034 w 10000"/>
                  <a:gd name="connsiteY151" fmla="*/ 2988 h 10000"/>
                  <a:gd name="connsiteX152" fmla="*/ 1346 w 10000"/>
                  <a:gd name="connsiteY152" fmla="*/ 2988 h 10000"/>
                  <a:gd name="connsiteX153" fmla="*/ 1454 w 10000"/>
                  <a:gd name="connsiteY153" fmla="*/ 2381 h 10000"/>
                  <a:gd name="connsiteX154" fmla="*/ 1773 w 10000"/>
                  <a:gd name="connsiteY154" fmla="*/ 2381 h 10000"/>
                  <a:gd name="connsiteX155" fmla="*/ 1881 w 10000"/>
                  <a:gd name="connsiteY155" fmla="*/ 2381 h 10000"/>
                  <a:gd name="connsiteX156" fmla="*/ 1983 w 10000"/>
                  <a:gd name="connsiteY156" fmla="*/ 1933 h 10000"/>
                  <a:gd name="connsiteX157" fmla="*/ 2085 w 10000"/>
                  <a:gd name="connsiteY157" fmla="*/ 1793 h 10000"/>
                  <a:gd name="connsiteX0" fmla="*/ 2085 w 10000"/>
                  <a:gd name="connsiteY0" fmla="*/ 1793 h 10000"/>
                  <a:gd name="connsiteX1" fmla="*/ 2085 w 10000"/>
                  <a:gd name="connsiteY1" fmla="*/ 1793 h 10000"/>
                  <a:gd name="connsiteX2" fmla="*/ 2296 w 10000"/>
                  <a:gd name="connsiteY2" fmla="*/ 1643 h 10000"/>
                  <a:gd name="connsiteX3" fmla="*/ 2500 w 10000"/>
                  <a:gd name="connsiteY3" fmla="*/ 2092 h 10000"/>
                  <a:gd name="connsiteX4" fmla="*/ 2710 w 10000"/>
                  <a:gd name="connsiteY4" fmla="*/ 2092 h 10000"/>
                  <a:gd name="connsiteX5" fmla="*/ 2813 w 10000"/>
                  <a:gd name="connsiteY5" fmla="*/ 2381 h 10000"/>
                  <a:gd name="connsiteX6" fmla="*/ 2813 w 10000"/>
                  <a:gd name="connsiteY6" fmla="*/ 2988 h 10000"/>
                  <a:gd name="connsiteX7" fmla="*/ 3438 w 10000"/>
                  <a:gd name="connsiteY7" fmla="*/ 3277 h 10000"/>
                  <a:gd name="connsiteX8" fmla="*/ 3750 w 10000"/>
                  <a:gd name="connsiteY8" fmla="*/ 3725 h 10000"/>
                  <a:gd name="connsiteX9" fmla="*/ 4369 w 10000"/>
                  <a:gd name="connsiteY9" fmla="*/ 3725 h 10000"/>
                  <a:gd name="connsiteX10" fmla="*/ 4681 w 10000"/>
                  <a:gd name="connsiteY10" fmla="*/ 4034 h 10000"/>
                  <a:gd name="connsiteX11" fmla="*/ 5096 w 10000"/>
                  <a:gd name="connsiteY11" fmla="*/ 4174 h 10000"/>
                  <a:gd name="connsiteX12" fmla="*/ 5523 w 10000"/>
                  <a:gd name="connsiteY12" fmla="*/ 3884 h 10000"/>
                  <a:gd name="connsiteX13" fmla="*/ 5938 w 10000"/>
                  <a:gd name="connsiteY13" fmla="*/ 3884 h 10000"/>
                  <a:gd name="connsiteX14" fmla="*/ 6250 w 10000"/>
                  <a:gd name="connsiteY14" fmla="*/ 3436 h 10000"/>
                  <a:gd name="connsiteX15" fmla="*/ 6148 w 10000"/>
                  <a:gd name="connsiteY15" fmla="*/ 3277 h 10000"/>
                  <a:gd name="connsiteX16" fmla="*/ 6352 w 10000"/>
                  <a:gd name="connsiteY16" fmla="*/ 2988 h 10000"/>
                  <a:gd name="connsiteX17" fmla="*/ 6563 w 10000"/>
                  <a:gd name="connsiteY17" fmla="*/ 3137 h 10000"/>
                  <a:gd name="connsiteX18" fmla="*/ 6875 w 10000"/>
                  <a:gd name="connsiteY18" fmla="*/ 2829 h 10000"/>
                  <a:gd name="connsiteX19" fmla="*/ 7079 w 10000"/>
                  <a:gd name="connsiteY19" fmla="*/ 2540 h 10000"/>
                  <a:gd name="connsiteX20" fmla="*/ 7494 w 10000"/>
                  <a:gd name="connsiteY20" fmla="*/ 2540 h 10000"/>
                  <a:gd name="connsiteX21" fmla="*/ 7392 w 10000"/>
                  <a:gd name="connsiteY21" fmla="*/ 2241 h 10000"/>
                  <a:gd name="connsiteX22" fmla="*/ 7290 w 10000"/>
                  <a:gd name="connsiteY22" fmla="*/ 2092 h 10000"/>
                  <a:gd name="connsiteX23" fmla="*/ 7079 w 10000"/>
                  <a:gd name="connsiteY23" fmla="*/ 2241 h 10000"/>
                  <a:gd name="connsiteX24" fmla="*/ 6875 w 10000"/>
                  <a:gd name="connsiteY24" fmla="*/ 2241 h 10000"/>
                  <a:gd name="connsiteX25" fmla="*/ 6875 w 10000"/>
                  <a:gd name="connsiteY25" fmla="*/ 1643 h 10000"/>
                  <a:gd name="connsiteX26" fmla="*/ 6977 w 10000"/>
                  <a:gd name="connsiteY26" fmla="*/ 1345 h 10000"/>
                  <a:gd name="connsiteX27" fmla="*/ 7188 w 10000"/>
                  <a:gd name="connsiteY27" fmla="*/ 1485 h 10000"/>
                  <a:gd name="connsiteX28" fmla="*/ 7494 w 10000"/>
                  <a:gd name="connsiteY28" fmla="*/ 1345 h 10000"/>
                  <a:gd name="connsiteX29" fmla="*/ 7602 w 10000"/>
                  <a:gd name="connsiteY29" fmla="*/ 747 h 10000"/>
                  <a:gd name="connsiteX30" fmla="*/ 7704 w 10000"/>
                  <a:gd name="connsiteY30" fmla="*/ 588 h 10000"/>
                  <a:gd name="connsiteX31" fmla="*/ 7704 w 10000"/>
                  <a:gd name="connsiteY31" fmla="*/ 448 h 10000"/>
                  <a:gd name="connsiteX32" fmla="*/ 7602 w 10000"/>
                  <a:gd name="connsiteY32" fmla="*/ 448 h 10000"/>
                  <a:gd name="connsiteX33" fmla="*/ 7704 w 10000"/>
                  <a:gd name="connsiteY33" fmla="*/ 140 h 10000"/>
                  <a:gd name="connsiteX34" fmla="*/ 8119 w 10000"/>
                  <a:gd name="connsiteY34" fmla="*/ 0 h 10000"/>
                  <a:gd name="connsiteX35" fmla="*/ 8431 w 10000"/>
                  <a:gd name="connsiteY35" fmla="*/ 140 h 10000"/>
                  <a:gd name="connsiteX36" fmla="*/ 8642 w 10000"/>
                  <a:gd name="connsiteY36" fmla="*/ 448 h 10000"/>
                  <a:gd name="connsiteX37" fmla="*/ 8846 w 10000"/>
                  <a:gd name="connsiteY37" fmla="*/ 1485 h 10000"/>
                  <a:gd name="connsiteX38" fmla="*/ 9056 w 10000"/>
                  <a:gd name="connsiteY38" fmla="*/ 1485 h 10000"/>
                  <a:gd name="connsiteX39" fmla="*/ 9363 w 10000"/>
                  <a:gd name="connsiteY39" fmla="*/ 1793 h 10000"/>
                  <a:gd name="connsiteX40" fmla="*/ 9363 w 10000"/>
                  <a:gd name="connsiteY40" fmla="*/ 2092 h 10000"/>
                  <a:gd name="connsiteX41" fmla="*/ 9585 w 10000"/>
                  <a:gd name="connsiteY41" fmla="*/ 2092 h 10000"/>
                  <a:gd name="connsiteX42" fmla="*/ 10000 w 10000"/>
                  <a:gd name="connsiteY42" fmla="*/ 1933 h 10000"/>
                  <a:gd name="connsiteX43" fmla="*/ 10000 w 10000"/>
                  <a:gd name="connsiteY43" fmla="*/ 2241 h 10000"/>
                  <a:gd name="connsiteX44" fmla="*/ 9688 w 10000"/>
                  <a:gd name="connsiteY44" fmla="*/ 3137 h 10000"/>
                  <a:gd name="connsiteX45" fmla="*/ 9585 w 10000"/>
                  <a:gd name="connsiteY45" fmla="*/ 2988 h 10000"/>
                  <a:gd name="connsiteX46" fmla="*/ 9363 w 10000"/>
                  <a:gd name="connsiteY46" fmla="*/ 3137 h 10000"/>
                  <a:gd name="connsiteX47" fmla="*/ 9483 w 10000"/>
                  <a:gd name="connsiteY47" fmla="*/ 3585 h 10000"/>
                  <a:gd name="connsiteX48" fmla="*/ 9363 w 10000"/>
                  <a:gd name="connsiteY48" fmla="*/ 3884 h 10000"/>
                  <a:gd name="connsiteX49" fmla="*/ 9261 w 10000"/>
                  <a:gd name="connsiteY49" fmla="*/ 3884 h 10000"/>
                  <a:gd name="connsiteX50" fmla="*/ 9056 w 10000"/>
                  <a:gd name="connsiteY50" fmla="*/ 4034 h 10000"/>
                  <a:gd name="connsiteX51" fmla="*/ 8948 w 10000"/>
                  <a:gd name="connsiteY51" fmla="*/ 4034 h 10000"/>
                  <a:gd name="connsiteX52" fmla="*/ 8846 w 10000"/>
                  <a:gd name="connsiteY52" fmla="*/ 4174 h 10000"/>
                  <a:gd name="connsiteX53" fmla="*/ 8744 w 10000"/>
                  <a:gd name="connsiteY53" fmla="*/ 4174 h 10000"/>
                  <a:gd name="connsiteX54" fmla="*/ 8329 w 10000"/>
                  <a:gd name="connsiteY54" fmla="*/ 4622 h 10000"/>
                  <a:gd name="connsiteX55" fmla="*/ 8329 w 10000"/>
                  <a:gd name="connsiteY55" fmla="*/ 4781 h 10000"/>
                  <a:gd name="connsiteX56" fmla="*/ 8119 w 10000"/>
                  <a:gd name="connsiteY56" fmla="*/ 4781 h 10000"/>
                  <a:gd name="connsiteX57" fmla="*/ 7806 w 10000"/>
                  <a:gd name="connsiteY57" fmla="*/ 5070 h 10000"/>
                  <a:gd name="connsiteX58" fmla="*/ 7806 w 10000"/>
                  <a:gd name="connsiteY58" fmla="*/ 4930 h 10000"/>
                  <a:gd name="connsiteX59" fmla="*/ 7806 w 10000"/>
                  <a:gd name="connsiteY59" fmla="*/ 4781 h 10000"/>
                  <a:gd name="connsiteX60" fmla="*/ 7915 w 10000"/>
                  <a:gd name="connsiteY60" fmla="*/ 4482 h 10000"/>
                  <a:gd name="connsiteX61" fmla="*/ 7806 w 10000"/>
                  <a:gd name="connsiteY61" fmla="*/ 4332 h 10000"/>
                  <a:gd name="connsiteX62" fmla="*/ 7494 w 10000"/>
                  <a:gd name="connsiteY62" fmla="*/ 4781 h 10000"/>
                  <a:gd name="connsiteX63" fmla="*/ 7392 w 10000"/>
                  <a:gd name="connsiteY63" fmla="*/ 4930 h 10000"/>
                  <a:gd name="connsiteX64" fmla="*/ 7290 w 10000"/>
                  <a:gd name="connsiteY64" fmla="*/ 4930 h 10000"/>
                  <a:gd name="connsiteX65" fmla="*/ 7188 w 10000"/>
                  <a:gd name="connsiteY65" fmla="*/ 5070 h 10000"/>
                  <a:gd name="connsiteX66" fmla="*/ 7494 w 10000"/>
                  <a:gd name="connsiteY66" fmla="*/ 5518 h 10000"/>
                  <a:gd name="connsiteX67" fmla="*/ 7704 w 10000"/>
                  <a:gd name="connsiteY67" fmla="*/ 5369 h 10000"/>
                  <a:gd name="connsiteX68" fmla="*/ 8017 w 10000"/>
                  <a:gd name="connsiteY68" fmla="*/ 5518 h 10000"/>
                  <a:gd name="connsiteX69" fmla="*/ 8017 w 10000"/>
                  <a:gd name="connsiteY69" fmla="*/ 5677 h 10000"/>
                  <a:gd name="connsiteX70" fmla="*/ 7915 w 10000"/>
                  <a:gd name="connsiteY70" fmla="*/ 5518 h 10000"/>
                  <a:gd name="connsiteX71" fmla="*/ 7704 w 10000"/>
                  <a:gd name="connsiteY71" fmla="*/ 5677 h 10000"/>
                  <a:gd name="connsiteX72" fmla="*/ 7494 w 10000"/>
                  <a:gd name="connsiteY72" fmla="*/ 6125 h 10000"/>
                  <a:gd name="connsiteX73" fmla="*/ 7602 w 10000"/>
                  <a:gd name="connsiteY73" fmla="*/ 6265 h 10000"/>
                  <a:gd name="connsiteX74" fmla="*/ 7704 w 10000"/>
                  <a:gd name="connsiteY74" fmla="*/ 6863 h 10000"/>
                  <a:gd name="connsiteX75" fmla="*/ 7915 w 10000"/>
                  <a:gd name="connsiteY75" fmla="*/ 7021 h 10000"/>
                  <a:gd name="connsiteX76" fmla="*/ 7806 w 10000"/>
                  <a:gd name="connsiteY76" fmla="*/ 7021 h 10000"/>
                  <a:gd name="connsiteX77" fmla="*/ 7915 w 10000"/>
                  <a:gd name="connsiteY77" fmla="*/ 7311 h 10000"/>
                  <a:gd name="connsiteX78" fmla="*/ 7602 w 10000"/>
                  <a:gd name="connsiteY78" fmla="*/ 7470 h 10000"/>
                  <a:gd name="connsiteX79" fmla="*/ 7915 w 10000"/>
                  <a:gd name="connsiteY79" fmla="*/ 7470 h 10000"/>
                  <a:gd name="connsiteX80" fmla="*/ 7806 w 10000"/>
                  <a:gd name="connsiteY80" fmla="*/ 8058 h 10000"/>
                  <a:gd name="connsiteX81" fmla="*/ 7602 w 10000"/>
                  <a:gd name="connsiteY81" fmla="*/ 8366 h 10000"/>
                  <a:gd name="connsiteX82" fmla="*/ 7494 w 10000"/>
                  <a:gd name="connsiteY82" fmla="*/ 8366 h 10000"/>
                  <a:gd name="connsiteX83" fmla="*/ 7494 w 10000"/>
                  <a:gd name="connsiteY83" fmla="*/ 8655 h 10000"/>
                  <a:gd name="connsiteX84" fmla="*/ 7392 w 10000"/>
                  <a:gd name="connsiteY84" fmla="*/ 8954 h 10000"/>
                  <a:gd name="connsiteX85" fmla="*/ 7290 w 10000"/>
                  <a:gd name="connsiteY85" fmla="*/ 8954 h 10000"/>
                  <a:gd name="connsiteX86" fmla="*/ 7290 w 10000"/>
                  <a:gd name="connsiteY86" fmla="*/ 9104 h 10000"/>
                  <a:gd name="connsiteX87" fmla="*/ 6977 w 10000"/>
                  <a:gd name="connsiteY87" fmla="*/ 9402 h 10000"/>
                  <a:gd name="connsiteX88" fmla="*/ 6665 w 10000"/>
                  <a:gd name="connsiteY88" fmla="*/ 9402 h 10000"/>
                  <a:gd name="connsiteX89" fmla="*/ 6665 w 10000"/>
                  <a:gd name="connsiteY89" fmla="*/ 9552 h 10000"/>
                  <a:gd name="connsiteX90" fmla="*/ 6563 w 10000"/>
                  <a:gd name="connsiteY90" fmla="*/ 9402 h 10000"/>
                  <a:gd name="connsiteX91" fmla="*/ 6563 w 10000"/>
                  <a:gd name="connsiteY91" fmla="*/ 9552 h 10000"/>
                  <a:gd name="connsiteX92" fmla="*/ 6460 w 10000"/>
                  <a:gd name="connsiteY92" fmla="*/ 9552 h 10000"/>
                  <a:gd name="connsiteX93" fmla="*/ 6046 w 10000"/>
                  <a:gd name="connsiteY93" fmla="*/ 9851 h 10000"/>
                  <a:gd name="connsiteX94" fmla="*/ 5938 w 10000"/>
                  <a:gd name="connsiteY94" fmla="*/ 10000 h 10000"/>
                  <a:gd name="connsiteX95" fmla="*/ 5938 w 10000"/>
                  <a:gd name="connsiteY95" fmla="*/ 9711 h 10000"/>
                  <a:gd name="connsiteX96" fmla="*/ 5733 w 10000"/>
                  <a:gd name="connsiteY96" fmla="*/ 9711 h 10000"/>
                  <a:gd name="connsiteX97" fmla="*/ 5625 w 10000"/>
                  <a:gd name="connsiteY97" fmla="*/ 9711 h 10000"/>
                  <a:gd name="connsiteX98" fmla="*/ 5409 w 10000"/>
                  <a:gd name="connsiteY98" fmla="*/ 9711 h 10000"/>
                  <a:gd name="connsiteX99" fmla="*/ 5409 w 10000"/>
                  <a:gd name="connsiteY99" fmla="*/ 9402 h 10000"/>
                  <a:gd name="connsiteX100" fmla="*/ 5198 w 10000"/>
                  <a:gd name="connsiteY100" fmla="*/ 9402 h 10000"/>
                  <a:gd name="connsiteX101" fmla="*/ 4784 w 10000"/>
                  <a:gd name="connsiteY101" fmla="*/ 9552 h 10000"/>
                  <a:gd name="connsiteX102" fmla="*/ 4681 w 10000"/>
                  <a:gd name="connsiteY102" fmla="*/ 9402 h 10000"/>
                  <a:gd name="connsiteX103" fmla="*/ 4681 w 10000"/>
                  <a:gd name="connsiteY103" fmla="*/ 9552 h 10000"/>
                  <a:gd name="connsiteX104" fmla="*/ 4579 w 10000"/>
                  <a:gd name="connsiteY104" fmla="*/ 9552 h 10000"/>
                  <a:gd name="connsiteX105" fmla="*/ 4579 w 10000"/>
                  <a:gd name="connsiteY105" fmla="*/ 9851 h 10000"/>
                  <a:gd name="connsiteX106" fmla="*/ 4477 w 10000"/>
                  <a:gd name="connsiteY106" fmla="*/ 9851 h 10000"/>
                  <a:gd name="connsiteX107" fmla="*/ 4477 w 10000"/>
                  <a:gd name="connsiteY107" fmla="*/ 9711 h 10000"/>
                  <a:gd name="connsiteX108" fmla="*/ 4369 w 10000"/>
                  <a:gd name="connsiteY108" fmla="*/ 9711 h 10000"/>
                  <a:gd name="connsiteX109" fmla="*/ 4165 w 10000"/>
                  <a:gd name="connsiteY109" fmla="*/ 9552 h 10000"/>
                  <a:gd name="connsiteX110" fmla="*/ 4165 w 10000"/>
                  <a:gd name="connsiteY110" fmla="*/ 9402 h 10000"/>
                  <a:gd name="connsiteX111" fmla="*/ 4165 w 10000"/>
                  <a:gd name="connsiteY111" fmla="*/ 9262 h 10000"/>
                  <a:gd name="connsiteX112" fmla="*/ 4056 w 10000"/>
                  <a:gd name="connsiteY112" fmla="*/ 9104 h 10000"/>
                  <a:gd name="connsiteX113" fmla="*/ 3954 w 10000"/>
                  <a:gd name="connsiteY113" fmla="*/ 9104 h 10000"/>
                  <a:gd name="connsiteX114" fmla="*/ 4056 w 10000"/>
                  <a:gd name="connsiteY114" fmla="*/ 8366 h 10000"/>
                  <a:gd name="connsiteX115" fmla="*/ 3954 w 10000"/>
                  <a:gd name="connsiteY115" fmla="*/ 8058 h 10000"/>
                  <a:gd name="connsiteX116" fmla="*/ 3852 w 10000"/>
                  <a:gd name="connsiteY116" fmla="*/ 8058 h 10000"/>
                  <a:gd name="connsiteX117" fmla="*/ 3642 w 10000"/>
                  <a:gd name="connsiteY117" fmla="*/ 7759 h 10000"/>
                  <a:gd name="connsiteX118" fmla="*/ 3438 w 10000"/>
                  <a:gd name="connsiteY118" fmla="*/ 7759 h 10000"/>
                  <a:gd name="connsiteX119" fmla="*/ 2915 w 10000"/>
                  <a:gd name="connsiteY119" fmla="*/ 8058 h 10000"/>
                  <a:gd name="connsiteX120" fmla="*/ 2608 w 10000"/>
                  <a:gd name="connsiteY120" fmla="*/ 8058 h 10000"/>
                  <a:gd name="connsiteX121" fmla="*/ 2500 w 10000"/>
                  <a:gd name="connsiteY121" fmla="*/ 8207 h 10000"/>
                  <a:gd name="connsiteX122" fmla="*/ 2398 w 10000"/>
                  <a:gd name="connsiteY122" fmla="*/ 8058 h 10000"/>
                  <a:gd name="connsiteX123" fmla="*/ 2296 w 10000"/>
                  <a:gd name="connsiteY123" fmla="*/ 8058 h 10000"/>
                  <a:gd name="connsiteX124" fmla="*/ 1983 w 10000"/>
                  <a:gd name="connsiteY124" fmla="*/ 8058 h 10000"/>
                  <a:gd name="connsiteX125" fmla="*/ 1773 w 10000"/>
                  <a:gd name="connsiteY125" fmla="*/ 7918 h 10000"/>
                  <a:gd name="connsiteX126" fmla="*/ 1671 w 10000"/>
                  <a:gd name="connsiteY126" fmla="*/ 7759 h 10000"/>
                  <a:gd name="connsiteX127" fmla="*/ 1556 w 10000"/>
                  <a:gd name="connsiteY127" fmla="*/ 7759 h 10000"/>
                  <a:gd name="connsiteX128" fmla="*/ 1346 w 10000"/>
                  <a:gd name="connsiteY128" fmla="*/ 7470 h 10000"/>
                  <a:gd name="connsiteX129" fmla="*/ 1142 w 10000"/>
                  <a:gd name="connsiteY129" fmla="*/ 7470 h 10000"/>
                  <a:gd name="connsiteX130" fmla="*/ 829 w 10000"/>
                  <a:gd name="connsiteY130" fmla="*/ 7311 h 10000"/>
                  <a:gd name="connsiteX131" fmla="*/ 727 w 10000"/>
                  <a:gd name="connsiteY131" fmla="*/ 6863 h 10000"/>
                  <a:gd name="connsiteX132" fmla="*/ 931 w 10000"/>
                  <a:gd name="connsiteY132" fmla="*/ 6863 h 10000"/>
                  <a:gd name="connsiteX133" fmla="*/ 829 w 10000"/>
                  <a:gd name="connsiteY133" fmla="*/ 6573 h 10000"/>
                  <a:gd name="connsiteX134" fmla="*/ 1034 w 10000"/>
                  <a:gd name="connsiteY134" fmla="*/ 6265 h 10000"/>
                  <a:gd name="connsiteX135" fmla="*/ 1034 w 10000"/>
                  <a:gd name="connsiteY135" fmla="*/ 5966 h 10000"/>
                  <a:gd name="connsiteX136" fmla="*/ 931 w 10000"/>
                  <a:gd name="connsiteY136" fmla="*/ 5817 h 10000"/>
                  <a:gd name="connsiteX137" fmla="*/ 673 w 10000"/>
                  <a:gd name="connsiteY137" fmla="*/ 5821 h 10000"/>
                  <a:gd name="connsiteX138" fmla="*/ 444 w 10000"/>
                  <a:gd name="connsiteY138" fmla="*/ 5373 h 10000"/>
                  <a:gd name="connsiteX139" fmla="*/ 102 w 10000"/>
                  <a:gd name="connsiteY139" fmla="*/ 5518 h 10000"/>
                  <a:gd name="connsiteX140" fmla="*/ 216 w 10000"/>
                  <a:gd name="connsiteY140" fmla="*/ 5243 h 10000"/>
                  <a:gd name="connsiteX141" fmla="*/ 204 w 10000"/>
                  <a:gd name="connsiteY141" fmla="*/ 5070 h 10000"/>
                  <a:gd name="connsiteX142" fmla="*/ 0 w 10000"/>
                  <a:gd name="connsiteY142" fmla="*/ 5070 h 10000"/>
                  <a:gd name="connsiteX143" fmla="*/ 0 w 10000"/>
                  <a:gd name="connsiteY143" fmla="*/ 4622 h 10000"/>
                  <a:gd name="connsiteX144" fmla="*/ 204 w 10000"/>
                  <a:gd name="connsiteY144" fmla="*/ 4482 h 10000"/>
                  <a:gd name="connsiteX145" fmla="*/ 415 w 10000"/>
                  <a:gd name="connsiteY145" fmla="*/ 4482 h 10000"/>
                  <a:gd name="connsiteX146" fmla="*/ 517 w 10000"/>
                  <a:gd name="connsiteY146" fmla="*/ 4332 h 10000"/>
                  <a:gd name="connsiteX147" fmla="*/ 727 w 10000"/>
                  <a:gd name="connsiteY147" fmla="*/ 4332 h 10000"/>
                  <a:gd name="connsiteX148" fmla="*/ 1034 w 10000"/>
                  <a:gd name="connsiteY148" fmla="*/ 4034 h 10000"/>
                  <a:gd name="connsiteX149" fmla="*/ 1142 w 10000"/>
                  <a:gd name="connsiteY149" fmla="*/ 3725 h 10000"/>
                  <a:gd name="connsiteX150" fmla="*/ 1034 w 10000"/>
                  <a:gd name="connsiteY150" fmla="*/ 3137 h 10000"/>
                  <a:gd name="connsiteX151" fmla="*/ 1034 w 10000"/>
                  <a:gd name="connsiteY151" fmla="*/ 2988 h 10000"/>
                  <a:gd name="connsiteX152" fmla="*/ 1346 w 10000"/>
                  <a:gd name="connsiteY152" fmla="*/ 2988 h 10000"/>
                  <a:gd name="connsiteX153" fmla="*/ 1454 w 10000"/>
                  <a:gd name="connsiteY153" fmla="*/ 2381 h 10000"/>
                  <a:gd name="connsiteX154" fmla="*/ 1773 w 10000"/>
                  <a:gd name="connsiteY154" fmla="*/ 2381 h 10000"/>
                  <a:gd name="connsiteX155" fmla="*/ 1881 w 10000"/>
                  <a:gd name="connsiteY155" fmla="*/ 2381 h 10000"/>
                  <a:gd name="connsiteX156" fmla="*/ 1983 w 10000"/>
                  <a:gd name="connsiteY156" fmla="*/ 1933 h 10000"/>
                  <a:gd name="connsiteX157" fmla="*/ 2085 w 10000"/>
                  <a:gd name="connsiteY157" fmla="*/ 1793 h 10000"/>
                  <a:gd name="connsiteX0" fmla="*/ 2085 w 10000"/>
                  <a:gd name="connsiteY0" fmla="*/ 1793 h 10000"/>
                  <a:gd name="connsiteX1" fmla="*/ 2085 w 10000"/>
                  <a:gd name="connsiteY1" fmla="*/ 1793 h 10000"/>
                  <a:gd name="connsiteX2" fmla="*/ 2296 w 10000"/>
                  <a:gd name="connsiteY2" fmla="*/ 1643 h 10000"/>
                  <a:gd name="connsiteX3" fmla="*/ 2500 w 10000"/>
                  <a:gd name="connsiteY3" fmla="*/ 2092 h 10000"/>
                  <a:gd name="connsiteX4" fmla="*/ 2710 w 10000"/>
                  <a:gd name="connsiteY4" fmla="*/ 2092 h 10000"/>
                  <a:gd name="connsiteX5" fmla="*/ 2813 w 10000"/>
                  <a:gd name="connsiteY5" fmla="*/ 2381 h 10000"/>
                  <a:gd name="connsiteX6" fmla="*/ 2813 w 10000"/>
                  <a:gd name="connsiteY6" fmla="*/ 2988 h 10000"/>
                  <a:gd name="connsiteX7" fmla="*/ 3438 w 10000"/>
                  <a:gd name="connsiteY7" fmla="*/ 3277 h 10000"/>
                  <a:gd name="connsiteX8" fmla="*/ 3750 w 10000"/>
                  <a:gd name="connsiteY8" fmla="*/ 3725 h 10000"/>
                  <a:gd name="connsiteX9" fmla="*/ 4369 w 10000"/>
                  <a:gd name="connsiteY9" fmla="*/ 3725 h 10000"/>
                  <a:gd name="connsiteX10" fmla="*/ 4681 w 10000"/>
                  <a:gd name="connsiteY10" fmla="*/ 4034 h 10000"/>
                  <a:gd name="connsiteX11" fmla="*/ 5096 w 10000"/>
                  <a:gd name="connsiteY11" fmla="*/ 4174 h 10000"/>
                  <a:gd name="connsiteX12" fmla="*/ 5523 w 10000"/>
                  <a:gd name="connsiteY12" fmla="*/ 3884 h 10000"/>
                  <a:gd name="connsiteX13" fmla="*/ 5938 w 10000"/>
                  <a:gd name="connsiteY13" fmla="*/ 3884 h 10000"/>
                  <a:gd name="connsiteX14" fmla="*/ 6250 w 10000"/>
                  <a:gd name="connsiteY14" fmla="*/ 3436 h 10000"/>
                  <a:gd name="connsiteX15" fmla="*/ 6148 w 10000"/>
                  <a:gd name="connsiteY15" fmla="*/ 3277 h 10000"/>
                  <a:gd name="connsiteX16" fmla="*/ 6352 w 10000"/>
                  <a:gd name="connsiteY16" fmla="*/ 2988 h 10000"/>
                  <a:gd name="connsiteX17" fmla="*/ 6563 w 10000"/>
                  <a:gd name="connsiteY17" fmla="*/ 3137 h 10000"/>
                  <a:gd name="connsiteX18" fmla="*/ 6875 w 10000"/>
                  <a:gd name="connsiteY18" fmla="*/ 2829 h 10000"/>
                  <a:gd name="connsiteX19" fmla="*/ 7079 w 10000"/>
                  <a:gd name="connsiteY19" fmla="*/ 2540 h 10000"/>
                  <a:gd name="connsiteX20" fmla="*/ 7494 w 10000"/>
                  <a:gd name="connsiteY20" fmla="*/ 2540 h 10000"/>
                  <a:gd name="connsiteX21" fmla="*/ 7392 w 10000"/>
                  <a:gd name="connsiteY21" fmla="*/ 2241 h 10000"/>
                  <a:gd name="connsiteX22" fmla="*/ 7290 w 10000"/>
                  <a:gd name="connsiteY22" fmla="*/ 2092 h 10000"/>
                  <a:gd name="connsiteX23" fmla="*/ 7079 w 10000"/>
                  <a:gd name="connsiteY23" fmla="*/ 2241 h 10000"/>
                  <a:gd name="connsiteX24" fmla="*/ 6875 w 10000"/>
                  <a:gd name="connsiteY24" fmla="*/ 2241 h 10000"/>
                  <a:gd name="connsiteX25" fmla="*/ 6875 w 10000"/>
                  <a:gd name="connsiteY25" fmla="*/ 1643 h 10000"/>
                  <a:gd name="connsiteX26" fmla="*/ 6977 w 10000"/>
                  <a:gd name="connsiteY26" fmla="*/ 1345 h 10000"/>
                  <a:gd name="connsiteX27" fmla="*/ 7188 w 10000"/>
                  <a:gd name="connsiteY27" fmla="*/ 1485 h 10000"/>
                  <a:gd name="connsiteX28" fmla="*/ 7494 w 10000"/>
                  <a:gd name="connsiteY28" fmla="*/ 1345 h 10000"/>
                  <a:gd name="connsiteX29" fmla="*/ 7602 w 10000"/>
                  <a:gd name="connsiteY29" fmla="*/ 747 h 10000"/>
                  <a:gd name="connsiteX30" fmla="*/ 7704 w 10000"/>
                  <a:gd name="connsiteY30" fmla="*/ 588 h 10000"/>
                  <a:gd name="connsiteX31" fmla="*/ 7704 w 10000"/>
                  <a:gd name="connsiteY31" fmla="*/ 448 h 10000"/>
                  <a:gd name="connsiteX32" fmla="*/ 7602 w 10000"/>
                  <a:gd name="connsiteY32" fmla="*/ 448 h 10000"/>
                  <a:gd name="connsiteX33" fmla="*/ 7704 w 10000"/>
                  <a:gd name="connsiteY33" fmla="*/ 140 h 10000"/>
                  <a:gd name="connsiteX34" fmla="*/ 8119 w 10000"/>
                  <a:gd name="connsiteY34" fmla="*/ 0 h 10000"/>
                  <a:gd name="connsiteX35" fmla="*/ 8431 w 10000"/>
                  <a:gd name="connsiteY35" fmla="*/ 140 h 10000"/>
                  <a:gd name="connsiteX36" fmla="*/ 8642 w 10000"/>
                  <a:gd name="connsiteY36" fmla="*/ 448 h 10000"/>
                  <a:gd name="connsiteX37" fmla="*/ 8846 w 10000"/>
                  <a:gd name="connsiteY37" fmla="*/ 1485 h 10000"/>
                  <a:gd name="connsiteX38" fmla="*/ 9056 w 10000"/>
                  <a:gd name="connsiteY38" fmla="*/ 1485 h 10000"/>
                  <a:gd name="connsiteX39" fmla="*/ 9363 w 10000"/>
                  <a:gd name="connsiteY39" fmla="*/ 1793 h 10000"/>
                  <a:gd name="connsiteX40" fmla="*/ 9363 w 10000"/>
                  <a:gd name="connsiteY40" fmla="*/ 2092 h 10000"/>
                  <a:gd name="connsiteX41" fmla="*/ 9585 w 10000"/>
                  <a:gd name="connsiteY41" fmla="*/ 2092 h 10000"/>
                  <a:gd name="connsiteX42" fmla="*/ 10000 w 10000"/>
                  <a:gd name="connsiteY42" fmla="*/ 1933 h 10000"/>
                  <a:gd name="connsiteX43" fmla="*/ 10000 w 10000"/>
                  <a:gd name="connsiteY43" fmla="*/ 2241 h 10000"/>
                  <a:gd name="connsiteX44" fmla="*/ 9688 w 10000"/>
                  <a:gd name="connsiteY44" fmla="*/ 3137 h 10000"/>
                  <a:gd name="connsiteX45" fmla="*/ 9585 w 10000"/>
                  <a:gd name="connsiteY45" fmla="*/ 2988 h 10000"/>
                  <a:gd name="connsiteX46" fmla="*/ 9363 w 10000"/>
                  <a:gd name="connsiteY46" fmla="*/ 3137 h 10000"/>
                  <a:gd name="connsiteX47" fmla="*/ 9483 w 10000"/>
                  <a:gd name="connsiteY47" fmla="*/ 3585 h 10000"/>
                  <a:gd name="connsiteX48" fmla="*/ 9363 w 10000"/>
                  <a:gd name="connsiteY48" fmla="*/ 3884 h 10000"/>
                  <a:gd name="connsiteX49" fmla="*/ 9261 w 10000"/>
                  <a:gd name="connsiteY49" fmla="*/ 3884 h 10000"/>
                  <a:gd name="connsiteX50" fmla="*/ 9056 w 10000"/>
                  <a:gd name="connsiteY50" fmla="*/ 4034 h 10000"/>
                  <a:gd name="connsiteX51" fmla="*/ 8948 w 10000"/>
                  <a:gd name="connsiteY51" fmla="*/ 4034 h 10000"/>
                  <a:gd name="connsiteX52" fmla="*/ 8846 w 10000"/>
                  <a:gd name="connsiteY52" fmla="*/ 4174 h 10000"/>
                  <a:gd name="connsiteX53" fmla="*/ 8744 w 10000"/>
                  <a:gd name="connsiteY53" fmla="*/ 4174 h 10000"/>
                  <a:gd name="connsiteX54" fmla="*/ 8329 w 10000"/>
                  <a:gd name="connsiteY54" fmla="*/ 4622 h 10000"/>
                  <a:gd name="connsiteX55" fmla="*/ 8329 w 10000"/>
                  <a:gd name="connsiteY55" fmla="*/ 4781 h 10000"/>
                  <a:gd name="connsiteX56" fmla="*/ 8119 w 10000"/>
                  <a:gd name="connsiteY56" fmla="*/ 4781 h 10000"/>
                  <a:gd name="connsiteX57" fmla="*/ 7806 w 10000"/>
                  <a:gd name="connsiteY57" fmla="*/ 5070 h 10000"/>
                  <a:gd name="connsiteX58" fmla="*/ 7806 w 10000"/>
                  <a:gd name="connsiteY58" fmla="*/ 4930 h 10000"/>
                  <a:gd name="connsiteX59" fmla="*/ 7806 w 10000"/>
                  <a:gd name="connsiteY59" fmla="*/ 4781 h 10000"/>
                  <a:gd name="connsiteX60" fmla="*/ 7915 w 10000"/>
                  <a:gd name="connsiteY60" fmla="*/ 4482 h 10000"/>
                  <a:gd name="connsiteX61" fmla="*/ 7806 w 10000"/>
                  <a:gd name="connsiteY61" fmla="*/ 4332 h 10000"/>
                  <a:gd name="connsiteX62" fmla="*/ 7494 w 10000"/>
                  <a:gd name="connsiteY62" fmla="*/ 4781 h 10000"/>
                  <a:gd name="connsiteX63" fmla="*/ 7392 w 10000"/>
                  <a:gd name="connsiteY63" fmla="*/ 4930 h 10000"/>
                  <a:gd name="connsiteX64" fmla="*/ 7290 w 10000"/>
                  <a:gd name="connsiteY64" fmla="*/ 4930 h 10000"/>
                  <a:gd name="connsiteX65" fmla="*/ 7188 w 10000"/>
                  <a:gd name="connsiteY65" fmla="*/ 5070 h 10000"/>
                  <a:gd name="connsiteX66" fmla="*/ 7494 w 10000"/>
                  <a:gd name="connsiteY66" fmla="*/ 5518 h 10000"/>
                  <a:gd name="connsiteX67" fmla="*/ 7704 w 10000"/>
                  <a:gd name="connsiteY67" fmla="*/ 5369 h 10000"/>
                  <a:gd name="connsiteX68" fmla="*/ 8017 w 10000"/>
                  <a:gd name="connsiteY68" fmla="*/ 5518 h 10000"/>
                  <a:gd name="connsiteX69" fmla="*/ 8017 w 10000"/>
                  <a:gd name="connsiteY69" fmla="*/ 5677 h 10000"/>
                  <a:gd name="connsiteX70" fmla="*/ 7915 w 10000"/>
                  <a:gd name="connsiteY70" fmla="*/ 5518 h 10000"/>
                  <a:gd name="connsiteX71" fmla="*/ 7704 w 10000"/>
                  <a:gd name="connsiteY71" fmla="*/ 5677 h 10000"/>
                  <a:gd name="connsiteX72" fmla="*/ 7494 w 10000"/>
                  <a:gd name="connsiteY72" fmla="*/ 6125 h 10000"/>
                  <a:gd name="connsiteX73" fmla="*/ 7602 w 10000"/>
                  <a:gd name="connsiteY73" fmla="*/ 6265 h 10000"/>
                  <a:gd name="connsiteX74" fmla="*/ 7704 w 10000"/>
                  <a:gd name="connsiteY74" fmla="*/ 6863 h 10000"/>
                  <a:gd name="connsiteX75" fmla="*/ 7915 w 10000"/>
                  <a:gd name="connsiteY75" fmla="*/ 7021 h 10000"/>
                  <a:gd name="connsiteX76" fmla="*/ 7806 w 10000"/>
                  <a:gd name="connsiteY76" fmla="*/ 7021 h 10000"/>
                  <a:gd name="connsiteX77" fmla="*/ 7915 w 10000"/>
                  <a:gd name="connsiteY77" fmla="*/ 7311 h 10000"/>
                  <a:gd name="connsiteX78" fmla="*/ 7602 w 10000"/>
                  <a:gd name="connsiteY78" fmla="*/ 7470 h 10000"/>
                  <a:gd name="connsiteX79" fmla="*/ 7915 w 10000"/>
                  <a:gd name="connsiteY79" fmla="*/ 7470 h 10000"/>
                  <a:gd name="connsiteX80" fmla="*/ 7806 w 10000"/>
                  <a:gd name="connsiteY80" fmla="*/ 8058 h 10000"/>
                  <a:gd name="connsiteX81" fmla="*/ 7602 w 10000"/>
                  <a:gd name="connsiteY81" fmla="*/ 8366 h 10000"/>
                  <a:gd name="connsiteX82" fmla="*/ 7494 w 10000"/>
                  <a:gd name="connsiteY82" fmla="*/ 8366 h 10000"/>
                  <a:gd name="connsiteX83" fmla="*/ 7494 w 10000"/>
                  <a:gd name="connsiteY83" fmla="*/ 8655 h 10000"/>
                  <a:gd name="connsiteX84" fmla="*/ 7392 w 10000"/>
                  <a:gd name="connsiteY84" fmla="*/ 8954 h 10000"/>
                  <a:gd name="connsiteX85" fmla="*/ 7290 w 10000"/>
                  <a:gd name="connsiteY85" fmla="*/ 8954 h 10000"/>
                  <a:gd name="connsiteX86" fmla="*/ 7290 w 10000"/>
                  <a:gd name="connsiteY86" fmla="*/ 9104 h 10000"/>
                  <a:gd name="connsiteX87" fmla="*/ 6977 w 10000"/>
                  <a:gd name="connsiteY87" fmla="*/ 9402 h 10000"/>
                  <a:gd name="connsiteX88" fmla="*/ 6665 w 10000"/>
                  <a:gd name="connsiteY88" fmla="*/ 9402 h 10000"/>
                  <a:gd name="connsiteX89" fmla="*/ 6665 w 10000"/>
                  <a:gd name="connsiteY89" fmla="*/ 9552 h 10000"/>
                  <a:gd name="connsiteX90" fmla="*/ 6563 w 10000"/>
                  <a:gd name="connsiteY90" fmla="*/ 9402 h 10000"/>
                  <a:gd name="connsiteX91" fmla="*/ 6563 w 10000"/>
                  <a:gd name="connsiteY91" fmla="*/ 9552 h 10000"/>
                  <a:gd name="connsiteX92" fmla="*/ 6460 w 10000"/>
                  <a:gd name="connsiteY92" fmla="*/ 9552 h 10000"/>
                  <a:gd name="connsiteX93" fmla="*/ 6046 w 10000"/>
                  <a:gd name="connsiteY93" fmla="*/ 9851 h 10000"/>
                  <a:gd name="connsiteX94" fmla="*/ 5938 w 10000"/>
                  <a:gd name="connsiteY94" fmla="*/ 10000 h 10000"/>
                  <a:gd name="connsiteX95" fmla="*/ 5938 w 10000"/>
                  <a:gd name="connsiteY95" fmla="*/ 9711 h 10000"/>
                  <a:gd name="connsiteX96" fmla="*/ 5733 w 10000"/>
                  <a:gd name="connsiteY96" fmla="*/ 9711 h 10000"/>
                  <a:gd name="connsiteX97" fmla="*/ 5625 w 10000"/>
                  <a:gd name="connsiteY97" fmla="*/ 9711 h 10000"/>
                  <a:gd name="connsiteX98" fmla="*/ 5409 w 10000"/>
                  <a:gd name="connsiteY98" fmla="*/ 9711 h 10000"/>
                  <a:gd name="connsiteX99" fmla="*/ 5409 w 10000"/>
                  <a:gd name="connsiteY99" fmla="*/ 9402 h 10000"/>
                  <a:gd name="connsiteX100" fmla="*/ 5198 w 10000"/>
                  <a:gd name="connsiteY100" fmla="*/ 9402 h 10000"/>
                  <a:gd name="connsiteX101" fmla="*/ 4784 w 10000"/>
                  <a:gd name="connsiteY101" fmla="*/ 9552 h 10000"/>
                  <a:gd name="connsiteX102" fmla="*/ 4681 w 10000"/>
                  <a:gd name="connsiteY102" fmla="*/ 9402 h 10000"/>
                  <a:gd name="connsiteX103" fmla="*/ 4681 w 10000"/>
                  <a:gd name="connsiteY103" fmla="*/ 9552 h 10000"/>
                  <a:gd name="connsiteX104" fmla="*/ 4579 w 10000"/>
                  <a:gd name="connsiteY104" fmla="*/ 9552 h 10000"/>
                  <a:gd name="connsiteX105" fmla="*/ 4579 w 10000"/>
                  <a:gd name="connsiteY105" fmla="*/ 9851 h 10000"/>
                  <a:gd name="connsiteX106" fmla="*/ 4477 w 10000"/>
                  <a:gd name="connsiteY106" fmla="*/ 9851 h 10000"/>
                  <a:gd name="connsiteX107" fmla="*/ 4477 w 10000"/>
                  <a:gd name="connsiteY107" fmla="*/ 9711 h 10000"/>
                  <a:gd name="connsiteX108" fmla="*/ 4369 w 10000"/>
                  <a:gd name="connsiteY108" fmla="*/ 9711 h 10000"/>
                  <a:gd name="connsiteX109" fmla="*/ 4165 w 10000"/>
                  <a:gd name="connsiteY109" fmla="*/ 9552 h 10000"/>
                  <a:gd name="connsiteX110" fmla="*/ 4165 w 10000"/>
                  <a:gd name="connsiteY110" fmla="*/ 9402 h 10000"/>
                  <a:gd name="connsiteX111" fmla="*/ 4165 w 10000"/>
                  <a:gd name="connsiteY111" fmla="*/ 9262 h 10000"/>
                  <a:gd name="connsiteX112" fmla="*/ 4056 w 10000"/>
                  <a:gd name="connsiteY112" fmla="*/ 9104 h 10000"/>
                  <a:gd name="connsiteX113" fmla="*/ 3954 w 10000"/>
                  <a:gd name="connsiteY113" fmla="*/ 9104 h 10000"/>
                  <a:gd name="connsiteX114" fmla="*/ 4056 w 10000"/>
                  <a:gd name="connsiteY114" fmla="*/ 8366 h 10000"/>
                  <a:gd name="connsiteX115" fmla="*/ 3954 w 10000"/>
                  <a:gd name="connsiteY115" fmla="*/ 8058 h 10000"/>
                  <a:gd name="connsiteX116" fmla="*/ 3852 w 10000"/>
                  <a:gd name="connsiteY116" fmla="*/ 8058 h 10000"/>
                  <a:gd name="connsiteX117" fmla="*/ 3642 w 10000"/>
                  <a:gd name="connsiteY117" fmla="*/ 7759 h 10000"/>
                  <a:gd name="connsiteX118" fmla="*/ 3438 w 10000"/>
                  <a:gd name="connsiteY118" fmla="*/ 7759 h 10000"/>
                  <a:gd name="connsiteX119" fmla="*/ 2915 w 10000"/>
                  <a:gd name="connsiteY119" fmla="*/ 8058 h 10000"/>
                  <a:gd name="connsiteX120" fmla="*/ 2608 w 10000"/>
                  <a:gd name="connsiteY120" fmla="*/ 8058 h 10000"/>
                  <a:gd name="connsiteX121" fmla="*/ 2500 w 10000"/>
                  <a:gd name="connsiteY121" fmla="*/ 8207 h 10000"/>
                  <a:gd name="connsiteX122" fmla="*/ 2398 w 10000"/>
                  <a:gd name="connsiteY122" fmla="*/ 8058 h 10000"/>
                  <a:gd name="connsiteX123" fmla="*/ 2296 w 10000"/>
                  <a:gd name="connsiteY123" fmla="*/ 8058 h 10000"/>
                  <a:gd name="connsiteX124" fmla="*/ 1983 w 10000"/>
                  <a:gd name="connsiteY124" fmla="*/ 8058 h 10000"/>
                  <a:gd name="connsiteX125" fmla="*/ 1773 w 10000"/>
                  <a:gd name="connsiteY125" fmla="*/ 7918 h 10000"/>
                  <a:gd name="connsiteX126" fmla="*/ 1671 w 10000"/>
                  <a:gd name="connsiteY126" fmla="*/ 7759 h 10000"/>
                  <a:gd name="connsiteX127" fmla="*/ 1556 w 10000"/>
                  <a:gd name="connsiteY127" fmla="*/ 7759 h 10000"/>
                  <a:gd name="connsiteX128" fmla="*/ 1346 w 10000"/>
                  <a:gd name="connsiteY128" fmla="*/ 7470 h 10000"/>
                  <a:gd name="connsiteX129" fmla="*/ 1142 w 10000"/>
                  <a:gd name="connsiteY129" fmla="*/ 7470 h 10000"/>
                  <a:gd name="connsiteX130" fmla="*/ 829 w 10000"/>
                  <a:gd name="connsiteY130" fmla="*/ 7311 h 10000"/>
                  <a:gd name="connsiteX131" fmla="*/ 727 w 10000"/>
                  <a:gd name="connsiteY131" fmla="*/ 6863 h 10000"/>
                  <a:gd name="connsiteX132" fmla="*/ 931 w 10000"/>
                  <a:gd name="connsiteY132" fmla="*/ 6863 h 10000"/>
                  <a:gd name="connsiteX133" fmla="*/ 829 w 10000"/>
                  <a:gd name="connsiteY133" fmla="*/ 6573 h 10000"/>
                  <a:gd name="connsiteX134" fmla="*/ 1034 w 10000"/>
                  <a:gd name="connsiteY134" fmla="*/ 6265 h 10000"/>
                  <a:gd name="connsiteX135" fmla="*/ 1034 w 10000"/>
                  <a:gd name="connsiteY135" fmla="*/ 5966 h 10000"/>
                  <a:gd name="connsiteX136" fmla="*/ 931 w 10000"/>
                  <a:gd name="connsiteY136" fmla="*/ 5817 h 10000"/>
                  <a:gd name="connsiteX137" fmla="*/ 673 w 10000"/>
                  <a:gd name="connsiteY137" fmla="*/ 5821 h 10000"/>
                  <a:gd name="connsiteX138" fmla="*/ 302 w 10000"/>
                  <a:gd name="connsiteY138" fmla="*/ 5541 h 10000"/>
                  <a:gd name="connsiteX139" fmla="*/ 102 w 10000"/>
                  <a:gd name="connsiteY139" fmla="*/ 5518 h 10000"/>
                  <a:gd name="connsiteX140" fmla="*/ 216 w 10000"/>
                  <a:gd name="connsiteY140" fmla="*/ 5243 h 10000"/>
                  <a:gd name="connsiteX141" fmla="*/ 204 w 10000"/>
                  <a:gd name="connsiteY141" fmla="*/ 5070 h 10000"/>
                  <a:gd name="connsiteX142" fmla="*/ 0 w 10000"/>
                  <a:gd name="connsiteY142" fmla="*/ 5070 h 10000"/>
                  <a:gd name="connsiteX143" fmla="*/ 0 w 10000"/>
                  <a:gd name="connsiteY143" fmla="*/ 4622 h 10000"/>
                  <a:gd name="connsiteX144" fmla="*/ 204 w 10000"/>
                  <a:gd name="connsiteY144" fmla="*/ 4482 h 10000"/>
                  <a:gd name="connsiteX145" fmla="*/ 415 w 10000"/>
                  <a:gd name="connsiteY145" fmla="*/ 4482 h 10000"/>
                  <a:gd name="connsiteX146" fmla="*/ 517 w 10000"/>
                  <a:gd name="connsiteY146" fmla="*/ 4332 h 10000"/>
                  <a:gd name="connsiteX147" fmla="*/ 727 w 10000"/>
                  <a:gd name="connsiteY147" fmla="*/ 4332 h 10000"/>
                  <a:gd name="connsiteX148" fmla="*/ 1034 w 10000"/>
                  <a:gd name="connsiteY148" fmla="*/ 4034 h 10000"/>
                  <a:gd name="connsiteX149" fmla="*/ 1142 w 10000"/>
                  <a:gd name="connsiteY149" fmla="*/ 3725 h 10000"/>
                  <a:gd name="connsiteX150" fmla="*/ 1034 w 10000"/>
                  <a:gd name="connsiteY150" fmla="*/ 3137 h 10000"/>
                  <a:gd name="connsiteX151" fmla="*/ 1034 w 10000"/>
                  <a:gd name="connsiteY151" fmla="*/ 2988 h 10000"/>
                  <a:gd name="connsiteX152" fmla="*/ 1346 w 10000"/>
                  <a:gd name="connsiteY152" fmla="*/ 2988 h 10000"/>
                  <a:gd name="connsiteX153" fmla="*/ 1454 w 10000"/>
                  <a:gd name="connsiteY153" fmla="*/ 2381 h 10000"/>
                  <a:gd name="connsiteX154" fmla="*/ 1773 w 10000"/>
                  <a:gd name="connsiteY154" fmla="*/ 2381 h 10000"/>
                  <a:gd name="connsiteX155" fmla="*/ 1881 w 10000"/>
                  <a:gd name="connsiteY155" fmla="*/ 2381 h 10000"/>
                  <a:gd name="connsiteX156" fmla="*/ 1983 w 10000"/>
                  <a:gd name="connsiteY156" fmla="*/ 1933 h 10000"/>
                  <a:gd name="connsiteX157" fmla="*/ 2085 w 10000"/>
                  <a:gd name="connsiteY157" fmla="*/ 179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10000" h="10000">
                    <a:moveTo>
                      <a:pt x="2085" y="1793"/>
                    </a:moveTo>
                    <a:lnTo>
                      <a:pt x="2085" y="1793"/>
                    </a:lnTo>
                    <a:lnTo>
                      <a:pt x="2296" y="1643"/>
                    </a:lnTo>
                    <a:lnTo>
                      <a:pt x="2500" y="2092"/>
                    </a:lnTo>
                    <a:lnTo>
                      <a:pt x="2710" y="2092"/>
                    </a:lnTo>
                    <a:cubicBezTo>
                      <a:pt x="2744" y="2188"/>
                      <a:pt x="2779" y="2285"/>
                      <a:pt x="2813" y="2381"/>
                    </a:cubicBezTo>
                    <a:lnTo>
                      <a:pt x="2813" y="2988"/>
                    </a:lnTo>
                    <a:lnTo>
                      <a:pt x="3438" y="3277"/>
                    </a:lnTo>
                    <a:lnTo>
                      <a:pt x="3750" y="3725"/>
                    </a:lnTo>
                    <a:lnTo>
                      <a:pt x="4369" y="3725"/>
                    </a:lnTo>
                    <a:lnTo>
                      <a:pt x="4681" y="4034"/>
                    </a:lnTo>
                    <a:lnTo>
                      <a:pt x="5096" y="4174"/>
                    </a:lnTo>
                    <a:lnTo>
                      <a:pt x="5523" y="3884"/>
                    </a:lnTo>
                    <a:lnTo>
                      <a:pt x="5938" y="3884"/>
                    </a:lnTo>
                    <a:lnTo>
                      <a:pt x="6250" y="3436"/>
                    </a:lnTo>
                    <a:lnTo>
                      <a:pt x="6148" y="3277"/>
                    </a:lnTo>
                    <a:lnTo>
                      <a:pt x="6352" y="2988"/>
                    </a:lnTo>
                    <a:lnTo>
                      <a:pt x="6563" y="3137"/>
                    </a:lnTo>
                    <a:lnTo>
                      <a:pt x="6875" y="2829"/>
                    </a:lnTo>
                    <a:lnTo>
                      <a:pt x="7079" y="2540"/>
                    </a:lnTo>
                    <a:lnTo>
                      <a:pt x="7494" y="2540"/>
                    </a:lnTo>
                    <a:lnTo>
                      <a:pt x="7392" y="2241"/>
                    </a:lnTo>
                    <a:lnTo>
                      <a:pt x="7290" y="2092"/>
                    </a:lnTo>
                    <a:lnTo>
                      <a:pt x="7079" y="2241"/>
                    </a:lnTo>
                    <a:lnTo>
                      <a:pt x="6875" y="2241"/>
                    </a:lnTo>
                    <a:lnTo>
                      <a:pt x="6875" y="1643"/>
                    </a:lnTo>
                    <a:lnTo>
                      <a:pt x="6977" y="1345"/>
                    </a:lnTo>
                    <a:lnTo>
                      <a:pt x="7188" y="1485"/>
                    </a:lnTo>
                    <a:lnTo>
                      <a:pt x="7494" y="1345"/>
                    </a:lnTo>
                    <a:lnTo>
                      <a:pt x="7602" y="747"/>
                    </a:lnTo>
                    <a:lnTo>
                      <a:pt x="7704" y="588"/>
                    </a:lnTo>
                    <a:lnTo>
                      <a:pt x="7704" y="448"/>
                    </a:lnTo>
                    <a:lnTo>
                      <a:pt x="7602" y="448"/>
                    </a:lnTo>
                    <a:lnTo>
                      <a:pt x="7704" y="140"/>
                    </a:lnTo>
                    <a:lnTo>
                      <a:pt x="8119" y="0"/>
                    </a:lnTo>
                    <a:lnTo>
                      <a:pt x="8431" y="140"/>
                    </a:lnTo>
                    <a:cubicBezTo>
                      <a:pt x="8501" y="243"/>
                      <a:pt x="8572" y="345"/>
                      <a:pt x="8642" y="448"/>
                    </a:cubicBezTo>
                    <a:lnTo>
                      <a:pt x="8846" y="1485"/>
                    </a:lnTo>
                    <a:lnTo>
                      <a:pt x="9056" y="1485"/>
                    </a:lnTo>
                    <a:lnTo>
                      <a:pt x="9363" y="1793"/>
                    </a:lnTo>
                    <a:lnTo>
                      <a:pt x="9363" y="2092"/>
                    </a:lnTo>
                    <a:lnTo>
                      <a:pt x="9585" y="2092"/>
                    </a:lnTo>
                    <a:lnTo>
                      <a:pt x="10000" y="1933"/>
                    </a:lnTo>
                    <a:lnTo>
                      <a:pt x="10000" y="2241"/>
                    </a:lnTo>
                    <a:lnTo>
                      <a:pt x="9688" y="3137"/>
                    </a:lnTo>
                    <a:cubicBezTo>
                      <a:pt x="9654" y="3087"/>
                      <a:pt x="9619" y="3038"/>
                      <a:pt x="9585" y="2988"/>
                    </a:cubicBezTo>
                    <a:lnTo>
                      <a:pt x="9363" y="3137"/>
                    </a:lnTo>
                    <a:lnTo>
                      <a:pt x="9483" y="3585"/>
                    </a:lnTo>
                    <a:lnTo>
                      <a:pt x="9363" y="3884"/>
                    </a:lnTo>
                    <a:lnTo>
                      <a:pt x="9261" y="3884"/>
                    </a:lnTo>
                    <a:lnTo>
                      <a:pt x="9056" y="4034"/>
                    </a:lnTo>
                    <a:lnTo>
                      <a:pt x="8948" y="4034"/>
                    </a:lnTo>
                    <a:lnTo>
                      <a:pt x="8846" y="4174"/>
                    </a:lnTo>
                    <a:lnTo>
                      <a:pt x="8744" y="4174"/>
                    </a:lnTo>
                    <a:lnTo>
                      <a:pt x="8329" y="4622"/>
                    </a:lnTo>
                    <a:lnTo>
                      <a:pt x="8329" y="4781"/>
                    </a:lnTo>
                    <a:lnTo>
                      <a:pt x="8119" y="4781"/>
                    </a:lnTo>
                    <a:lnTo>
                      <a:pt x="7806" y="5070"/>
                    </a:lnTo>
                    <a:lnTo>
                      <a:pt x="7806" y="4930"/>
                    </a:lnTo>
                    <a:lnTo>
                      <a:pt x="7806" y="4781"/>
                    </a:lnTo>
                    <a:cubicBezTo>
                      <a:pt x="7842" y="4681"/>
                      <a:pt x="7879" y="4582"/>
                      <a:pt x="7915" y="4482"/>
                    </a:cubicBezTo>
                    <a:cubicBezTo>
                      <a:pt x="7879" y="4432"/>
                      <a:pt x="7842" y="4382"/>
                      <a:pt x="7806" y="4332"/>
                    </a:cubicBezTo>
                    <a:lnTo>
                      <a:pt x="7494" y="4781"/>
                    </a:lnTo>
                    <a:lnTo>
                      <a:pt x="7392" y="4930"/>
                    </a:lnTo>
                    <a:lnTo>
                      <a:pt x="7290" y="4930"/>
                    </a:lnTo>
                    <a:lnTo>
                      <a:pt x="7188" y="5070"/>
                    </a:lnTo>
                    <a:lnTo>
                      <a:pt x="7494" y="5518"/>
                    </a:lnTo>
                    <a:lnTo>
                      <a:pt x="7704" y="5369"/>
                    </a:lnTo>
                    <a:lnTo>
                      <a:pt x="8017" y="5518"/>
                    </a:lnTo>
                    <a:lnTo>
                      <a:pt x="8017" y="5677"/>
                    </a:lnTo>
                    <a:lnTo>
                      <a:pt x="7915" y="5518"/>
                    </a:lnTo>
                    <a:lnTo>
                      <a:pt x="7704" y="5677"/>
                    </a:lnTo>
                    <a:lnTo>
                      <a:pt x="7494" y="6125"/>
                    </a:lnTo>
                    <a:lnTo>
                      <a:pt x="7602" y="6265"/>
                    </a:lnTo>
                    <a:lnTo>
                      <a:pt x="7704" y="6863"/>
                    </a:lnTo>
                    <a:lnTo>
                      <a:pt x="7915" y="7021"/>
                    </a:lnTo>
                    <a:lnTo>
                      <a:pt x="7806" y="7021"/>
                    </a:lnTo>
                    <a:cubicBezTo>
                      <a:pt x="7842" y="7118"/>
                      <a:pt x="7879" y="7214"/>
                      <a:pt x="7915" y="7311"/>
                    </a:cubicBezTo>
                    <a:lnTo>
                      <a:pt x="7602" y="7470"/>
                    </a:lnTo>
                    <a:lnTo>
                      <a:pt x="7915" y="7470"/>
                    </a:lnTo>
                    <a:cubicBezTo>
                      <a:pt x="7879" y="7666"/>
                      <a:pt x="7842" y="7862"/>
                      <a:pt x="7806" y="8058"/>
                    </a:cubicBezTo>
                    <a:lnTo>
                      <a:pt x="7602" y="8366"/>
                    </a:lnTo>
                    <a:lnTo>
                      <a:pt x="7494" y="8366"/>
                    </a:lnTo>
                    <a:lnTo>
                      <a:pt x="7494" y="8655"/>
                    </a:lnTo>
                    <a:lnTo>
                      <a:pt x="7392" y="8954"/>
                    </a:lnTo>
                    <a:lnTo>
                      <a:pt x="7290" y="8954"/>
                    </a:lnTo>
                    <a:lnTo>
                      <a:pt x="7290" y="9104"/>
                    </a:lnTo>
                    <a:lnTo>
                      <a:pt x="6977" y="9402"/>
                    </a:lnTo>
                    <a:lnTo>
                      <a:pt x="6665" y="9402"/>
                    </a:lnTo>
                    <a:lnTo>
                      <a:pt x="6665" y="9552"/>
                    </a:lnTo>
                    <a:lnTo>
                      <a:pt x="6563" y="9402"/>
                    </a:lnTo>
                    <a:lnTo>
                      <a:pt x="6563" y="9552"/>
                    </a:lnTo>
                    <a:lnTo>
                      <a:pt x="6460" y="9552"/>
                    </a:lnTo>
                    <a:lnTo>
                      <a:pt x="6046" y="9851"/>
                    </a:lnTo>
                    <a:lnTo>
                      <a:pt x="5938" y="10000"/>
                    </a:lnTo>
                    <a:lnTo>
                      <a:pt x="5938" y="9711"/>
                    </a:lnTo>
                    <a:lnTo>
                      <a:pt x="5733" y="9711"/>
                    </a:lnTo>
                    <a:lnTo>
                      <a:pt x="5625" y="9711"/>
                    </a:lnTo>
                    <a:lnTo>
                      <a:pt x="5409" y="9711"/>
                    </a:lnTo>
                    <a:lnTo>
                      <a:pt x="5409" y="9402"/>
                    </a:lnTo>
                    <a:lnTo>
                      <a:pt x="5198" y="9402"/>
                    </a:lnTo>
                    <a:lnTo>
                      <a:pt x="4784" y="9552"/>
                    </a:lnTo>
                    <a:cubicBezTo>
                      <a:pt x="4750" y="9502"/>
                      <a:pt x="4715" y="9452"/>
                      <a:pt x="4681" y="9402"/>
                    </a:cubicBezTo>
                    <a:lnTo>
                      <a:pt x="4681" y="9552"/>
                    </a:lnTo>
                    <a:lnTo>
                      <a:pt x="4579" y="9552"/>
                    </a:lnTo>
                    <a:lnTo>
                      <a:pt x="4579" y="9851"/>
                    </a:lnTo>
                    <a:lnTo>
                      <a:pt x="4477" y="9851"/>
                    </a:lnTo>
                    <a:lnTo>
                      <a:pt x="4477" y="9711"/>
                    </a:lnTo>
                    <a:lnTo>
                      <a:pt x="4369" y="9711"/>
                    </a:lnTo>
                    <a:lnTo>
                      <a:pt x="4165" y="9552"/>
                    </a:lnTo>
                    <a:lnTo>
                      <a:pt x="4165" y="9402"/>
                    </a:lnTo>
                    <a:lnTo>
                      <a:pt x="4165" y="9262"/>
                    </a:lnTo>
                    <a:cubicBezTo>
                      <a:pt x="4129" y="9209"/>
                      <a:pt x="4092" y="9157"/>
                      <a:pt x="4056" y="9104"/>
                    </a:cubicBezTo>
                    <a:lnTo>
                      <a:pt x="3954" y="9104"/>
                    </a:lnTo>
                    <a:lnTo>
                      <a:pt x="4056" y="8366"/>
                    </a:lnTo>
                    <a:lnTo>
                      <a:pt x="3954" y="8058"/>
                    </a:lnTo>
                    <a:lnTo>
                      <a:pt x="3852" y="8058"/>
                    </a:lnTo>
                    <a:lnTo>
                      <a:pt x="3642" y="7759"/>
                    </a:lnTo>
                    <a:lnTo>
                      <a:pt x="3438" y="7759"/>
                    </a:lnTo>
                    <a:lnTo>
                      <a:pt x="2915" y="8058"/>
                    </a:lnTo>
                    <a:lnTo>
                      <a:pt x="2608" y="8058"/>
                    </a:lnTo>
                    <a:lnTo>
                      <a:pt x="2500" y="8207"/>
                    </a:lnTo>
                    <a:lnTo>
                      <a:pt x="2398" y="8058"/>
                    </a:lnTo>
                    <a:lnTo>
                      <a:pt x="2296" y="8058"/>
                    </a:lnTo>
                    <a:lnTo>
                      <a:pt x="1983" y="8058"/>
                    </a:lnTo>
                    <a:lnTo>
                      <a:pt x="1773" y="7918"/>
                    </a:lnTo>
                    <a:lnTo>
                      <a:pt x="1671" y="7759"/>
                    </a:lnTo>
                    <a:lnTo>
                      <a:pt x="1556" y="7759"/>
                    </a:lnTo>
                    <a:lnTo>
                      <a:pt x="1346" y="7470"/>
                    </a:lnTo>
                    <a:lnTo>
                      <a:pt x="1142" y="7470"/>
                    </a:lnTo>
                    <a:lnTo>
                      <a:pt x="829" y="7311"/>
                    </a:lnTo>
                    <a:lnTo>
                      <a:pt x="727" y="6863"/>
                    </a:lnTo>
                    <a:lnTo>
                      <a:pt x="931" y="6863"/>
                    </a:lnTo>
                    <a:lnTo>
                      <a:pt x="829" y="6573"/>
                    </a:lnTo>
                    <a:cubicBezTo>
                      <a:pt x="897" y="6470"/>
                      <a:pt x="966" y="6368"/>
                      <a:pt x="1034" y="6265"/>
                    </a:cubicBezTo>
                    <a:lnTo>
                      <a:pt x="1034" y="5966"/>
                    </a:lnTo>
                    <a:cubicBezTo>
                      <a:pt x="1000" y="5916"/>
                      <a:pt x="965" y="5867"/>
                      <a:pt x="931" y="5817"/>
                    </a:cubicBezTo>
                    <a:lnTo>
                      <a:pt x="673" y="5821"/>
                    </a:lnTo>
                    <a:cubicBezTo>
                      <a:pt x="615" y="5623"/>
                      <a:pt x="360" y="5739"/>
                      <a:pt x="302" y="5541"/>
                    </a:cubicBezTo>
                    <a:lnTo>
                      <a:pt x="102" y="5518"/>
                    </a:lnTo>
                    <a:lnTo>
                      <a:pt x="216" y="5243"/>
                    </a:lnTo>
                    <a:cubicBezTo>
                      <a:pt x="212" y="5185"/>
                      <a:pt x="208" y="5128"/>
                      <a:pt x="204" y="5070"/>
                    </a:cubicBezTo>
                    <a:lnTo>
                      <a:pt x="0" y="5070"/>
                    </a:lnTo>
                    <a:lnTo>
                      <a:pt x="0" y="4622"/>
                    </a:lnTo>
                    <a:lnTo>
                      <a:pt x="204" y="4482"/>
                    </a:lnTo>
                    <a:lnTo>
                      <a:pt x="415" y="4482"/>
                    </a:lnTo>
                    <a:lnTo>
                      <a:pt x="517" y="4332"/>
                    </a:lnTo>
                    <a:lnTo>
                      <a:pt x="727" y="4332"/>
                    </a:lnTo>
                    <a:lnTo>
                      <a:pt x="1034" y="4034"/>
                    </a:lnTo>
                    <a:lnTo>
                      <a:pt x="1142" y="3725"/>
                    </a:lnTo>
                    <a:lnTo>
                      <a:pt x="1034" y="3137"/>
                    </a:lnTo>
                    <a:lnTo>
                      <a:pt x="1034" y="2988"/>
                    </a:lnTo>
                    <a:lnTo>
                      <a:pt x="1346" y="2988"/>
                    </a:lnTo>
                    <a:lnTo>
                      <a:pt x="1454" y="2381"/>
                    </a:lnTo>
                    <a:lnTo>
                      <a:pt x="1773" y="2381"/>
                    </a:lnTo>
                    <a:lnTo>
                      <a:pt x="1881" y="2381"/>
                    </a:lnTo>
                    <a:lnTo>
                      <a:pt x="1983" y="1933"/>
                    </a:lnTo>
                    <a:lnTo>
                      <a:pt x="2085" y="1793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32" name="Freeform 166">
                <a:extLst>
                  <a:ext uri="{FF2B5EF4-FFF2-40B4-BE49-F238E27FC236}">
                    <a16:creationId xmlns:a16="http://schemas.microsoft.com/office/drawing/2014/main" id="{691B843E-FDFA-B642-A3FC-2D80B9922139}"/>
                  </a:ext>
                </a:extLst>
              </p:cNvPr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auto">
              <a:xfrm>
                <a:off x="7900987" y="3614738"/>
                <a:ext cx="41275" cy="38100"/>
              </a:xfrm>
              <a:custGeom>
                <a:avLst/>
                <a:gdLst>
                  <a:gd name="T0" fmla="*/ 0 w 52"/>
                  <a:gd name="T1" fmla="*/ 9525 h 48"/>
                  <a:gd name="T2" fmla="*/ 0 w 52"/>
                  <a:gd name="T3" fmla="*/ 9525 h 48"/>
                  <a:gd name="T4" fmla="*/ 10319 w 52"/>
                  <a:gd name="T5" fmla="*/ 0 h 48"/>
                  <a:gd name="T6" fmla="*/ 7144 w 52"/>
                  <a:gd name="T7" fmla="*/ 3969 h 48"/>
                  <a:gd name="T8" fmla="*/ 0 w 52"/>
                  <a:gd name="T9" fmla="*/ 9525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48"/>
                  <a:gd name="T17" fmla="*/ 52 w 52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48">
                    <a:moveTo>
                      <a:pt x="0" y="48"/>
                    </a:moveTo>
                    <a:lnTo>
                      <a:pt x="0" y="48"/>
                    </a:lnTo>
                    <a:lnTo>
                      <a:pt x="52" y="0"/>
                    </a:lnTo>
                    <a:lnTo>
                      <a:pt x="35" y="17"/>
                    </a:lnTo>
                    <a:lnTo>
                      <a:pt x="0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33" name="Line 167">
                <a:extLst>
                  <a:ext uri="{FF2B5EF4-FFF2-40B4-BE49-F238E27FC236}">
                    <a16:creationId xmlns:a16="http://schemas.microsoft.com/office/drawing/2014/main" id="{FB0ADECE-E26E-7B4A-8CC8-4B5834C6C169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95"/>
                </p:custDataLst>
              </p:nvPr>
            </p:nvSpPr>
            <p:spPr bwMode="auto">
              <a:xfrm flipV="1">
                <a:off x="7878762" y="3660776"/>
                <a:ext cx="14288" cy="381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34" name="Freeform 168">
                <a:extLst>
                  <a:ext uri="{FF2B5EF4-FFF2-40B4-BE49-F238E27FC236}">
                    <a16:creationId xmlns:a16="http://schemas.microsoft.com/office/drawing/2014/main" id="{DF6D5277-45DF-5944-8651-FF993EBCDCDB}"/>
                  </a:ext>
                </a:extLst>
              </p:cNvPr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auto">
              <a:xfrm>
                <a:off x="7693024" y="3324226"/>
                <a:ext cx="14288" cy="11113"/>
              </a:xfrm>
              <a:custGeom>
                <a:avLst/>
                <a:gdLst>
                  <a:gd name="T0" fmla="*/ 0 w 18"/>
                  <a:gd name="T1" fmla="*/ 0 h 15"/>
                  <a:gd name="T2" fmla="*/ 0 w 18"/>
                  <a:gd name="T3" fmla="*/ 0 h 15"/>
                  <a:gd name="T4" fmla="*/ 3969 w 18"/>
                  <a:gd name="T5" fmla="*/ 2223 h 15"/>
                  <a:gd name="T6" fmla="*/ 3969 w 18"/>
                  <a:gd name="T7" fmla="*/ 0 h 15"/>
                  <a:gd name="T8" fmla="*/ 0 w 18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5"/>
                  <a:gd name="T17" fmla="*/ 18 w 18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5">
                    <a:moveTo>
                      <a:pt x="0" y="0"/>
                    </a:moveTo>
                    <a:lnTo>
                      <a:pt x="0" y="0"/>
                    </a:lnTo>
                    <a:lnTo>
                      <a:pt x="18" y="15"/>
                    </a:lnTo>
                    <a:lnTo>
                      <a:pt x="18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35" name="Freeform 169">
                <a:extLst>
                  <a:ext uri="{FF2B5EF4-FFF2-40B4-BE49-F238E27FC236}">
                    <a16:creationId xmlns:a16="http://schemas.microsoft.com/office/drawing/2014/main" id="{3E44C543-EE4E-3F4A-9FD3-43589AB6DFA0}"/>
                  </a:ext>
                </a:extLst>
              </p:cNvPr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auto">
              <a:xfrm>
                <a:off x="6619874" y="3424238"/>
                <a:ext cx="688975" cy="304800"/>
              </a:xfrm>
              <a:custGeom>
                <a:avLst/>
                <a:gdLst>
                  <a:gd name="T0" fmla="*/ 113637 w 867"/>
                  <a:gd name="T1" fmla="*/ 19050 h 384"/>
                  <a:gd name="T2" fmla="*/ 113637 w 867"/>
                  <a:gd name="T3" fmla="*/ 19050 h 384"/>
                  <a:gd name="T4" fmla="*/ 92976 w 867"/>
                  <a:gd name="T5" fmla="*/ 9525 h 384"/>
                  <a:gd name="T6" fmla="*/ 86619 w 867"/>
                  <a:gd name="T7" fmla="*/ 13494 h 384"/>
                  <a:gd name="T8" fmla="*/ 82645 w 867"/>
                  <a:gd name="T9" fmla="*/ 13494 h 384"/>
                  <a:gd name="T10" fmla="*/ 76288 w 867"/>
                  <a:gd name="T11" fmla="*/ 3969 h 384"/>
                  <a:gd name="T12" fmla="*/ 62779 w 867"/>
                  <a:gd name="T13" fmla="*/ 0 h 384"/>
                  <a:gd name="T14" fmla="*/ 55627 w 867"/>
                  <a:gd name="T15" fmla="*/ 3969 h 384"/>
                  <a:gd name="T16" fmla="*/ 55627 w 867"/>
                  <a:gd name="T17" fmla="*/ 9525 h 384"/>
                  <a:gd name="T18" fmla="*/ 55627 w 867"/>
                  <a:gd name="T19" fmla="*/ 16669 h 384"/>
                  <a:gd name="T20" fmla="*/ 41323 w 867"/>
                  <a:gd name="T21" fmla="*/ 16669 h 384"/>
                  <a:gd name="T22" fmla="*/ 34965 w 867"/>
                  <a:gd name="T23" fmla="*/ 13494 h 384"/>
                  <a:gd name="T24" fmla="*/ 20661 w 867"/>
                  <a:gd name="T25" fmla="*/ 9525 h 384"/>
                  <a:gd name="T26" fmla="*/ 3973 w 867"/>
                  <a:gd name="T27" fmla="*/ 19050 h 384"/>
                  <a:gd name="T28" fmla="*/ 0 w 867"/>
                  <a:gd name="T29" fmla="*/ 22225 h 384"/>
                  <a:gd name="T30" fmla="*/ 7152 w 867"/>
                  <a:gd name="T31" fmla="*/ 32544 h 384"/>
                  <a:gd name="T32" fmla="*/ 14304 w 867"/>
                  <a:gd name="T33" fmla="*/ 32544 h 384"/>
                  <a:gd name="T34" fmla="*/ 17483 w 867"/>
                  <a:gd name="T35" fmla="*/ 38100 h 384"/>
                  <a:gd name="T36" fmla="*/ 17483 w 867"/>
                  <a:gd name="T37" fmla="*/ 51594 h 384"/>
                  <a:gd name="T38" fmla="*/ 38144 w 867"/>
                  <a:gd name="T39" fmla="*/ 57150 h 384"/>
                  <a:gd name="T40" fmla="*/ 48475 w 867"/>
                  <a:gd name="T41" fmla="*/ 66675 h 384"/>
                  <a:gd name="T42" fmla="*/ 69136 w 867"/>
                  <a:gd name="T43" fmla="*/ 66675 h 384"/>
                  <a:gd name="T44" fmla="*/ 79467 w 867"/>
                  <a:gd name="T45" fmla="*/ 73819 h 384"/>
                  <a:gd name="T46" fmla="*/ 92976 w 867"/>
                  <a:gd name="T47" fmla="*/ 76200 h 384"/>
                  <a:gd name="T48" fmla="*/ 107280 w 867"/>
                  <a:gd name="T49" fmla="*/ 70644 h 384"/>
                  <a:gd name="T50" fmla="*/ 120789 w 867"/>
                  <a:gd name="T51" fmla="*/ 70644 h 384"/>
                  <a:gd name="T52" fmla="*/ 131120 w 867"/>
                  <a:gd name="T53" fmla="*/ 61119 h 384"/>
                  <a:gd name="T54" fmla="*/ 127941 w 867"/>
                  <a:gd name="T55" fmla="*/ 57150 h 384"/>
                  <a:gd name="T56" fmla="*/ 135093 w 867"/>
                  <a:gd name="T57" fmla="*/ 51594 h 384"/>
                  <a:gd name="T58" fmla="*/ 141450 w 867"/>
                  <a:gd name="T59" fmla="*/ 54769 h 384"/>
                  <a:gd name="T60" fmla="*/ 151781 w 867"/>
                  <a:gd name="T61" fmla="*/ 47625 h 384"/>
                  <a:gd name="T62" fmla="*/ 158933 w 867"/>
                  <a:gd name="T63" fmla="*/ 41275 h 384"/>
                  <a:gd name="T64" fmla="*/ 172442 w 867"/>
                  <a:gd name="T65" fmla="*/ 41275 h 384"/>
                  <a:gd name="T66" fmla="*/ 169264 w 867"/>
                  <a:gd name="T67" fmla="*/ 35719 h 384"/>
                  <a:gd name="T68" fmla="*/ 166085 w 867"/>
                  <a:gd name="T69" fmla="*/ 32544 h 384"/>
                  <a:gd name="T70" fmla="*/ 158933 w 867"/>
                  <a:gd name="T71" fmla="*/ 35719 h 384"/>
                  <a:gd name="T72" fmla="*/ 151781 w 867"/>
                  <a:gd name="T73" fmla="*/ 35719 h 384"/>
                  <a:gd name="T74" fmla="*/ 151781 w 867"/>
                  <a:gd name="T75" fmla="*/ 22225 h 384"/>
                  <a:gd name="T76" fmla="*/ 155754 w 867"/>
                  <a:gd name="T77" fmla="*/ 16669 h 384"/>
                  <a:gd name="T78" fmla="*/ 145424 w 867"/>
                  <a:gd name="T79" fmla="*/ 13494 h 384"/>
                  <a:gd name="T80" fmla="*/ 138272 w 867"/>
                  <a:gd name="T81" fmla="*/ 19050 h 384"/>
                  <a:gd name="T82" fmla="*/ 123968 w 867"/>
                  <a:gd name="T83" fmla="*/ 22225 h 384"/>
                  <a:gd name="T84" fmla="*/ 113637 w 867"/>
                  <a:gd name="T85" fmla="*/ 19050 h 38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67"/>
                  <a:gd name="T130" fmla="*/ 0 h 384"/>
                  <a:gd name="T131" fmla="*/ 867 w 867"/>
                  <a:gd name="T132" fmla="*/ 384 h 38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67" h="384">
                    <a:moveTo>
                      <a:pt x="572" y="96"/>
                    </a:moveTo>
                    <a:lnTo>
                      <a:pt x="572" y="96"/>
                    </a:lnTo>
                    <a:lnTo>
                      <a:pt x="468" y="48"/>
                    </a:lnTo>
                    <a:lnTo>
                      <a:pt x="434" y="65"/>
                    </a:lnTo>
                    <a:lnTo>
                      <a:pt x="416" y="65"/>
                    </a:lnTo>
                    <a:lnTo>
                      <a:pt x="382" y="17"/>
                    </a:lnTo>
                    <a:lnTo>
                      <a:pt x="313" y="0"/>
                    </a:lnTo>
                    <a:lnTo>
                      <a:pt x="278" y="17"/>
                    </a:lnTo>
                    <a:lnTo>
                      <a:pt x="278" y="48"/>
                    </a:lnTo>
                    <a:lnTo>
                      <a:pt x="278" y="81"/>
                    </a:lnTo>
                    <a:lnTo>
                      <a:pt x="207" y="81"/>
                    </a:lnTo>
                    <a:lnTo>
                      <a:pt x="173" y="65"/>
                    </a:lnTo>
                    <a:lnTo>
                      <a:pt x="103" y="48"/>
                    </a:lnTo>
                    <a:lnTo>
                      <a:pt x="17" y="96"/>
                    </a:lnTo>
                    <a:lnTo>
                      <a:pt x="0" y="113"/>
                    </a:lnTo>
                    <a:lnTo>
                      <a:pt x="34" y="161"/>
                    </a:lnTo>
                    <a:lnTo>
                      <a:pt x="69" y="161"/>
                    </a:lnTo>
                    <a:lnTo>
                      <a:pt x="86" y="192"/>
                    </a:lnTo>
                    <a:lnTo>
                      <a:pt x="86" y="257"/>
                    </a:lnTo>
                    <a:lnTo>
                      <a:pt x="190" y="288"/>
                    </a:lnTo>
                    <a:lnTo>
                      <a:pt x="244" y="336"/>
                    </a:lnTo>
                    <a:lnTo>
                      <a:pt x="347" y="336"/>
                    </a:lnTo>
                    <a:lnTo>
                      <a:pt x="399" y="369"/>
                    </a:lnTo>
                    <a:lnTo>
                      <a:pt x="468" y="384"/>
                    </a:lnTo>
                    <a:lnTo>
                      <a:pt x="537" y="353"/>
                    </a:lnTo>
                    <a:lnTo>
                      <a:pt x="606" y="353"/>
                    </a:lnTo>
                    <a:lnTo>
                      <a:pt x="660" y="305"/>
                    </a:lnTo>
                    <a:lnTo>
                      <a:pt x="641" y="288"/>
                    </a:lnTo>
                    <a:lnTo>
                      <a:pt x="677" y="257"/>
                    </a:lnTo>
                    <a:lnTo>
                      <a:pt x="712" y="273"/>
                    </a:lnTo>
                    <a:lnTo>
                      <a:pt x="764" y="240"/>
                    </a:lnTo>
                    <a:lnTo>
                      <a:pt x="798" y="209"/>
                    </a:lnTo>
                    <a:lnTo>
                      <a:pt x="867" y="209"/>
                    </a:lnTo>
                    <a:lnTo>
                      <a:pt x="850" y="177"/>
                    </a:lnTo>
                    <a:lnTo>
                      <a:pt x="833" y="161"/>
                    </a:lnTo>
                    <a:lnTo>
                      <a:pt x="798" y="177"/>
                    </a:lnTo>
                    <a:lnTo>
                      <a:pt x="764" y="177"/>
                    </a:lnTo>
                    <a:lnTo>
                      <a:pt x="764" y="113"/>
                    </a:lnTo>
                    <a:lnTo>
                      <a:pt x="781" y="81"/>
                    </a:lnTo>
                    <a:lnTo>
                      <a:pt x="729" y="65"/>
                    </a:lnTo>
                    <a:lnTo>
                      <a:pt x="695" y="96"/>
                    </a:lnTo>
                    <a:lnTo>
                      <a:pt x="624" y="113"/>
                    </a:lnTo>
                    <a:lnTo>
                      <a:pt x="572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36" name="Freeform 170">
                <a:extLst>
                  <a:ext uri="{FF2B5EF4-FFF2-40B4-BE49-F238E27FC236}">
                    <a16:creationId xmlns:a16="http://schemas.microsoft.com/office/drawing/2014/main" id="{0A019FFA-34B8-5947-8C17-3D027970DD12}"/>
                  </a:ext>
                </a:extLst>
              </p:cNvPr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auto">
              <a:xfrm>
                <a:off x="7145337" y="2357438"/>
                <a:ext cx="25400" cy="38100"/>
              </a:xfrm>
              <a:custGeom>
                <a:avLst/>
                <a:gdLst>
                  <a:gd name="T0" fmla="*/ 6158 w 33"/>
                  <a:gd name="T1" fmla="*/ 9525 h 48"/>
                  <a:gd name="T2" fmla="*/ 6158 w 33"/>
                  <a:gd name="T3" fmla="*/ 9525 h 48"/>
                  <a:gd name="T4" fmla="*/ 6158 w 33"/>
                  <a:gd name="T5" fmla="*/ 3969 h 48"/>
                  <a:gd name="T6" fmla="*/ 0 w 33"/>
                  <a:gd name="T7" fmla="*/ 0 h 48"/>
                  <a:gd name="T8" fmla="*/ 0 w 33"/>
                  <a:gd name="T9" fmla="*/ 3969 h 48"/>
                  <a:gd name="T10" fmla="*/ 6158 w 33"/>
                  <a:gd name="T11" fmla="*/ 9525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3"/>
                  <a:gd name="T19" fmla="*/ 0 h 48"/>
                  <a:gd name="T20" fmla="*/ 33 w 33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3" h="48">
                    <a:moveTo>
                      <a:pt x="33" y="48"/>
                    </a:moveTo>
                    <a:lnTo>
                      <a:pt x="33" y="48"/>
                    </a:lnTo>
                    <a:lnTo>
                      <a:pt x="33" y="17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3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37" name="Freeform 172">
                <a:extLst>
                  <a:ext uri="{FF2B5EF4-FFF2-40B4-BE49-F238E27FC236}">
                    <a16:creationId xmlns:a16="http://schemas.microsoft.com/office/drawing/2014/main" id="{4CF962C3-4E03-A14A-9738-3F52A71BAD64}"/>
                  </a:ext>
                </a:extLst>
              </p:cNvPr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auto">
              <a:xfrm>
                <a:off x="5837237" y="2155826"/>
                <a:ext cx="371475" cy="468313"/>
              </a:xfrm>
              <a:custGeom>
                <a:avLst/>
                <a:gdLst>
                  <a:gd name="T0" fmla="*/ 0 w 468"/>
                  <a:gd name="T1" fmla="*/ 101428 h 591"/>
                  <a:gd name="T2" fmla="*/ 0 w 468"/>
                  <a:gd name="T3" fmla="*/ 101428 h 591"/>
                  <a:gd name="T4" fmla="*/ 10319 w 468"/>
                  <a:gd name="T5" fmla="*/ 113314 h 591"/>
                  <a:gd name="T6" fmla="*/ 27781 w 468"/>
                  <a:gd name="T7" fmla="*/ 116484 h 591"/>
                  <a:gd name="T8" fmla="*/ 31750 w 468"/>
                  <a:gd name="T9" fmla="*/ 113314 h 591"/>
                  <a:gd name="T10" fmla="*/ 23812 w 468"/>
                  <a:gd name="T11" fmla="*/ 106975 h 591"/>
                  <a:gd name="T12" fmla="*/ 20638 w 468"/>
                  <a:gd name="T13" fmla="*/ 101428 h 591"/>
                  <a:gd name="T14" fmla="*/ 20638 w 468"/>
                  <a:gd name="T15" fmla="*/ 84788 h 591"/>
                  <a:gd name="T16" fmla="*/ 23812 w 468"/>
                  <a:gd name="T17" fmla="*/ 78448 h 591"/>
                  <a:gd name="T18" fmla="*/ 48419 w 468"/>
                  <a:gd name="T19" fmla="*/ 40413 h 591"/>
                  <a:gd name="T20" fmla="*/ 65881 w 468"/>
                  <a:gd name="T21" fmla="*/ 28527 h 591"/>
                  <a:gd name="T22" fmla="*/ 92869 w 468"/>
                  <a:gd name="T23" fmla="*/ 15848 h 591"/>
                  <a:gd name="T24" fmla="*/ 92869 w 468"/>
                  <a:gd name="T25" fmla="*/ 2377 h 591"/>
                  <a:gd name="T26" fmla="*/ 86519 w 468"/>
                  <a:gd name="T27" fmla="*/ 0 h 591"/>
                  <a:gd name="T28" fmla="*/ 79375 w 468"/>
                  <a:gd name="T29" fmla="*/ 6339 h 591"/>
                  <a:gd name="T30" fmla="*/ 73025 w 468"/>
                  <a:gd name="T31" fmla="*/ 11886 h 591"/>
                  <a:gd name="T32" fmla="*/ 62706 w 468"/>
                  <a:gd name="T33" fmla="*/ 15848 h 591"/>
                  <a:gd name="T34" fmla="*/ 52388 w 468"/>
                  <a:gd name="T35" fmla="*/ 15848 h 591"/>
                  <a:gd name="T36" fmla="*/ 42069 w 468"/>
                  <a:gd name="T37" fmla="*/ 21395 h 591"/>
                  <a:gd name="T38" fmla="*/ 31750 w 468"/>
                  <a:gd name="T39" fmla="*/ 34866 h 591"/>
                  <a:gd name="T40" fmla="*/ 20638 w 468"/>
                  <a:gd name="T41" fmla="*/ 40413 h 591"/>
                  <a:gd name="T42" fmla="*/ 20638 w 468"/>
                  <a:gd name="T43" fmla="*/ 47544 h 591"/>
                  <a:gd name="T44" fmla="*/ 17463 w 468"/>
                  <a:gd name="T45" fmla="*/ 57053 h 591"/>
                  <a:gd name="T46" fmla="*/ 10319 w 468"/>
                  <a:gd name="T47" fmla="*/ 63393 h 591"/>
                  <a:gd name="T48" fmla="*/ 14288 w 468"/>
                  <a:gd name="T49" fmla="*/ 68939 h 591"/>
                  <a:gd name="T50" fmla="*/ 10319 w 468"/>
                  <a:gd name="T51" fmla="*/ 76071 h 591"/>
                  <a:gd name="T52" fmla="*/ 3969 w 468"/>
                  <a:gd name="T53" fmla="*/ 82410 h 591"/>
                  <a:gd name="T54" fmla="*/ 7144 w 468"/>
                  <a:gd name="T55" fmla="*/ 87957 h 591"/>
                  <a:gd name="T56" fmla="*/ 0 w 468"/>
                  <a:gd name="T57" fmla="*/ 91919 h 591"/>
                  <a:gd name="T58" fmla="*/ 0 w 468"/>
                  <a:gd name="T59" fmla="*/ 101428 h 591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468"/>
                  <a:gd name="T91" fmla="*/ 0 h 591"/>
                  <a:gd name="T92" fmla="*/ 468 w 468"/>
                  <a:gd name="T93" fmla="*/ 591 h 591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468" h="591">
                    <a:moveTo>
                      <a:pt x="0" y="512"/>
                    </a:moveTo>
                    <a:lnTo>
                      <a:pt x="0" y="512"/>
                    </a:lnTo>
                    <a:lnTo>
                      <a:pt x="52" y="575"/>
                    </a:lnTo>
                    <a:lnTo>
                      <a:pt x="140" y="591"/>
                    </a:lnTo>
                    <a:lnTo>
                      <a:pt x="157" y="575"/>
                    </a:lnTo>
                    <a:lnTo>
                      <a:pt x="123" y="543"/>
                    </a:lnTo>
                    <a:lnTo>
                      <a:pt x="104" y="512"/>
                    </a:lnTo>
                    <a:lnTo>
                      <a:pt x="104" y="431"/>
                    </a:lnTo>
                    <a:lnTo>
                      <a:pt x="123" y="399"/>
                    </a:lnTo>
                    <a:lnTo>
                      <a:pt x="244" y="207"/>
                    </a:lnTo>
                    <a:lnTo>
                      <a:pt x="330" y="144"/>
                    </a:lnTo>
                    <a:lnTo>
                      <a:pt x="468" y="80"/>
                    </a:lnTo>
                    <a:lnTo>
                      <a:pt x="468" y="15"/>
                    </a:lnTo>
                    <a:lnTo>
                      <a:pt x="434" y="0"/>
                    </a:lnTo>
                    <a:lnTo>
                      <a:pt x="399" y="32"/>
                    </a:lnTo>
                    <a:lnTo>
                      <a:pt x="365" y="63"/>
                    </a:lnTo>
                    <a:lnTo>
                      <a:pt x="313" y="80"/>
                    </a:lnTo>
                    <a:lnTo>
                      <a:pt x="261" y="80"/>
                    </a:lnTo>
                    <a:lnTo>
                      <a:pt x="209" y="111"/>
                    </a:lnTo>
                    <a:lnTo>
                      <a:pt x="157" y="176"/>
                    </a:lnTo>
                    <a:lnTo>
                      <a:pt x="104" y="207"/>
                    </a:lnTo>
                    <a:lnTo>
                      <a:pt x="104" y="240"/>
                    </a:lnTo>
                    <a:lnTo>
                      <a:pt x="86" y="288"/>
                    </a:lnTo>
                    <a:lnTo>
                      <a:pt x="52" y="320"/>
                    </a:lnTo>
                    <a:lnTo>
                      <a:pt x="69" y="351"/>
                    </a:lnTo>
                    <a:lnTo>
                      <a:pt x="52" y="384"/>
                    </a:lnTo>
                    <a:lnTo>
                      <a:pt x="17" y="416"/>
                    </a:lnTo>
                    <a:lnTo>
                      <a:pt x="35" y="447"/>
                    </a:lnTo>
                    <a:lnTo>
                      <a:pt x="0" y="464"/>
                    </a:lnTo>
                    <a:lnTo>
                      <a:pt x="0" y="51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38" name="Freeform 173">
                <a:extLst>
                  <a:ext uri="{FF2B5EF4-FFF2-40B4-BE49-F238E27FC236}">
                    <a16:creationId xmlns:a16="http://schemas.microsoft.com/office/drawing/2014/main" id="{C4D6B1AE-6BDA-F747-97D6-702CD535BEDF}"/>
                  </a:ext>
                </a:extLst>
              </p:cNvPr>
              <p:cNvSpPr>
                <a:spLocks/>
              </p:cNvSpPr>
              <p:nvPr>
                <p:custDataLst>
                  <p:tags r:id="rId200"/>
                </p:custDataLst>
              </p:nvPr>
            </p:nvSpPr>
            <p:spPr bwMode="auto">
              <a:xfrm>
                <a:off x="5767387" y="2676526"/>
                <a:ext cx="41275" cy="50800"/>
              </a:xfrm>
              <a:custGeom>
                <a:avLst/>
                <a:gdLst>
                  <a:gd name="T0" fmla="*/ 0 w 52"/>
                  <a:gd name="T1" fmla="*/ 12902 h 63"/>
                  <a:gd name="T2" fmla="*/ 0 w 52"/>
                  <a:gd name="T3" fmla="*/ 12902 h 63"/>
                  <a:gd name="T4" fmla="*/ 7144 w 52"/>
                  <a:gd name="T5" fmla="*/ 9676 h 63"/>
                  <a:gd name="T6" fmla="*/ 10319 w 52"/>
                  <a:gd name="T7" fmla="*/ 6451 h 63"/>
                  <a:gd name="T8" fmla="*/ 3969 w 52"/>
                  <a:gd name="T9" fmla="*/ 0 h 63"/>
                  <a:gd name="T10" fmla="*/ 0 w 52"/>
                  <a:gd name="T11" fmla="*/ 6451 h 63"/>
                  <a:gd name="T12" fmla="*/ 0 w 52"/>
                  <a:gd name="T13" fmla="*/ 12902 h 6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"/>
                  <a:gd name="T22" fmla="*/ 0 h 63"/>
                  <a:gd name="T23" fmla="*/ 52 w 52"/>
                  <a:gd name="T24" fmla="*/ 63 h 6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" h="63">
                    <a:moveTo>
                      <a:pt x="0" y="63"/>
                    </a:moveTo>
                    <a:lnTo>
                      <a:pt x="0" y="63"/>
                    </a:lnTo>
                    <a:lnTo>
                      <a:pt x="34" y="48"/>
                    </a:lnTo>
                    <a:lnTo>
                      <a:pt x="52" y="31"/>
                    </a:lnTo>
                    <a:lnTo>
                      <a:pt x="17" y="0"/>
                    </a:lnTo>
                    <a:lnTo>
                      <a:pt x="0" y="31"/>
                    </a:lnTo>
                    <a:lnTo>
                      <a:pt x="0" y="6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39" name="Freeform 174">
                <a:extLst>
                  <a:ext uri="{FF2B5EF4-FFF2-40B4-BE49-F238E27FC236}">
                    <a16:creationId xmlns:a16="http://schemas.microsoft.com/office/drawing/2014/main" id="{072DB8EF-7411-0944-A0A0-21CCAEEA76C9}"/>
                  </a:ext>
                </a:extLst>
              </p:cNvPr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auto">
              <a:xfrm>
                <a:off x="5649912" y="2146301"/>
                <a:ext cx="155575" cy="44450"/>
              </a:xfrm>
              <a:custGeom>
                <a:avLst/>
                <a:gdLst>
                  <a:gd name="T0" fmla="*/ 32544 w 196"/>
                  <a:gd name="T1" fmla="*/ 3969 h 56"/>
                  <a:gd name="T2" fmla="*/ 28575 w 196"/>
                  <a:gd name="T3" fmla="*/ 3969 h 56"/>
                  <a:gd name="T4" fmla="*/ 24606 w 196"/>
                  <a:gd name="T5" fmla="*/ 3969 h 56"/>
                  <a:gd name="T6" fmla="*/ 24606 w 196"/>
                  <a:gd name="T7" fmla="*/ 7938 h 56"/>
                  <a:gd name="T8" fmla="*/ 20637 w 196"/>
                  <a:gd name="T9" fmla="*/ 11113 h 56"/>
                  <a:gd name="T10" fmla="*/ 20637 w 196"/>
                  <a:gd name="T11" fmla="*/ 7938 h 56"/>
                  <a:gd name="T12" fmla="*/ 18256 w 196"/>
                  <a:gd name="T13" fmla="*/ 7938 h 56"/>
                  <a:gd name="T14" fmla="*/ 15081 w 196"/>
                  <a:gd name="T15" fmla="*/ 3969 h 56"/>
                  <a:gd name="T16" fmla="*/ 18256 w 196"/>
                  <a:gd name="T17" fmla="*/ 3969 h 56"/>
                  <a:gd name="T18" fmla="*/ 20637 w 196"/>
                  <a:gd name="T19" fmla="*/ 3969 h 56"/>
                  <a:gd name="T20" fmla="*/ 18256 w 196"/>
                  <a:gd name="T21" fmla="*/ 3969 h 56"/>
                  <a:gd name="T22" fmla="*/ 15081 w 196"/>
                  <a:gd name="T23" fmla="*/ 3969 h 56"/>
                  <a:gd name="T24" fmla="*/ 18256 w 196"/>
                  <a:gd name="T25" fmla="*/ 3969 h 56"/>
                  <a:gd name="T26" fmla="*/ 15081 w 196"/>
                  <a:gd name="T27" fmla="*/ 0 h 56"/>
                  <a:gd name="T28" fmla="*/ 10319 w 196"/>
                  <a:gd name="T29" fmla="*/ 3969 h 56"/>
                  <a:gd name="T30" fmla="*/ 7144 w 196"/>
                  <a:gd name="T31" fmla="*/ 3969 h 56"/>
                  <a:gd name="T32" fmla="*/ 3969 w 196"/>
                  <a:gd name="T33" fmla="*/ 3969 h 56"/>
                  <a:gd name="T34" fmla="*/ 0 w 196"/>
                  <a:gd name="T35" fmla="*/ 3969 h 56"/>
                  <a:gd name="T36" fmla="*/ 3969 w 196"/>
                  <a:gd name="T37" fmla="*/ 0 h 56"/>
                  <a:gd name="T38" fmla="*/ 10319 w 196"/>
                  <a:gd name="T39" fmla="*/ 0 h 56"/>
                  <a:gd name="T40" fmla="*/ 18256 w 196"/>
                  <a:gd name="T41" fmla="*/ 0 h 56"/>
                  <a:gd name="T42" fmla="*/ 20637 w 196"/>
                  <a:gd name="T43" fmla="*/ 0 h 56"/>
                  <a:gd name="T44" fmla="*/ 28575 w 196"/>
                  <a:gd name="T45" fmla="*/ 0 h 56"/>
                  <a:gd name="T46" fmla="*/ 32544 w 196"/>
                  <a:gd name="T47" fmla="*/ 0 h 56"/>
                  <a:gd name="T48" fmla="*/ 35719 w 196"/>
                  <a:gd name="T49" fmla="*/ 0 h 56"/>
                  <a:gd name="T50" fmla="*/ 38894 w 196"/>
                  <a:gd name="T51" fmla="*/ 0 h 56"/>
                  <a:gd name="T52" fmla="*/ 38894 w 196"/>
                  <a:gd name="T53" fmla="*/ 3969 h 56"/>
                  <a:gd name="T54" fmla="*/ 35719 w 196"/>
                  <a:gd name="T55" fmla="*/ 3969 h 56"/>
                  <a:gd name="T56" fmla="*/ 32544 w 196"/>
                  <a:gd name="T57" fmla="*/ 3969 h 5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96"/>
                  <a:gd name="T88" fmla="*/ 0 h 56"/>
                  <a:gd name="T89" fmla="*/ 196 w 196"/>
                  <a:gd name="T90" fmla="*/ 56 h 5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96" h="56">
                    <a:moveTo>
                      <a:pt x="161" y="17"/>
                    </a:moveTo>
                    <a:lnTo>
                      <a:pt x="144" y="17"/>
                    </a:lnTo>
                    <a:lnTo>
                      <a:pt x="125" y="17"/>
                    </a:lnTo>
                    <a:lnTo>
                      <a:pt x="125" y="37"/>
                    </a:lnTo>
                    <a:lnTo>
                      <a:pt x="107" y="56"/>
                    </a:lnTo>
                    <a:lnTo>
                      <a:pt x="107" y="37"/>
                    </a:lnTo>
                    <a:lnTo>
                      <a:pt x="90" y="37"/>
                    </a:lnTo>
                    <a:lnTo>
                      <a:pt x="73" y="17"/>
                    </a:lnTo>
                    <a:lnTo>
                      <a:pt x="90" y="17"/>
                    </a:lnTo>
                    <a:lnTo>
                      <a:pt x="107" y="17"/>
                    </a:lnTo>
                    <a:lnTo>
                      <a:pt x="90" y="17"/>
                    </a:lnTo>
                    <a:lnTo>
                      <a:pt x="73" y="17"/>
                    </a:lnTo>
                    <a:lnTo>
                      <a:pt x="90" y="17"/>
                    </a:lnTo>
                    <a:lnTo>
                      <a:pt x="73" y="0"/>
                    </a:lnTo>
                    <a:lnTo>
                      <a:pt x="54" y="17"/>
                    </a:lnTo>
                    <a:lnTo>
                      <a:pt x="36" y="17"/>
                    </a:lnTo>
                    <a:lnTo>
                      <a:pt x="19" y="17"/>
                    </a:lnTo>
                    <a:lnTo>
                      <a:pt x="0" y="17"/>
                    </a:lnTo>
                    <a:lnTo>
                      <a:pt x="19" y="0"/>
                    </a:lnTo>
                    <a:lnTo>
                      <a:pt x="54" y="0"/>
                    </a:lnTo>
                    <a:lnTo>
                      <a:pt x="90" y="0"/>
                    </a:lnTo>
                    <a:lnTo>
                      <a:pt x="107" y="0"/>
                    </a:lnTo>
                    <a:lnTo>
                      <a:pt x="144" y="0"/>
                    </a:lnTo>
                    <a:lnTo>
                      <a:pt x="161" y="0"/>
                    </a:lnTo>
                    <a:lnTo>
                      <a:pt x="178" y="0"/>
                    </a:lnTo>
                    <a:lnTo>
                      <a:pt x="196" y="0"/>
                    </a:lnTo>
                    <a:lnTo>
                      <a:pt x="196" y="17"/>
                    </a:lnTo>
                    <a:lnTo>
                      <a:pt x="178" y="17"/>
                    </a:lnTo>
                    <a:lnTo>
                      <a:pt x="161" y="1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40" name="Freeform 175">
                <a:extLst>
                  <a:ext uri="{FF2B5EF4-FFF2-40B4-BE49-F238E27FC236}">
                    <a16:creationId xmlns:a16="http://schemas.microsoft.com/office/drawing/2014/main" id="{6424063F-182C-BA45-BBA5-BC47CAD9155A}"/>
                  </a:ext>
                </a:extLst>
              </p:cNvPr>
              <p:cNvSpPr>
                <a:spLocks/>
              </p:cNvSpPr>
              <p:nvPr>
                <p:custDataLst>
                  <p:tags r:id="rId202"/>
                </p:custDataLst>
              </p:nvPr>
            </p:nvSpPr>
            <p:spPr bwMode="auto">
              <a:xfrm>
                <a:off x="5876924" y="2087563"/>
                <a:ext cx="87313" cy="73025"/>
              </a:xfrm>
              <a:custGeom>
                <a:avLst/>
                <a:gdLst>
                  <a:gd name="T0" fmla="*/ 18424 w 109"/>
                  <a:gd name="T1" fmla="*/ 15081 h 92"/>
                  <a:gd name="T2" fmla="*/ 15220 w 109"/>
                  <a:gd name="T3" fmla="*/ 15081 h 92"/>
                  <a:gd name="T4" fmla="*/ 11215 w 109"/>
                  <a:gd name="T5" fmla="*/ 18256 h 92"/>
                  <a:gd name="T6" fmla="*/ 7209 w 109"/>
                  <a:gd name="T7" fmla="*/ 18256 h 92"/>
                  <a:gd name="T8" fmla="*/ 0 w 109"/>
                  <a:gd name="T9" fmla="*/ 15081 h 92"/>
                  <a:gd name="T10" fmla="*/ 0 w 109"/>
                  <a:gd name="T11" fmla="*/ 11112 h 92"/>
                  <a:gd name="T12" fmla="*/ 4005 w 109"/>
                  <a:gd name="T13" fmla="*/ 11112 h 92"/>
                  <a:gd name="T14" fmla="*/ 11215 w 109"/>
                  <a:gd name="T15" fmla="*/ 11112 h 92"/>
                  <a:gd name="T16" fmla="*/ 11215 w 109"/>
                  <a:gd name="T17" fmla="*/ 7938 h 92"/>
                  <a:gd name="T18" fmla="*/ 7209 w 109"/>
                  <a:gd name="T19" fmla="*/ 11112 h 92"/>
                  <a:gd name="T20" fmla="*/ 7209 w 109"/>
                  <a:gd name="T21" fmla="*/ 7938 h 92"/>
                  <a:gd name="T22" fmla="*/ 11215 w 109"/>
                  <a:gd name="T23" fmla="*/ 7938 h 92"/>
                  <a:gd name="T24" fmla="*/ 15220 w 109"/>
                  <a:gd name="T25" fmla="*/ 7938 h 92"/>
                  <a:gd name="T26" fmla="*/ 18424 w 109"/>
                  <a:gd name="T27" fmla="*/ 3969 h 92"/>
                  <a:gd name="T28" fmla="*/ 22429 w 109"/>
                  <a:gd name="T29" fmla="*/ 3969 h 92"/>
                  <a:gd name="T30" fmla="*/ 22429 w 109"/>
                  <a:gd name="T31" fmla="*/ 0 h 92"/>
                  <a:gd name="T32" fmla="*/ 22429 w 109"/>
                  <a:gd name="T33" fmla="*/ 3969 h 92"/>
                  <a:gd name="T34" fmla="*/ 22429 w 109"/>
                  <a:gd name="T35" fmla="*/ 7938 h 92"/>
                  <a:gd name="T36" fmla="*/ 18424 w 109"/>
                  <a:gd name="T37" fmla="*/ 7938 h 92"/>
                  <a:gd name="T38" fmla="*/ 15220 w 109"/>
                  <a:gd name="T39" fmla="*/ 7938 h 92"/>
                  <a:gd name="T40" fmla="*/ 11215 w 109"/>
                  <a:gd name="T41" fmla="*/ 11112 h 92"/>
                  <a:gd name="T42" fmla="*/ 15220 w 109"/>
                  <a:gd name="T43" fmla="*/ 11112 h 92"/>
                  <a:gd name="T44" fmla="*/ 22429 w 109"/>
                  <a:gd name="T45" fmla="*/ 11112 h 92"/>
                  <a:gd name="T46" fmla="*/ 22429 w 109"/>
                  <a:gd name="T47" fmla="*/ 15081 h 92"/>
                  <a:gd name="T48" fmla="*/ 18424 w 109"/>
                  <a:gd name="T49" fmla="*/ 15081 h 9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09"/>
                  <a:gd name="T76" fmla="*/ 0 h 92"/>
                  <a:gd name="T77" fmla="*/ 109 w 109"/>
                  <a:gd name="T78" fmla="*/ 92 h 9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09" h="92">
                    <a:moveTo>
                      <a:pt x="90" y="73"/>
                    </a:moveTo>
                    <a:lnTo>
                      <a:pt x="73" y="73"/>
                    </a:lnTo>
                    <a:lnTo>
                      <a:pt x="54" y="92"/>
                    </a:lnTo>
                    <a:lnTo>
                      <a:pt x="36" y="92"/>
                    </a:lnTo>
                    <a:lnTo>
                      <a:pt x="0" y="73"/>
                    </a:lnTo>
                    <a:lnTo>
                      <a:pt x="0" y="56"/>
                    </a:lnTo>
                    <a:lnTo>
                      <a:pt x="19" y="56"/>
                    </a:lnTo>
                    <a:lnTo>
                      <a:pt x="54" y="56"/>
                    </a:lnTo>
                    <a:lnTo>
                      <a:pt x="54" y="37"/>
                    </a:lnTo>
                    <a:lnTo>
                      <a:pt x="36" y="56"/>
                    </a:lnTo>
                    <a:lnTo>
                      <a:pt x="36" y="37"/>
                    </a:lnTo>
                    <a:lnTo>
                      <a:pt x="54" y="37"/>
                    </a:lnTo>
                    <a:lnTo>
                      <a:pt x="73" y="37"/>
                    </a:lnTo>
                    <a:lnTo>
                      <a:pt x="90" y="20"/>
                    </a:lnTo>
                    <a:lnTo>
                      <a:pt x="109" y="20"/>
                    </a:lnTo>
                    <a:lnTo>
                      <a:pt x="109" y="0"/>
                    </a:lnTo>
                    <a:lnTo>
                      <a:pt x="109" y="20"/>
                    </a:lnTo>
                    <a:lnTo>
                      <a:pt x="109" y="37"/>
                    </a:lnTo>
                    <a:lnTo>
                      <a:pt x="90" y="37"/>
                    </a:lnTo>
                    <a:lnTo>
                      <a:pt x="73" y="37"/>
                    </a:lnTo>
                    <a:lnTo>
                      <a:pt x="54" y="56"/>
                    </a:lnTo>
                    <a:lnTo>
                      <a:pt x="73" y="56"/>
                    </a:lnTo>
                    <a:lnTo>
                      <a:pt x="109" y="56"/>
                    </a:lnTo>
                    <a:lnTo>
                      <a:pt x="109" y="73"/>
                    </a:lnTo>
                    <a:lnTo>
                      <a:pt x="90" y="7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41" name="Freeform 176">
                <a:extLst>
                  <a:ext uri="{FF2B5EF4-FFF2-40B4-BE49-F238E27FC236}">
                    <a16:creationId xmlns:a16="http://schemas.microsoft.com/office/drawing/2014/main" id="{DE17E004-AC06-614F-A824-8B83E1D1484E}"/>
                  </a:ext>
                </a:extLst>
              </p:cNvPr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auto">
              <a:xfrm>
                <a:off x="4941888" y="2190751"/>
                <a:ext cx="282575" cy="161925"/>
              </a:xfrm>
              <a:custGeom>
                <a:avLst/>
                <a:gdLst>
                  <a:gd name="T0" fmla="*/ 56198 w 357"/>
                  <a:gd name="T1" fmla="*/ 29513 h 203"/>
                  <a:gd name="T2" fmla="*/ 49866 w 357"/>
                  <a:gd name="T3" fmla="*/ 29513 h 203"/>
                  <a:gd name="T4" fmla="*/ 53032 w 357"/>
                  <a:gd name="T5" fmla="*/ 25525 h 203"/>
                  <a:gd name="T6" fmla="*/ 49866 w 357"/>
                  <a:gd name="T7" fmla="*/ 18346 h 203"/>
                  <a:gd name="T8" fmla="*/ 49866 w 357"/>
                  <a:gd name="T9" fmla="*/ 18346 h 203"/>
                  <a:gd name="T10" fmla="*/ 41951 w 357"/>
                  <a:gd name="T11" fmla="*/ 18346 h 203"/>
                  <a:gd name="T12" fmla="*/ 38785 w 357"/>
                  <a:gd name="T13" fmla="*/ 29513 h 203"/>
                  <a:gd name="T14" fmla="*/ 34827 w 357"/>
                  <a:gd name="T15" fmla="*/ 36692 h 203"/>
                  <a:gd name="T16" fmla="*/ 31661 w 357"/>
                  <a:gd name="T17" fmla="*/ 40681 h 203"/>
                  <a:gd name="T18" fmla="*/ 20580 w 357"/>
                  <a:gd name="T19" fmla="*/ 36692 h 203"/>
                  <a:gd name="T20" fmla="*/ 20580 w 357"/>
                  <a:gd name="T21" fmla="*/ 29513 h 203"/>
                  <a:gd name="T22" fmla="*/ 27703 w 357"/>
                  <a:gd name="T23" fmla="*/ 29513 h 203"/>
                  <a:gd name="T24" fmla="*/ 20580 w 357"/>
                  <a:gd name="T25" fmla="*/ 29513 h 203"/>
                  <a:gd name="T26" fmla="*/ 13456 w 357"/>
                  <a:gd name="T27" fmla="*/ 29513 h 203"/>
                  <a:gd name="T28" fmla="*/ 17414 w 357"/>
                  <a:gd name="T29" fmla="*/ 22334 h 203"/>
                  <a:gd name="T30" fmla="*/ 24537 w 357"/>
                  <a:gd name="T31" fmla="*/ 22334 h 203"/>
                  <a:gd name="T32" fmla="*/ 27703 w 357"/>
                  <a:gd name="T33" fmla="*/ 18346 h 203"/>
                  <a:gd name="T34" fmla="*/ 20580 w 357"/>
                  <a:gd name="T35" fmla="*/ 18346 h 203"/>
                  <a:gd name="T36" fmla="*/ 13456 w 357"/>
                  <a:gd name="T37" fmla="*/ 22334 h 203"/>
                  <a:gd name="T38" fmla="*/ 10290 w 357"/>
                  <a:gd name="T39" fmla="*/ 18346 h 203"/>
                  <a:gd name="T40" fmla="*/ 10290 w 357"/>
                  <a:gd name="T41" fmla="*/ 18346 h 203"/>
                  <a:gd name="T42" fmla="*/ 3166 w 357"/>
                  <a:gd name="T43" fmla="*/ 15156 h 203"/>
                  <a:gd name="T44" fmla="*/ 0 w 357"/>
                  <a:gd name="T45" fmla="*/ 11167 h 203"/>
                  <a:gd name="T46" fmla="*/ 0 w 357"/>
                  <a:gd name="T47" fmla="*/ 3988 h 203"/>
                  <a:gd name="T48" fmla="*/ 6332 w 357"/>
                  <a:gd name="T49" fmla="*/ 3988 h 203"/>
                  <a:gd name="T50" fmla="*/ 13456 w 357"/>
                  <a:gd name="T51" fmla="*/ 3988 h 203"/>
                  <a:gd name="T52" fmla="*/ 13456 w 357"/>
                  <a:gd name="T53" fmla="*/ 3988 h 203"/>
                  <a:gd name="T54" fmla="*/ 13456 w 357"/>
                  <a:gd name="T55" fmla="*/ 7179 h 203"/>
                  <a:gd name="T56" fmla="*/ 17414 w 357"/>
                  <a:gd name="T57" fmla="*/ 3988 h 203"/>
                  <a:gd name="T58" fmla="*/ 24537 w 357"/>
                  <a:gd name="T59" fmla="*/ 7179 h 203"/>
                  <a:gd name="T60" fmla="*/ 24537 w 357"/>
                  <a:gd name="T61" fmla="*/ 7179 h 203"/>
                  <a:gd name="T62" fmla="*/ 24537 w 357"/>
                  <a:gd name="T63" fmla="*/ 0 h 203"/>
                  <a:gd name="T64" fmla="*/ 31661 w 357"/>
                  <a:gd name="T65" fmla="*/ 0 h 203"/>
                  <a:gd name="T66" fmla="*/ 34827 w 357"/>
                  <a:gd name="T67" fmla="*/ 3988 h 203"/>
                  <a:gd name="T68" fmla="*/ 41951 w 357"/>
                  <a:gd name="T69" fmla="*/ 3988 h 203"/>
                  <a:gd name="T70" fmla="*/ 41951 w 357"/>
                  <a:gd name="T71" fmla="*/ 11167 h 203"/>
                  <a:gd name="T72" fmla="*/ 56198 w 357"/>
                  <a:gd name="T73" fmla="*/ 18346 h 203"/>
                  <a:gd name="T74" fmla="*/ 63322 w 357"/>
                  <a:gd name="T75" fmla="*/ 18346 h 203"/>
                  <a:gd name="T76" fmla="*/ 70446 w 357"/>
                  <a:gd name="T77" fmla="*/ 29513 h 203"/>
                  <a:gd name="T78" fmla="*/ 63322 w 357"/>
                  <a:gd name="T79" fmla="*/ 33502 h 20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57"/>
                  <a:gd name="T121" fmla="*/ 0 h 203"/>
                  <a:gd name="T122" fmla="*/ 357 w 357"/>
                  <a:gd name="T123" fmla="*/ 203 h 20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57" h="203">
                    <a:moveTo>
                      <a:pt x="286" y="167"/>
                    </a:moveTo>
                    <a:lnTo>
                      <a:pt x="286" y="148"/>
                    </a:lnTo>
                    <a:lnTo>
                      <a:pt x="269" y="148"/>
                    </a:lnTo>
                    <a:lnTo>
                      <a:pt x="252" y="148"/>
                    </a:lnTo>
                    <a:lnTo>
                      <a:pt x="269" y="148"/>
                    </a:lnTo>
                    <a:lnTo>
                      <a:pt x="269" y="128"/>
                    </a:lnTo>
                    <a:lnTo>
                      <a:pt x="252" y="109"/>
                    </a:lnTo>
                    <a:lnTo>
                      <a:pt x="252" y="92"/>
                    </a:lnTo>
                    <a:lnTo>
                      <a:pt x="269" y="92"/>
                    </a:lnTo>
                    <a:lnTo>
                      <a:pt x="252" y="92"/>
                    </a:lnTo>
                    <a:lnTo>
                      <a:pt x="231" y="92"/>
                    </a:lnTo>
                    <a:lnTo>
                      <a:pt x="213" y="92"/>
                    </a:lnTo>
                    <a:lnTo>
                      <a:pt x="213" y="128"/>
                    </a:lnTo>
                    <a:lnTo>
                      <a:pt x="196" y="148"/>
                    </a:lnTo>
                    <a:lnTo>
                      <a:pt x="179" y="148"/>
                    </a:lnTo>
                    <a:lnTo>
                      <a:pt x="179" y="184"/>
                    </a:lnTo>
                    <a:lnTo>
                      <a:pt x="179" y="203"/>
                    </a:lnTo>
                    <a:lnTo>
                      <a:pt x="160" y="203"/>
                    </a:lnTo>
                    <a:lnTo>
                      <a:pt x="125" y="203"/>
                    </a:lnTo>
                    <a:lnTo>
                      <a:pt x="106" y="184"/>
                    </a:lnTo>
                    <a:lnTo>
                      <a:pt x="71" y="148"/>
                    </a:lnTo>
                    <a:lnTo>
                      <a:pt x="106" y="148"/>
                    </a:lnTo>
                    <a:lnTo>
                      <a:pt x="125" y="148"/>
                    </a:lnTo>
                    <a:lnTo>
                      <a:pt x="142" y="148"/>
                    </a:lnTo>
                    <a:lnTo>
                      <a:pt x="125" y="148"/>
                    </a:lnTo>
                    <a:lnTo>
                      <a:pt x="106" y="148"/>
                    </a:lnTo>
                    <a:lnTo>
                      <a:pt x="89" y="148"/>
                    </a:lnTo>
                    <a:lnTo>
                      <a:pt x="71" y="148"/>
                    </a:lnTo>
                    <a:lnTo>
                      <a:pt x="71" y="128"/>
                    </a:lnTo>
                    <a:lnTo>
                      <a:pt x="89" y="109"/>
                    </a:lnTo>
                    <a:lnTo>
                      <a:pt x="106" y="109"/>
                    </a:lnTo>
                    <a:lnTo>
                      <a:pt x="125" y="109"/>
                    </a:lnTo>
                    <a:lnTo>
                      <a:pt x="125" y="92"/>
                    </a:lnTo>
                    <a:lnTo>
                      <a:pt x="142" y="92"/>
                    </a:lnTo>
                    <a:lnTo>
                      <a:pt x="125" y="92"/>
                    </a:lnTo>
                    <a:lnTo>
                      <a:pt x="106" y="92"/>
                    </a:lnTo>
                    <a:lnTo>
                      <a:pt x="89" y="92"/>
                    </a:lnTo>
                    <a:lnTo>
                      <a:pt x="71" y="109"/>
                    </a:lnTo>
                    <a:lnTo>
                      <a:pt x="54" y="109"/>
                    </a:lnTo>
                    <a:lnTo>
                      <a:pt x="54" y="92"/>
                    </a:lnTo>
                    <a:lnTo>
                      <a:pt x="35" y="92"/>
                    </a:lnTo>
                    <a:lnTo>
                      <a:pt x="54" y="92"/>
                    </a:lnTo>
                    <a:lnTo>
                      <a:pt x="35" y="92"/>
                    </a:lnTo>
                    <a:lnTo>
                      <a:pt x="17" y="73"/>
                    </a:lnTo>
                    <a:lnTo>
                      <a:pt x="17" y="54"/>
                    </a:lnTo>
                    <a:lnTo>
                      <a:pt x="0" y="54"/>
                    </a:lnTo>
                    <a:lnTo>
                      <a:pt x="0" y="36"/>
                    </a:lnTo>
                    <a:lnTo>
                      <a:pt x="0" y="19"/>
                    </a:lnTo>
                    <a:lnTo>
                      <a:pt x="17" y="19"/>
                    </a:lnTo>
                    <a:lnTo>
                      <a:pt x="35" y="19"/>
                    </a:lnTo>
                    <a:lnTo>
                      <a:pt x="54" y="19"/>
                    </a:lnTo>
                    <a:lnTo>
                      <a:pt x="71" y="19"/>
                    </a:lnTo>
                    <a:lnTo>
                      <a:pt x="54" y="19"/>
                    </a:lnTo>
                    <a:lnTo>
                      <a:pt x="71" y="19"/>
                    </a:lnTo>
                    <a:lnTo>
                      <a:pt x="89" y="36"/>
                    </a:lnTo>
                    <a:lnTo>
                      <a:pt x="71" y="36"/>
                    </a:lnTo>
                    <a:lnTo>
                      <a:pt x="71" y="19"/>
                    </a:lnTo>
                    <a:lnTo>
                      <a:pt x="89" y="19"/>
                    </a:lnTo>
                    <a:lnTo>
                      <a:pt x="125" y="19"/>
                    </a:lnTo>
                    <a:lnTo>
                      <a:pt x="125" y="36"/>
                    </a:lnTo>
                    <a:lnTo>
                      <a:pt x="142" y="54"/>
                    </a:lnTo>
                    <a:lnTo>
                      <a:pt x="125" y="36"/>
                    </a:lnTo>
                    <a:lnTo>
                      <a:pt x="125" y="19"/>
                    </a:lnTo>
                    <a:lnTo>
                      <a:pt x="125" y="0"/>
                    </a:lnTo>
                    <a:lnTo>
                      <a:pt x="142" y="0"/>
                    </a:lnTo>
                    <a:lnTo>
                      <a:pt x="160" y="0"/>
                    </a:lnTo>
                    <a:lnTo>
                      <a:pt x="179" y="0"/>
                    </a:lnTo>
                    <a:lnTo>
                      <a:pt x="179" y="19"/>
                    </a:lnTo>
                    <a:lnTo>
                      <a:pt x="196" y="19"/>
                    </a:lnTo>
                    <a:lnTo>
                      <a:pt x="213" y="19"/>
                    </a:lnTo>
                    <a:lnTo>
                      <a:pt x="213" y="36"/>
                    </a:lnTo>
                    <a:lnTo>
                      <a:pt x="213" y="54"/>
                    </a:lnTo>
                    <a:lnTo>
                      <a:pt x="269" y="73"/>
                    </a:lnTo>
                    <a:lnTo>
                      <a:pt x="286" y="92"/>
                    </a:lnTo>
                    <a:lnTo>
                      <a:pt x="304" y="92"/>
                    </a:lnTo>
                    <a:lnTo>
                      <a:pt x="323" y="92"/>
                    </a:lnTo>
                    <a:lnTo>
                      <a:pt x="340" y="128"/>
                    </a:lnTo>
                    <a:lnTo>
                      <a:pt x="357" y="148"/>
                    </a:lnTo>
                    <a:lnTo>
                      <a:pt x="340" y="148"/>
                    </a:lnTo>
                    <a:lnTo>
                      <a:pt x="323" y="167"/>
                    </a:lnTo>
                    <a:lnTo>
                      <a:pt x="286" y="16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42" name="Freeform 177">
                <a:extLst>
                  <a:ext uri="{FF2B5EF4-FFF2-40B4-BE49-F238E27FC236}">
                    <a16:creationId xmlns:a16="http://schemas.microsoft.com/office/drawing/2014/main" id="{2A9601CF-4E77-214A-A2FC-50F73C3B8361}"/>
                  </a:ext>
                </a:extLst>
              </p:cNvPr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auto">
              <a:xfrm>
                <a:off x="5084762" y="2160588"/>
                <a:ext cx="198438" cy="73025"/>
              </a:xfrm>
              <a:custGeom>
                <a:avLst/>
                <a:gdLst>
                  <a:gd name="T0" fmla="*/ 50207 w 249"/>
                  <a:gd name="T1" fmla="*/ 7067 h 93"/>
                  <a:gd name="T2" fmla="*/ 43035 w 249"/>
                  <a:gd name="T3" fmla="*/ 10993 h 93"/>
                  <a:gd name="T4" fmla="*/ 35862 w 249"/>
                  <a:gd name="T5" fmla="*/ 14134 h 93"/>
                  <a:gd name="T6" fmla="*/ 28690 w 249"/>
                  <a:gd name="T7" fmla="*/ 18060 h 93"/>
                  <a:gd name="T8" fmla="*/ 24705 w 249"/>
                  <a:gd name="T9" fmla="*/ 18060 h 93"/>
                  <a:gd name="T10" fmla="*/ 24705 w 249"/>
                  <a:gd name="T11" fmla="*/ 14134 h 93"/>
                  <a:gd name="T12" fmla="*/ 21517 w 249"/>
                  <a:gd name="T13" fmla="*/ 14134 h 93"/>
                  <a:gd name="T14" fmla="*/ 14345 w 249"/>
                  <a:gd name="T15" fmla="*/ 14134 h 93"/>
                  <a:gd name="T16" fmla="*/ 10360 w 249"/>
                  <a:gd name="T17" fmla="*/ 14134 h 93"/>
                  <a:gd name="T18" fmla="*/ 7172 w 249"/>
                  <a:gd name="T19" fmla="*/ 10993 h 93"/>
                  <a:gd name="T20" fmla="*/ 10360 w 249"/>
                  <a:gd name="T21" fmla="*/ 10993 h 93"/>
                  <a:gd name="T22" fmla="*/ 14345 w 249"/>
                  <a:gd name="T23" fmla="*/ 10993 h 93"/>
                  <a:gd name="T24" fmla="*/ 18330 w 249"/>
                  <a:gd name="T25" fmla="*/ 10993 h 93"/>
                  <a:gd name="T26" fmla="*/ 14345 w 249"/>
                  <a:gd name="T27" fmla="*/ 10993 h 93"/>
                  <a:gd name="T28" fmla="*/ 10360 w 249"/>
                  <a:gd name="T29" fmla="*/ 10993 h 93"/>
                  <a:gd name="T30" fmla="*/ 7172 w 249"/>
                  <a:gd name="T31" fmla="*/ 10993 h 93"/>
                  <a:gd name="T32" fmla="*/ 3985 w 249"/>
                  <a:gd name="T33" fmla="*/ 7067 h 93"/>
                  <a:gd name="T34" fmla="*/ 0 w 249"/>
                  <a:gd name="T35" fmla="*/ 3926 h 93"/>
                  <a:gd name="T36" fmla="*/ 0 w 249"/>
                  <a:gd name="T37" fmla="*/ 0 h 93"/>
                  <a:gd name="T38" fmla="*/ 3985 w 249"/>
                  <a:gd name="T39" fmla="*/ 0 h 93"/>
                  <a:gd name="T40" fmla="*/ 7172 w 249"/>
                  <a:gd name="T41" fmla="*/ 3926 h 93"/>
                  <a:gd name="T42" fmla="*/ 7172 w 249"/>
                  <a:gd name="T43" fmla="*/ 0 h 93"/>
                  <a:gd name="T44" fmla="*/ 10360 w 249"/>
                  <a:gd name="T45" fmla="*/ 0 h 93"/>
                  <a:gd name="T46" fmla="*/ 14345 w 249"/>
                  <a:gd name="T47" fmla="*/ 0 h 93"/>
                  <a:gd name="T48" fmla="*/ 21517 w 249"/>
                  <a:gd name="T49" fmla="*/ 3926 h 93"/>
                  <a:gd name="T50" fmla="*/ 24705 w 249"/>
                  <a:gd name="T51" fmla="*/ 0 h 93"/>
                  <a:gd name="T52" fmla="*/ 28690 w 249"/>
                  <a:gd name="T53" fmla="*/ 0 h 93"/>
                  <a:gd name="T54" fmla="*/ 28690 w 249"/>
                  <a:gd name="T55" fmla="*/ 3926 h 93"/>
                  <a:gd name="T56" fmla="*/ 32675 w 249"/>
                  <a:gd name="T57" fmla="*/ 3926 h 93"/>
                  <a:gd name="T58" fmla="*/ 32675 w 249"/>
                  <a:gd name="T59" fmla="*/ 0 h 93"/>
                  <a:gd name="T60" fmla="*/ 35862 w 249"/>
                  <a:gd name="T61" fmla="*/ 0 h 93"/>
                  <a:gd name="T62" fmla="*/ 39050 w 249"/>
                  <a:gd name="T63" fmla="*/ 0 h 93"/>
                  <a:gd name="T64" fmla="*/ 43035 w 249"/>
                  <a:gd name="T65" fmla="*/ 0 h 93"/>
                  <a:gd name="T66" fmla="*/ 43035 w 249"/>
                  <a:gd name="T67" fmla="*/ 3926 h 93"/>
                  <a:gd name="T68" fmla="*/ 46223 w 249"/>
                  <a:gd name="T69" fmla="*/ 3926 h 93"/>
                  <a:gd name="T70" fmla="*/ 50207 w 249"/>
                  <a:gd name="T71" fmla="*/ 7067 h 9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49"/>
                  <a:gd name="T109" fmla="*/ 0 h 93"/>
                  <a:gd name="T110" fmla="*/ 249 w 249"/>
                  <a:gd name="T111" fmla="*/ 93 h 9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49" h="93">
                    <a:moveTo>
                      <a:pt x="249" y="39"/>
                    </a:moveTo>
                    <a:lnTo>
                      <a:pt x="213" y="56"/>
                    </a:lnTo>
                    <a:lnTo>
                      <a:pt x="178" y="75"/>
                    </a:lnTo>
                    <a:lnTo>
                      <a:pt x="142" y="93"/>
                    </a:lnTo>
                    <a:lnTo>
                      <a:pt x="124" y="93"/>
                    </a:lnTo>
                    <a:lnTo>
                      <a:pt x="124" y="75"/>
                    </a:lnTo>
                    <a:lnTo>
                      <a:pt x="107" y="75"/>
                    </a:lnTo>
                    <a:lnTo>
                      <a:pt x="71" y="75"/>
                    </a:lnTo>
                    <a:lnTo>
                      <a:pt x="51" y="75"/>
                    </a:lnTo>
                    <a:lnTo>
                      <a:pt x="34" y="56"/>
                    </a:lnTo>
                    <a:lnTo>
                      <a:pt x="51" y="56"/>
                    </a:lnTo>
                    <a:lnTo>
                      <a:pt x="71" y="56"/>
                    </a:lnTo>
                    <a:lnTo>
                      <a:pt x="90" y="56"/>
                    </a:lnTo>
                    <a:lnTo>
                      <a:pt x="71" y="56"/>
                    </a:lnTo>
                    <a:lnTo>
                      <a:pt x="51" y="56"/>
                    </a:lnTo>
                    <a:lnTo>
                      <a:pt x="34" y="56"/>
                    </a:lnTo>
                    <a:lnTo>
                      <a:pt x="17" y="39"/>
                    </a:lnTo>
                    <a:lnTo>
                      <a:pt x="0" y="20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34" y="20"/>
                    </a:lnTo>
                    <a:lnTo>
                      <a:pt x="34" y="0"/>
                    </a:lnTo>
                    <a:lnTo>
                      <a:pt x="51" y="0"/>
                    </a:lnTo>
                    <a:lnTo>
                      <a:pt x="71" y="0"/>
                    </a:lnTo>
                    <a:lnTo>
                      <a:pt x="107" y="20"/>
                    </a:lnTo>
                    <a:lnTo>
                      <a:pt x="124" y="0"/>
                    </a:lnTo>
                    <a:lnTo>
                      <a:pt x="142" y="0"/>
                    </a:lnTo>
                    <a:lnTo>
                      <a:pt x="142" y="20"/>
                    </a:lnTo>
                    <a:lnTo>
                      <a:pt x="161" y="20"/>
                    </a:lnTo>
                    <a:lnTo>
                      <a:pt x="161" y="0"/>
                    </a:lnTo>
                    <a:lnTo>
                      <a:pt x="178" y="0"/>
                    </a:lnTo>
                    <a:lnTo>
                      <a:pt x="195" y="0"/>
                    </a:lnTo>
                    <a:lnTo>
                      <a:pt x="213" y="0"/>
                    </a:lnTo>
                    <a:lnTo>
                      <a:pt x="213" y="20"/>
                    </a:lnTo>
                    <a:lnTo>
                      <a:pt x="232" y="20"/>
                    </a:lnTo>
                    <a:lnTo>
                      <a:pt x="249" y="39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43" name="Freeform 178">
                <a:extLst>
                  <a:ext uri="{FF2B5EF4-FFF2-40B4-BE49-F238E27FC236}">
                    <a16:creationId xmlns:a16="http://schemas.microsoft.com/office/drawing/2014/main" id="{71C9DDF6-DC1C-4847-A981-F76CF4AF89F1}"/>
                  </a:ext>
                </a:extLst>
              </p:cNvPr>
              <p:cNvSpPr>
                <a:spLocks/>
              </p:cNvSpPr>
              <p:nvPr>
                <p:custDataLst>
                  <p:tags r:id="rId205"/>
                </p:custDataLst>
              </p:nvPr>
            </p:nvSpPr>
            <p:spPr bwMode="auto">
              <a:xfrm>
                <a:off x="4926013" y="2247901"/>
                <a:ext cx="28575" cy="30163"/>
              </a:xfrm>
              <a:custGeom>
                <a:avLst/>
                <a:gdLst>
                  <a:gd name="T0" fmla="*/ 3969 w 36"/>
                  <a:gd name="T1" fmla="*/ 0 h 36"/>
                  <a:gd name="T2" fmla="*/ 3969 w 36"/>
                  <a:gd name="T3" fmla="*/ 4189 h 36"/>
                  <a:gd name="T4" fmla="*/ 7144 w 36"/>
                  <a:gd name="T5" fmla="*/ 8379 h 36"/>
                  <a:gd name="T6" fmla="*/ 3969 w 36"/>
                  <a:gd name="T7" fmla="*/ 4189 h 36"/>
                  <a:gd name="T8" fmla="*/ 0 w 36"/>
                  <a:gd name="T9" fmla="*/ 4189 h 36"/>
                  <a:gd name="T10" fmla="*/ 3969 w 36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6"/>
                  <a:gd name="T19" fmla="*/ 0 h 36"/>
                  <a:gd name="T20" fmla="*/ 36 w 36"/>
                  <a:gd name="T21" fmla="*/ 36 h 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6" h="36">
                    <a:moveTo>
                      <a:pt x="19" y="0"/>
                    </a:moveTo>
                    <a:lnTo>
                      <a:pt x="19" y="19"/>
                    </a:lnTo>
                    <a:lnTo>
                      <a:pt x="36" y="36"/>
                    </a:lnTo>
                    <a:lnTo>
                      <a:pt x="19" y="19"/>
                    </a:lnTo>
                    <a:lnTo>
                      <a:pt x="0" y="19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44" name="Freeform 179">
                <a:extLst>
                  <a:ext uri="{FF2B5EF4-FFF2-40B4-BE49-F238E27FC236}">
                    <a16:creationId xmlns:a16="http://schemas.microsoft.com/office/drawing/2014/main" id="{ED57EB61-C957-B642-ADD1-ABF2E7720B7C}"/>
                  </a:ext>
                </a:extLst>
              </p:cNvPr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auto">
              <a:xfrm>
                <a:off x="5135562" y="3309938"/>
                <a:ext cx="69850" cy="38100"/>
              </a:xfrm>
              <a:custGeom>
                <a:avLst/>
                <a:gdLst>
                  <a:gd name="T0" fmla="*/ 18681 w 86"/>
                  <a:gd name="T1" fmla="*/ 0 h 48"/>
                  <a:gd name="T2" fmla="*/ 18681 w 86"/>
                  <a:gd name="T3" fmla="*/ 0 h 48"/>
                  <a:gd name="T4" fmla="*/ 18681 w 86"/>
                  <a:gd name="T5" fmla="*/ 9525 h 48"/>
                  <a:gd name="T6" fmla="*/ 11371 w 86"/>
                  <a:gd name="T7" fmla="*/ 9525 h 48"/>
                  <a:gd name="T8" fmla="*/ 0 w 86"/>
                  <a:gd name="T9" fmla="*/ 7144 h 48"/>
                  <a:gd name="T10" fmla="*/ 7310 w 86"/>
                  <a:gd name="T11" fmla="*/ 3969 h 48"/>
                  <a:gd name="T12" fmla="*/ 11371 w 86"/>
                  <a:gd name="T13" fmla="*/ 0 h 48"/>
                  <a:gd name="T14" fmla="*/ 18681 w 86"/>
                  <a:gd name="T15" fmla="*/ 0 h 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6"/>
                  <a:gd name="T25" fmla="*/ 0 h 48"/>
                  <a:gd name="T26" fmla="*/ 86 w 86"/>
                  <a:gd name="T27" fmla="*/ 48 h 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6" h="48">
                    <a:moveTo>
                      <a:pt x="86" y="0"/>
                    </a:moveTo>
                    <a:lnTo>
                      <a:pt x="86" y="0"/>
                    </a:lnTo>
                    <a:lnTo>
                      <a:pt x="86" y="48"/>
                    </a:lnTo>
                    <a:lnTo>
                      <a:pt x="52" y="48"/>
                    </a:lnTo>
                    <a:lnTo>
                      <a:pt x="0" y="33"/>
                    </a:lnTo>
                    <a:lnTo>
                      <a:pt x="34" y="18"/>
                    </a:lnTo>
                    <a:lnTo>
                      <a:pt x="52" y="0"/>
                    </a:lnTo>
                    <a:lnTo>
                      <a:pt x="86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45" name="Freeform 180">
                <a:extLst>
                  <a:ext uri="{FF2B5EF4-FFF2-40B4-BE49-F238E27FC236}">
                    <a16:creationId xmlns:a16="http://schemas.microsoft.com/office/drawing/2014/main" id="{BCFA09EC-3414-C54A-B9DE-D481B1339448}"/>
                  </a:ext>
                </a:extLst>
              </p:cNvPr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auto">
              <a:xfrm>
                <a:off x="4927600" y="3297238"/>
                <a:ext cx="15875" cy="26988"/>
              </a:xfrm>
              <a:custGeom>
                <a:avLst/>
                <a:gdLst>
                  <a:gd name="T0" fmla="*/ 0 w 19"/>
                  <a:gd name="T1" fmla="*/ 3271 h 33"/>
                  <a:gd name="T2" fmla="*/ 0 w 19"/>
                  <a:gd name="T3" fmla="*/ 3271 h 33"/>
                  <a:gd name="T4" fmla="*/ 0 w 19"/>
                  <a:gd name="T5" fmla="*/ 7360 h 33"/>
                  <a:gd name="T6" fmla="*/ 4178 w 19"/>
                  <a:gd name="T7" fmla="*/ 7360 h 33"/>
                  <a:gd name="T8" fmla="*/ 4178 w 19"/>
                  <a:gd name="T9" fmla="*/ 3271 h 33"/>
                  <a:gd name="T10" fmla="*/ 4178 w 19"/>
                  <a:gd name="T11" fmla="*/ 0 h 33"/>
                  <a:gd name="T12" fmla="*/ 0 w 19"/>
                  <a:gd name="T13" fmla="*/ 3271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33"/>
                  <a:gd name="T23" fmla="*/ 19 w 19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33">
                    <a:moveTo>
                      <a:pt x="0" y="15"/>
                    </a:moveTo>
                    <a:lnTo>
                      <a:pt x="0" y="15"/>
                    </a:lnTo>
                    <a:lnTo>
                      <a:pt x="0" y="33"/>
                    </a:lnTo>
                    <a:lnTo>
                      <a:pt x="19" y="33"/>
                    </a:lnTo>
                    <a:lnTo>
                      <a:pt x="19" y="15"/>
                    </a:lnTo>
                    <a:lnTo>
                      <a:pt x="19" y="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46" name="Freeform 181">
                <a:extLst>
                  <a:ext uri="{FF2B5EF4-FFF2-40B4-BE49-F238E27FC236}">
                    <a16:creationId xmlns:a16="http://schemas.microsoft.com/office/drawing/2014/main" id="{297A258B-A555-9F45-9A8D-29A2E492943B}"/>
                  </a:ext>
                </a:extLst>
              </p:cNvPr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auto">
              <a:xfrm>
                <a:off x="4956174" y="3286126"/>
                <a:ext cx="28575" cy="23813"/>
              </a:xfrm>
              <a:custGeom>
                <a:avLst/>
                <a:gdLst>
                  <a:gd name="T0" fmla="*/ 0 w 37"/>
                  <a:gd name="T1" fmla="*/ 3175 h 30"/>
                  <a:gd name="T2" fmla="*/ 0 w 37"/>
                  <a:gd name="T3" fmla="*/ 3175 h 30"/>
                  <a:gd name="T4" fmla="*/ 0 w 37"/>
                  <a:gd name="T5" fmla="*/ 6350 h 30"/>
                  <a:gd name="T6" fmla="*/ 6951 w 37"/>
                  <a:gd name="T7" fmla="*/ 6350 h 30"/>
                  <a:gd name="T8" fmla="*/ 6951 w 37"/>
                  <a:gd name="T9" fmla="*/ 3175 h 30"/>
                  <a:gd name="T10" fmla="*/ 6951 w 37"/>
                  <a:gd name="T11" fmla="*/ 0 h 30"/>
                  <a:gd name="T12" fmla="*/ 0 w 37"/>
                  <a:gd name="T13" fmla="*/ 3175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7"/>
                  <a:gd name="T22" fmla="*/ 0 h 30"/>
                  <a:gd name="T23" fmla="*/ 37 w 37"/>
                  <a:gd name="T24" fmla="*/ 30 h 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7" h="30">
                    <a:moveTo>
                      <a:pt x="0" y="15"/>
                    </a:moveTo>
                    <a:lnTo>
                      <a:pt x="0" y="15"/>
                    </a:lnTo>
                    <a:lnTo>
                      <a:pt x="0" y="30"/>
                    </a:lnTo>
                    <a:lnTo>
                      <a:pt x="37" y="30"/>
                    </a:lnTo>
                    <a:lnTo>
                      <a:pt x="37" y="15"/>
                    </a:lnTo>
                    <a:lnTo>
                      <a:pt x="37" y="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47" name="Freeform 182">
                <a:extLst>
                  <a:ext uri="{FF2B5EF4-FFF2-40B4-BE49-F238E27FC236}">
                    <a16:creationId xmlns:a16="http://schemas.microsoft.com/office/drawing/2014/main" id="{3CDED56D-0603-5641-B205-DF0CD19CD918}"/>
                  </a:ext>
                </a:extLst>
              </p:cNvPr>
              <p:cNvSpPr>
                <a:spLocks/>
              </p:cNvSpPr>
              <p:nvPr>
                <p:custDataLst>
                  <p:tags r:id="rId209"/>
                </p:custDataLst>
              </p:nvPr>
            </p:nvSpPr>
            <p:spPr bwMode="auto">
              <a:xfrm>
                <a:off x="4956174" y="3324226"/>
                <a:ext cx="28575" cy="11113"/>
              </a:xfrm>
              <a:custGeom>
                <a:avLst/>
                <a:gdLst>
                  <a:gd name="T0" fmla="*/ 0 w 37"/>
                  <a:gd name="T1" fmla="*/ 0 h 15"/>
                  <a:gd name="T2" fmla="*/ 0 w 37"/>
                  <a:gd name="T3" fmla="*/ 0 h 15"/>
                  <a:gd name="T4" fmla="*/ 0 w 37"/>
                  <a:gd name="T5" fmla="*/ 2223 h 15"/>
                  <a:gd name="T6" fmla="*/ 6951 w 37"/>
                  <a:gd name="T7" fmla="*/ 0 h 15"/>
                  <a:gd name="T8" fmla="*/ 0 w 37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7"/>
                  <a:gd name="T16" fmla="*/ 0 h 15"/>
                  <a:gd name="T17" fmla="*/ 37 w 37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7" h="15">
                    <a:moveTo>
                      <a:pt x="0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3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48" name="Freeform 183">
                <a:extLst>
                  <a:ext uri="{FF2B5EF4-FFF2-40B4-BE49-F238E27FC236}">
                    <a16:creationId xmlns:a16="http://schemas.microsoft.com/office/drawing/2014/main" id="{A63A2A54-F33E-A446-9CF1-5BEC7E5023CB}"/>
                  </a:ext>
                </a:extLst>
              </p:cNvPr>
              <p:cNvSpPr>
                <a:spLocks/>
              </p:cNvSpPr>
              <p:nvPr>
                <p:custDataLst>
                  <p:tags r:id="rId210"/>
                </p:custDataLst>
              </p:nvPr>
            </p:nvSpPr>
            <p:spPr bwMode="auto">
              <a:xfrm>
                <a:off x="5106987" y="3221038"/>
                <a:ext cx="28575" cy="26988"/>
              </a:xfrm>
              <a:custGeom>
                <a:avLst/>
                <a:gdLst>
                  <a:gd name="T0" fmla="*/ 0 w 37"/>
                  <a:gd name="T1" fmla="*/ 3271 h 33"/>
                  <a:gd name="T2" fmla="*/ 0 w 37"/>
                  <a:gd name="T3" fmla="*/ 3271 h 33"/>
                  <a:gd name="T4" fmla="*/ 0 w 37"/>
                  <a:gd name="T5" fmla="*/ 7360 h 33"/>
                  <a:gd name="T6" fmla="*/ 3089 w 37"/>
                  <a:gd name="T7" fmla="*/ 7360 h 33"/>
                  <a:gd name="T8" fmla="*/ 3089 w 37"/>
                  <a:gd name="T9" fmla="*/ 0 h 33"/>
                  <a:gd name="T10" fmla="*/ 6951 w 37"/>
                  <a:gd name="T11" fmla="*/ 0 h 33"/>
                  <a:gd name="T12" fmla="*/ 0 w 37"/>
                  <a:gd name="T13" fmla="*/ 3271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7"/>
                  <a:gd name="T22" fmla="*/ 0 h 33"/>
                  <a:gd name="T23" fmla="*/ 37 w 3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7" h="33">
                    <a:moveTo>
                      <a:pt x="0" y="15"/>
                    </a:moveTo>
                    <a:lnTo>
                      <a:pt x="0" y="15"/>
                    </a:lnTo>
                    <a:lnTo>
                      <a:pt x="0" y="33"/>
                    </a:lnTo>
                    <a:lnTo>
                      <a:pt x="18" y="33"/>
                    </a:lnTo>
                    <a:lnTo>
                      <a:pt x="18" y="0"/>
                    </a:lnTo>
                    <a:lnTo>
                      <a:pt x="37" y="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49" name="Freeform 184">
                <a:extLst>
                  <a:ext uri="{FF2B5EF4-FFF2-40B4-BE49-F238E27FC236}">
                    <a16:creationId xmlns:a16="http://schemas.microsoft.com/office/drawing/2014/main" id="{A83A941B-528C-5441-BBCC-D8E9E28D6298}"/>
                  </a:ext>
                </a:extLst>
              </p:cNvPr>
              <p:cNvSpPr>
                <a:spLocks/>
              </p:cNvSpPr>
              <p:nvPr>
                <p:custDataLst>
                  <p:tags r:id="rId211"/>
                </p:custDataLst>
              </p:nvPr>
            </p:nvSpPr>
            <p:spPr bwMode="auto">
              <a:xfrm>
                <a:off x="5189537" y="3195638"/>
                <a:ext cx="28575" cy="14288"/>
              </a:xfrm>
              <a:custGeom>
                <a:avLst/>
                <a:gdLst>
                  <a:gd name="T0" fmla="*/ 0 w 37"/>
                  <a:gd name="T1" fmla="*/ 0 h 18"/>
                  <a:gd name="T2" fmla="*/ 0 w 37"/>
                  <a:gd name="T3" fmla="*/ 0 h 18"/>
                  <a:gd name="T4" fmla="*/ 0 w 37"/>
                  <a:gd name="T5" fmla="*/ 3969 h 18"/>
                  <a:gd name="T6" fmla="*/ 6951 w 37"/>
                  <a:gd name="T7" fmla="*/ 0 h 18"/>
                  <a:gd name="T8" fmla="*/ 3089 w 37"/>
                  <a:gd name="T9" fmla="*/ 0 h 18"/>
                  <a:gd name="T10" fmla="*/ 0 w 3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7"/>
                  <a:gd name="T19" fmla="*/ 0 h 18"/>
                  <a:gd name="T20" fmla="*/ 37 w 37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7" h="18">
                    <a:moveTo>
                      <a:pt x="0" y="0"/>
                    </a:moveTo>
                    <a:lnTo>
                      <a:pt x="0" y="0"/>
                    </a:lnTo>
                    <a:lnTo>
                      <a:pt x="0" y="18"/>
                    </a:lnTo>
                    <a:lnTo>
                      <a:pt x="37" y="0"/>
                    </a:lnTo>
                    <a:lnTo>
                      <a:pt x="1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50" name="Freeform 185">
                <a:extLst>
                  <a:ext uri="{FF2B5EF4-FFF2-40B4-BE49-F238E27FC236}">
                    <a16:creationId xmlns:a16="http://schemas.microsoft.com/office/drawing/2014/main" id="{A4703C75-CA63-D54E-AB88-01F23BB1A45D}"/>
                  </a:ext>
                </a:extLst>
              </p:cNvPr>
              <p:cNvSpPr>
                <a:spLocks/>
              </p:cNvSpPr>
              <p:nvPr>
                <p:custDataLst>
                  <p:tags r:id="rId212"/>
                </p:custDataLst>
              </p:nvPr>
            </p:nvSpPr>
            <p:spPr bwMode="auto">
              <a:xfrm>
                <a:off x="5205412" y="3171826"/>
                <a:ext cx="12700" cy="11113"/>
              </a:xfrm>
              <a:custGeom>
                <a:avLst/>
                <a:gdLst>
                  <a:gd name="T0" fmla="*/ 0 w 18"/>
                  <a:gd name="T1" fmla="*/ 2223 h 15"/>
                  <a:gd name="T2" fmla="*/ 0 w 18"/>
                  <a:gd name="T3" fmla="*/ 2223 h 15"/>
                  <a:gd name="T4" fmla="*/ 2822 w 18"/>
                  <a:gd name="T5" fmla="*/ 2223 h 15"/>
                  <a:gd name="T6" fmla="*/ 0 w 18"/>
                  <a:gd name="T7" fmla="*/ 0 h 15"/>
                  <a:gd name="T8" fmla="*/ 0 w 18"/>
                  <a:gd name="T9" fmla="*/ 2223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5"/>
                  <a:gd name="T17" fmla="*/ 18 w 18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5">
                    <a:moveTo>
                      <a:pt x="0" y="15"/>
                    </a:moveTo>
                    <a:lnTo>
                      <a:pt x="0" y="15"/>
                    </a:lnTo>
                    <a:lnTo>
                      <a:pt x="18" y="15"/>
                    </a:lnTo>
                    <a:lnTo>
                      <a:pt x="0" y="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51" name="Freeform 186">
                <a:extLst>
                  <a:ext uri="{FF2B5EF4-FFF2-40B4-BE49-F238E27FC236}">
                    <a16:creationId xmlns:a16="http://schemas.microsoft.com/office/drawing/2014/main" id="{70D086B8-A3B3-C14C-994D-43F1304242B4}"/>
                  </a:ext>
                </a:extLst>
              </p:cNvPr>
              <p:cNvSpPr>
                <a:spLocks/>
              </p:cNvSpPr>
              <p:nvPr>
                <p:custDataLst>
                  <p:tags r:id="rId213"/>
                </p:custDataLst>
              </p:nvPr>
            </p:nvSpPr>
            <p:spPr bwMode="auto">
              <a:xfrm>
                <a:off x="5727699" y="3309938"/>
                <a:ext cx="881063" cy="433388"/>
              </a:xfrm>
              <a:custGeom>
                <a:avLst/>
                <a:gdLst>
                  <a:gd name="T0" fmla="*/ 216889 w 1109"/>
                  <a:gd name="T1" fmla="*/ 54869 h 545"/>
                  <a:gd name="T2" fmla="*/ 209739 w 1109"/>
                  <a:gd name="T3" fmla="*/ 66797 h 545"/>
                  <a:gd name="T4" fmla="*/ 196233 w 1109"/>
                  <a:gd name="T5" fmla="*/ 66797 h 545"/>
                  <a:gd name="T6" fmla="*/ 182727 w 1109"/>
                  <a:gd name="T7" fmla="*/ 80316 h 545"/>
                  <a:gd name="T8" fmla="*/ 185905 w 1109"/>
                  <a:gd name="T9" fmla="*/ 95425 h 545"/>
                  <a:gd name="T10" fmla="*/ 175577 w 1109"/>
                  <a:gd name="T11" fmla="*/ 95425 h 545"/>
                  <a:gd name="T12" fmla="*/ 148565 w 1109"/>
                  <a:gd name="T13" fmla="*/ 93039 h 545"/>
                  <a:gd name="T14" fmla="*/ 144593 w 1109"/>
                  <a:gd name="T15" fmla="*/ 99401 h 545"/>
                  <a:gd name="T16" fmla="*/ 131087 w 1109"/>
                  <a:gd name="T17" fmla="*/ 99401 h 545"/>
                  <a:gd name="T18" fmla="*/ 117581 w 1109"/>
                  <a:gd name="T19" fmla="*/ 104967 h 545"/>
                  <a:gd name="T20" fmla="*/ 110431 w 1109"/>
                  <a:gd name="T21" fmla="*/ 102582 h 545"/>
                  <a:gd name="T22" fmla="*/ 107253 w 1109"/>
                  <a:gd name="T23" fmla="*/ 95425 h 545"/>
                  <a:gd name="T24" fmla="*/ 82624 w 1109"/>
                  <a:gd name="T25" fmla="*/ 89858 h 545"/>
                  <a:gd name="T26" fmla="*/ 65146 w 1109"/>
                  <a:gd name="T27" fmla="*/ 76340 h 545"/>
                  <a:gd name="T28" fmla="*/ 51640 w 1109"/>
                  <a:gd name="T29" fmla="*/ 104967 h 545"/>
                  <a:gd name="T30" fmla="*/ 41312 w 1109"/>
                  <a:gd name="T31" fmla="*/ 99401 h 545"/>
                  <a:gd name="T32" fmla="*/ 30984 w 1109"/>
                  <a:gd name="T33" fmla="*/ 95425 h 545"/>
                  <a:gd name="T34" fmla="*/ 24628 w 1109"/>
                  <a:gd name="T35" fmla="*/ 85882 h 545"/>
                  <a:gd name="T36" fmla="*/ 27806 w 1109"/>
                  <a:gd name="T37" fmla="*/ 85882 h 545"/>
                  <a:gd name="T38" fmla="*/ 27806 w 1109"/>
                  <a:gd name="T39" fmla="*/ 80316 h 545"/>
                  <a:gd name="T40" fmla="*/ 38134 w 1109"/>
                  <a:gd name="T41" fmla="*/ 70773 h 545"/>
                  <a:gd name="T42" fmla="*/ 24628 w 1109"/>
                  <a:gd name="T43" fmla="*/ 64412 h 545"/>
                  <a:gd name="T44" fmla="*/ 10328 w 1109"/>
                  <a:gd name="T45" fmla="*/ 70773 h 545"/>
                  <a:gd name="T46" fmla="*/ 10328 w 1109"/>
                  <a:gd name="T47" fmla="*/ 61231 h 545"/>
                  <a:gd name="T48" fmla="*/ 0 w 1109"/>
                  <a:gd name="T49" fmla="*/ 54869 h 545"/>
                  <a:gd name="T50" fmla="*/ 10328 w 1109"/>
                  <a:gd name="T51" fmla="*/ 45327 h 545"/>
                  <a:gd name="T52" fmla="*/ 10328 w 1109"/>
                  <a:gd name="T53" fmla="*/ 38170 h 545"/>
                  <a:gd name="T54" fmla="*/ 27806 w 1109"/>
                  <a:gd name="T55" fmla="*/ 32603 h 545"/>
                  <a:gd name="T56" fmla="*/ 38134 w 1109"/>
                  <a:gd name="T57" fmla="*/ 32603 h 545"/>
                  <a:gd name="T58" fmla="*/ 54818 w 1109"/>
                  <a:gd name="T59" fmla="*/ 35784 h 545"/>
                  <a:gd name="T60" fmla="*/ 65146 w 1109"/>
                  <a:gd name="T61" fmla="*/ 38170 h 545"/>
                  <a:gd name="T62" fmla="*/ 82624 w 1109"/>
                  <a:gd name="T63" fmla="*/ 32603 h 545"/>
                  <a:gd name="T64" fmla="*/ 79447 w 1109"/>
                  <a:gd name="T65" fmla="*/ 26242 h 545"/>
                  <a:gd name="T66" fmla="*/ 79447 w 1109"/>
                  <a:gd name="T67" fmla="*/ 19085 h 545"/>
                  <a:gd name="T68" fmla="*/ 85802 w 1109"/>
                  <a:gd name="T69" fmla="*/ 13519 h 545"/>
                  <a:gd name="T70" fmla="*/ 117581 w 1109"/>
                  <a:gd name="T71" fmla="*/ 0 h 545"/>
                  <a:gd name="T72" fmla="*/ 131087 w 1109"/>
                  <a:gd name="T73" fmla="*/ 0 h 545"/>
                  <a:gd name="T74" fmla="*/ 134265 w 1109"/>
                  <a:gd name="T75" fmla="*/ 9542 h 545"/>
                  <a:gd name="T76" fmla="*/ 144593 w 1109"/>
                  <a:gd name="T77" fmla="*/ 13519 h 545"/>
                  <a:gd name="T78" fmla="*/ 151743 w 1109"/>
                  <a:gd name="T79" fmla="*/ 16699 h 545"/>
                  <a:gd name="T80" fmla="*/ 165249 w 1109"/>
                  <a:gd name="T81" fmla="*/ 7157 h 545"/>
                  <a:gd name="T82" fmla="*/ 182727 w 1109"/>
                  <a:gd name="T83" fmla="*/ 38170 h 545"/>
                  <a:gd name="T84" fmla="*/ 189083 w 1109"/>
                  <a:gd name="T85" fmla="*/ 38170 h 545"/>
                  <a:gd name="T86" fmla="*/ 209739 w 1109"/>
                  <a:gd name="T87" fmla="*/ 45327 h 545"/>
                  <a:gd name="T88" fmla="*/ 216889 w 1109"/>
                  <a:gd name="T89" fmla="*/ 45327 h 545"/>
                  <a:gd name="T90" fmla="*/ 216889 w 1109"/>
                  <a:gd name="T91" fmla="*/ 54869 h 54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109"/>
                  <a:gd name="T139" fmla="*/ 0 h 545"/>
                  <a:gd name="T140" fmla="*/ 1109 w 1109"/>
                  <a:gd name="T141" fmla="*/ 545 h 54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109" h="545">
                    <a:moveTo>
                      <a:pt x="1092" y="273"/>
                    </a:moveTo>
                    <a:lnTo>
                      <a:pt x="1092" y="273"/>
                    </a:lnTo>
                    <a:lnTo>
                      <a:pt x="1075" y="288"/>
                    </a:lnTo>
                    <a:lnTo>
                      <a:pt x="1056" y="336"/>
                    </a:lnTo>
                    <a:lnTo>
                      <a:pt x="1038" y="336"/>
                    </a:lnTo>
                    <a:lnTo>
                      <a:pt x="987" y="336"/>
                    </a:lnTo>
                    <a:lnTo>
                      <a:pt x="969" y="401"/>
                    </a:lnTo>
                    <a:lnTo>
                      <a:pt x="917" y="401"/>
                    </a:lnTo>
                    <a:lnTo>
                      <a:pt x="917" y="417"/>
                    </a:lnTo>
                    <a:lnTo>
                      <a:pt x="935" y="480"/>
                    </a:lnTo>
                    <a:lnTo>
                      <a:pt x="917" y="497"/>
                    </a:lnTo>
                    <a:lnTo>
                      <a:pt x="883" y="480"/>
                    </a:lnTo>
                    <a:lnTo>
                      <a:pt x="779" y="480"/>
                    </a:lnTo>
                    <a:lnTo>
                      <a:pt x="745" y="465"/>
                    </a:lnTo>
                    <a:lnTo>
                      <a:pt x="727" y="480"/>
                    </a:lnTo>
                    <a:lnTo>
                      <a:pt x="727" y="497"/>
                    </a:lnTo>
                    <a:lnTo>
                      <a:pt x="676" y="480"/>
                    </a:lnTo>
                    <a:lnTo>
                      <a:pt x="658" y="497"/>
                    </a:lnTo>
                    <a:lnTo>
                      <a:pt x="606" y="545"/>
                    </a:lnTo>
                    <a:lnTo>
                      <a:pt x="589" y="528"/>
                    </a:lnTo>
                    <a:lnTo>
                      <a:pt x="555" y="528"/>
                    </a:lnTo>
                    <a:lnTo>
                      <a:pt x="555" y="513"/>
                    </a:lnTo>
                    <a:lnTo>
                      <a:pt x="537" y="513"/>
                    </a:lnTo>
                    <a:lnTo>
                      <a:pt x="537" y="480"/>
                    </a:lnTo>
                    <a:lnTo>
                      <a:pt x="501" y="449"/>
                    </a:lnTo>
                    <a:lnTo>
                      <a:pt x="414" y="449"/>
                    </a:lnTo>
                    <a:lnTo>
                      <a:pt x="363" y="401"/>
                    </a:lnTo>
                    <a:lnTo>
                      <a:pt x="328" y="384"/>
                    </a:lnTo>
                    <a:lnTo>
                      <a:pt x="259" y="401"/>
                    </a:lnTo>
                    <a:lnTo>
                      <a:pt x="259" y="528"/>
                    </a:lnTo>
                    <a:lnTo>
                      <a:pt x="242" y="528"/>
                    </a:lnTo>
                    <a:lnTo>
                      <a:pt x="207" y="497"/>
                    </a:lnTo>
                    <a:lnTo>
                      <a:pt x="155" y="513"/>
                    </a:lnTo>
                    <a:lnTo>
                      <a:pt x="155" y="480"/>
                    </a:lnTo>
                    <a:lnTo>
                      <a:pt x="138" y="480"/>
                    </a:lnTo>
                    <a:lnTo>
                      <a:pt x="121" y="432"/>
                    </a:lnTo>
                    <a:lnTo>
                      <a:pt x="103" y="432"/>
                    </a:lnTo>
                    <a:lnTo>
                      <a:pt x="138" y="432"/>
                    </a:lnTo>
                    <a:lnTo>
                      <a:pt x="121" y="417"/>
                    </a:lnTo>
                    <a:lnTo>
                      <a:pt x="138" y="401"/>
                    </a:lnTo>
                    <a:lnTo>
                      <a:pt x="207" y="401"/>
                    </a:lnTo>
                    <a:lnTo>
                      <a:pt x="190" y="353"/>
                    </a:lnTo>
                    <a:lnTo>
                      <a:pt x="155" y="336"/>
                    </a:lnTo>
                    <a:lnTo>
                      <a:pt x="121" y="321"/>
                    </a:lnTo>
                    <a:lnTo>
                      <a:pt x="69" y="353"/>
                    </a:lnTo>
                    <a:lnTo>
                      <a:pt x="52" y="353"/>
                    </a:lnTo>
                    <a:lnTo>
                      <a:pt x="69" y="336"/>
                    </a:lnTo>
                    <a:lnTo>
                      <a:pt x="52" y="305"/>
                    </a:lnTo>
                    <a:lnTo>
                      <a:pt x="17" y="305"/>
                    </a:lnTo>
                    <a:lnTo>
                      <a:pt x="0" y="273"/>
                    </a:lnTo>
                    <a:lnTo>
                      <a:pt x="17" y="192"/>
                    </a:lnTo>
                    <a:lnTo>
                      <a:pt x="52" y="225"/>
                    </a:lnTo>
                    <a:lnTo>
                      <a:pt x="69" y="225"/>
                    </a:lnTo>
                    <a:lnTo>
                      <a:pt x="52" y="192"/>
                    </a:lnTo>
                    <a:lnTo>
                      <a:pt x="103" y="144"/>
                    </a:lnTo>
                    <a:lnTo>
                      <a:pt x="138" y="161"/>
                    </a:lnTo>
                    <a:lnTo>
                      <a:pt x="155" y="144"/>
                    </a:lnTo>
                    <a:lnTo>
                      <a:pt x="190" y="161"/>
                    </a:lnTo>
                    <a:lnTo>
                      <a:pt x="242" y="192"/>
                    </a:lnTo>
                    <a:lnTo>
                      <a:pt x="276" y="177"/>
                    </a:lnTo>
                    <a:lnTo>
                      <a:pt x="311" y="177"/>
                    </a:lnTo>
                    <a:lnTo>
                      <a:pt x="328" y="192"/>
                    </a:lnTo>
                    <a:lnTo>
                      <a:pt x="397" y="192"/>
                    </a:lnTo>
                    <a:lnTo>
                      <a:pt x="414" y="161"/>
                    </a:lnTo>
                    <a:lnTo>
                      <a:pt x="363" y="144"/>
                    </a:lnTo>
                    <a:lnTo>
                      <a:pt x="397" y="129"/>
                    </a:lnTo>
                    <a:lnTo>
                      <a:pt x="380" y="113"/>
                    </a:lnTo>
                    <a:lnTo>
                      <a:pt x="397" y="96"/>
                    </a:lnTo>
                    <a:lnTo>
                      <a:pt x="397" y="48"/>
                    </a:lnTo>
                    <a:lnTo>
                      <a:pt x="432" y="65"/>
                    </a:lnTo>
                    <a:lnTo>
                      <a:pt x="589" y="18"/>
                    </a:lnTo>
                    <a:lnTo>
                      <a:pt x="589" y="0"/>
                    </a:lnTo>
                    <a:lnTo>
                      <a:pt x="606" y="0"/>
                    </a:lnTo>
                    <a:lnTo>
                      <a:pt x="658" y="0"/>
                    </a:lnTo>
                    <a:lnTo>
                      <a:pt x="676" y="33"/>
                    </a:lnTo>
                    <a:lnTo>
                      <a:pt x="676" y="48"/>
                    </a:lnTo>
                    <a:lnTo>
                      <a:pt x="693" y="48"/>
                    </a:lnTo>
                    <a:lnTo>
                      <a:pt x="727" y="65"/>
                    </a:lnTo>
                    <a:lnTo>
                      <a:pt x="727" y="81"/>
                    </a:lnTo>
                    <a:lnTo>
                      <a:pt x="762" y="81"/>
                    </a:lnTo>
                    <a:lnTo>
                      <a:pt x="796" y="48"/>
                    </a:lnTo>
                    <a:lnTo>
                      <a:pt x="831" y="33"/>
                    </a:lnTo>
                    <a:lnTo>
                      <a:pt x="848" y="81"/>
                    </a:lnTo>
                    <a:lnTo>
                      <a:pt x="917" y="192"/>
                    </a:lnTo>
                    <a:lnTo>
                      <a:pt x="935" y="161"/>
                    </a:lnTo>
                    <a:lnTo>
                      <a:pt x="952" y="192"/>
                    </a:lnTo>
                    <a:lnTo>
                      <a:pt x="1004" y="177"/>
                    </a:lnTo>
                    <a:lnTo>
                      <a:pt x="1056" y="225"/>
                    </a:lnTo>
                    <a:lnTo>
                      <a:pt x="1092" y="240"/>
                    </a:lnTo>
                    <a:lnTo>
                      <a:pt x="1092" y="225"/>
                    </a:lnTo>
                    <a:lnTo>
                      <a:pt x="1109" y="257"/>
                    </a:lnTo>
                    <a:lnTo>
                      <a:pt x="1092" y="273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52" name="Freeform 187">
                <a:extLst>
                  <a:ext uri="{FF2B5EF4-FFF2-40B4-BE49-F238E27FC236}">
                    <a16:creationId xmlns:a16="http://schemas.microsoft.com/office/drawing/2014/main" id="{A4F546C5-9FD5-2E46-AEF7-7B0F724101E4}"/>
                  </a:ext>
                </a:extLst>
              </p:cNvPr>
              <p:cNvSpPr>
                <a:spLocks/>
              </p:cNvSpPr>
              <p:nvPr>
                <p:custDataLst>
                  <p:tags r:id="rId214"/>
                </p:custDataLst>
              </p:nvPr>
            </p:nvSpPr>
            <p:spPr bwMode="auto">
              <a:xfrm>
                <a:off x="5851524" y="3690938"/>
                <a:ext cx="315913" cy="190500"/>
              </a:xfrm>
              <a:custGeom>
                <a:avLst/>
                <a:gdLst>
                  <a:gd name="T0" fmla="*/ 75029 w 400"/>
                  <a:gd name="T1" fmla="*/ 38100 h 240"/>
                  <a:gd name="T2" fmla="*/ 75029 w 400"/>
                  <a:gd name="T3" fmla="*/ 38100 h 240"/>
                  <a:gd name="T4" fmla="*/ 71870 w 400"/>
                  <a:gd name="T5" fmla="*/ 34925 h 240"/>
                  <a:gd name="T6" fmla="*/ 71870 w 400"/>
                  <a:gd name="T7" fmla="*/ 38100 h 240"/>
                  <a:gd name="T8" fmla="*/ 67921 w 400"/>
                  <a:gd name="T9" fmla="*/ 38100 h 240"/>
                  <a:gd name="T10" fmla="*/ 64762 w 400"/>
                  <a:gd name="T11" fmla="*/ 44450 h 240"/>
                  <a:gd name="T12" fmla="*/ 57654 w 400"/>
                  <a:gd name="T13" fmla="*/ 44450 h 240"/>
                  <a:gd name="T14" fmla="*/ 57654 w 400"/>
                  <a:gd name="T15" fmla="*/ 47625 h 240"/>
                  <a:gd name="T16" fmla="*/ 47387 w 400"/>
                  <a:gd name="T17" fmla="*/ 47625 h 240"/>
                  <a:gd name="T18" fmla="*/ 47387 w 400"/>
                  <a:gd name="T19" fmla="*/ 44450 h 240"/>
                  <a:gd name="T20" fmla="*/ 47387 w 400"/>
                  <a:gd name="T21" fmla="*/ 42069 h 240"/>
                  <a:gd name="T22" fmla="*/ 26853 w 400"/>
                  <a:gd name="T23" fmla="*/ 32544 h 240"/>
                  <a:gd name="T24" fmla="*/ 16585 w 400"/>
                  <a:gd name="T25" fmla="*/ 32544 h 240"/>
                  <a:gd name="T26" fmla="*/ 10267 w 400"/>
                  <a:gd name="T27" fmla="*/ 34925 h 240"/>
                  <a:gd name="T28" fmla="*/ 10267 w 400"/>
                  <a:gd name="T29" fmla="*/ 26194 h 240"/>
                  <a:gd name="T30" fmla="*/ 6318 w 400"/>
                  <a:gd name="T31" fmla="*/ 26194 h 240"/>
                  <a:gd name="T32" fmla="*/ 6318 w 400"/>
                  <a:gd name="T33" fmla="*/ 19050 h 240"/>
                  <a:gd name="T34" fmla="*/ 3159 w 400"/>
                  <a:gd name="T35" fmla="*/ 19050 h 240"/>
                  <a:gd name="T36" fmla="*/ 3159 w 400"/>
                  <a:gd name="T37" fmla="*/ 16669 h 240"/>
                  <a:gd name="T38" fmla="*/ 10267 w 400"/>
                  <a:gd name="T39" fmla="*/ 16669 h 240"/>
                  <a:gd name="T40" fmla="*/ 13426 w 400"/>
                  <a:gd name="T41" fmla="*/ 13494 h 240"/>
                  <a:gd name="T42" fmla="*/ 6318 w 400"/>
                  <a:gd name="T43" fmla="*/ 7144 h 240"/>
                  <a:gd name="T44" fmla="*/ 3159 w 400"/>
                  <a:gd name="T45" fmla="*/ 7144 h 240"/>
                  <a:gd name="T46" fmla="*/ 3159 w 400"/>
                  <a:gd name="T47" fmla="*/ 13494 h 240"/>
                  <a:gd name="T48" fmla="*/ 0 w 400"/>
                  <a:gd name="T49" fmla="*/ 7144 h 240"/>
                  <a:gd name="T50" fmla="*/ 10267 w 400"/>
                  <a:gd name="T51" fmla="*/ 3969 h 240"/>
                  <a:gd name="T52" fmla="*/ 16585 w 400"/>
                  <a:gd name="T53" fmla="*/ 9525 h 240"/>
                  <a:gd name="T54" fmla="*/ 20534 w 400"/>
                  <a:gd name="T55" fmla="*/ 9525 h 240"/>
                  <a:gd name="T56" fmla="*/ 23693 w 400"/>
                  <a:gd name="T57" fmla="*/ 9525 h 240"/>
                  <a:gd name="T58" fmla="*/ 23693 w 400"/>
                  <a:gd name="T59" fmla="*/ 7144 h 240"/>
                  <a:gd name="T60" fmla="*/ 30802 w 400"/>
                  <a:gd name="T61" fmla="*/ 3969 h 240"/>
                  <a:gd name="T62" fmla="*/ 33961 w 400"/>
                  <a:gd name="T63" fmla="*/ 3969 h 240"/>
                  <a:gd name="T64" fmla="*/ 30802 w 400"/>
                  <a:gd name="T65" fmla="*/ 0 h 240"/>
                  <a:gd name="T66" fmla="*/ 33961 w 400"/>
                  <a:gd name="T67" fmla="*/ 0 h 240"/>
                  <a:gd name="T68" fmla="*/ 40279 w 400"/>
                  <a:gd name="T69" fmla="*/ 3969 h 240"/>
                  <a:gd name="T70" fmla="*/ 40279 w 400"/>
                  <a:gd name="T71" fmla="*/ 9525 h 240"/>
                  <a:gd name="T72" fmla="*/ 50546 w 400"/>
                  <a:gd name="T73" fmla="*/ 9525 h 240"/>
                  <a:gd name="T74" fmla="*/ 54495 w 400"/>
                  <a:gd name="T75" fmla="*/ 19050 h 240"/>
                  <a:gd name="T76" fmla="*/ 71870 w 400"/>
                  <a:gd name="T77" fmla="*/ 28575 h 240"/>
                  <a:gd name="T78" fmla="*/ 78188 w 400"/>
                  <a:gd name="T79" fmla="*/ 32544 h 240"/>
                  <a:gd name="T80" fmla="*/ 75029 w 400"/>
                  <a:gd name="T81" fmla="*/ 38100 h 24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400"/>
                  <a:gd name="T124" fmla="*/ 0 h 240"/>
                  <a:gd name="T125" fmla="*/ 400 w 400"/>
                  <a:gd name="T126" fmla="*/ 240 h 24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400" h="240">
                    <a:moveTo>
                      <a:pt x="382" y="192"/>
                    </a:moveTo>
                    <a:lnTo>
                      <a:pt x="382" y="192"/>
                    </a:lnTo>
                    <a:lnTo>
                      <a:pt x="365" y="176"/>
                    </a:lnTo>
                    <a:lnTo>
                      <a:pt x="365" y="192"/>
                    </a:lnTo>
                    <a:lnTo>
                      <a:pt x="348" y="192"/>
                    </a:lnTo>
                    <a:lnTo>
                      <a:pt x="330" y="224"/>
                    </a:lnTo>
                    <a:lnTo>
                      <a:pt x="296" y="224"/>
                    </a:lnTo>
                    <a:lnTo>
                      <a:pt x="296" y="240"/>
                    </a:lnTo>
                    <a:lnTo>
                      <a:pt x="242" y="240"/>
                    </a:lnTo>
                    <a:lnTo>
                      <a:pt x="242" y="224"/>
                    </a:lnTo>
                    <a:lnTo>
                      <a:pt x="242" y="209"/>
                    </a:lnTo>
                    <a:lnTo>
                      <a:pt x="139" y="161"/>
                    </a:lnTo>
                    <a:lnTo>
                      <a:pt x="87" y="161"/>
                    </a:lnTo>
                    <a:lnTo>
                      <a:pt x="52" y="176"/>
                    </a:lnTo>
                    <a:lnTo>
                      <a:pt x="52" y="129"/>
                    </a:lnTo>
                    <a:lnTo>
                      <a:pt x="35" y="129"/>
                    </a:lnTo>
                    <a:lnTo>
                      <a:pt x="35" y="96"/>
                    </a:lnTo>
                    <a:lnTo>
                      <a:pt x="18" y="96"/>
                    </a:lnTo>
                    <a:lnTo>
                      <a:pt x="18" y="81"/>
                    </a:lnTo>
                    <a:lnTo>
                      <a:pt x="52" y="81"/>
                    </a:lnTo>
                    <a:lnTo>
                      <a:pt x="69" y="65"/>
                    </a:lnTo>
                    <a:lnTo>
                      <a:pt x="35" y="33"/>
                    </a:lnTo>
                    <a:lnTo>
                      <a:pt x="18" y="33"/>
                    </a:lnTo>
                    <a:lnTo>
                      <a:pt x="18" y="65"/>
                    </a:lnTo>
                    <a:lnTo>
                      <a:pt x="0" y="33"/>
                    </a:lnTo>
                    <a:lnTo>
                      <a:pt x="52" y="17"/>
                    </a:lnTo>
                    <a:lnTo>
                      <a:pt x="87" y="48"/>
                    </a:lnTo>
                    <a:lnTo>
                      <a:pt x="104" y="48"/>
                    </a:lnTo>
                    <a:lnTo>
                      <a:pt x="121" y="48"/>
                    </a:lnTo>
                    <a:lnTo>
                      <a:pt x="121" y="33"/>
                    </a:lnTo>
                    <a:lnTo>
                      <a:pt x="156" y="17"/>
                    </a:lnTo>
                    <a:lnTo>
                      <a:pt x="173" y="17"/>
                    </a:lnTo>
                    <a:lnTo>
                      <a:pt x="156" y="0"/>
                    </a:lnTo>
                    <a:lnTo>
                      <a:pt x="173" y="0"/>
                    </a:lnTo>
                    <a:lnTo>
                      <a:pt x="208" y="17"/>
                    </a:lnTo>
                    <a:lnTo>
                      <a:pt x="208" y="48"/>
                    </a:lnTo>
                    <a:lnTo>
                      <a:pt x="259" y="48"/>
                    </a:lnTo>
                    <a:lnTo>
                      <a:pt x="279" y="96"/>
                    </a:lnTo>
                    <a:lnTo>
                      <a:pt x="365" y="144"/>
                    </a:lnTo>
                    <a:lnTo>
                      <a:pt x="400" y="161"/>
                    </a:lnTo>
                    <a:lnTo>
                      <a:pt x="382" y="19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53" name="Freeform 188">
                <a:extLst>
                  <a:ext uri="{FF2B5EF4-FFF2-40B4-BE49-F238E27FC236}">
                    <a16:creationId xmlns:a16="http://schemas.microsoft.com/office/drawing/2014/main" id="{414A0B48-9904-AE48-B5A3-57CB33302566}"/>
                  </a:ext>
                </a:extLst>
              </p:cNvPr>
              <p:cNvSpPr>
                <a:spLocks/>
              </p:cNvSpPr>
              <p:nvPr>
                <p:custDataLst>
                  <p:tags r:id="rId215"/>
                </p:custDataLst>
              </p:nvPr>
            </p:nvSpPr>
            <p:spPr bwMode="auto">
              <a:xfrm>
                <a:off x="5932487" y="3614738"/>
                <a:ext cx="373063" cy="228600"/>
              </a:xfrm>
              <a:custGeom>
                <a:avLst/>
                <a:gdLst>
                  <a:gd name="T0" fmla="*/ 55800 w 468"/>
                  <a:gd name="T1" fmla="*/ 57150 h 288"/>
                  <a:gd name="T2" fmla="*/ 55800 w 468"/>
                  <a:gd name="T3" fmla="*/ 57150 h 288"/>
                  <a:gd name="T4" fmla="*/ 62177 w 468"/>
                  <a:gd name="T5" fmla="*/ 57150 h 288"/>
                  <a:gd name="T6" fmla="*/ 66163 w 468"/>
                  <a:gd name="T7" fmla="*/ 51594 h 288"/>
                  <a:gd name="T8" fmla="*/ 66163 w 468"/>
                  <a:gd name="T9" fmla="*/ 44450 h 288"/>
                  <a:gd name="T10" fmla="*/ 62177 w 468"/>
                  <a:gd name="T11" fmla="*/ 41275 h 288"/>
                  <a:gd name="T12" fmla="*/ 69351 w 468"/>
                  <a:gd name="T13" fmla="*/ 41275 h 288"/>
                  <a:gd name="T14" fmla="*/ 72540 w 468"/>
                  <a:gd name="T15" fmla="*/ 34925 h 288"/>
                  <a:gd name="T16" fmla="*/ 72540 w 468"/>
                  <a:gd name="T17" fmla="*/ 31750 h 288"/>
                  <a:gd name="T18" fmla="*/ 79714 w 468"/>
                  <a:gd name="T19" fmla="*/ 31750 h 288"/>
                  <a:gd name="T20" fmla="*/ 79714 w 468"/>
                  <a:gd name="T21" fmla="*/ 34925 h 288"/>
                  <a:gd name="T22" fmla="*/ 86889 w 468"/>
                  <a:gd name="T23" fmla="*/ 34925 h 288"/>
                  <a:gd name="T24" fmla="*/ 94063 w 468"/>
                  <a:gd name="T25" fmla="*/ 31750 h 288"/>
                  <a:gd name="T26" fmla="*/ 86889 w 468"/>
                  <a:gd name="T27" fmla="*/ 28575 h 288"/>
                  <a:gd name="T28" fmla="*/ 83700 w 468"/>
                  <a:gd name="T29" fmla="*/ 28575 h 288"/>
                  <a:gd name="T30" fmla="*/ 76526 w 468"/>
                  <a:gd name="T31" fmla="*/ 28575 h 288"/>
                  <a:gd name="T32" fmla="*/ 83700 w 468"/>
                  <a:gd name="T33" fmla="*/ 22225 h 288"/>
                  <a:gd name="T34" fmla="*/ 79714 w 468"/>
                  <a:gd name="T35" fmla="*/ 22225 h 288"/>
                  <a:gd name="T36" fmla="*/ 69351 w 468"/>
                  <a:gd name="T37" fmla="*/ 31750 h 288"/>
                  <a:gd name="T38" fmla="*/ 66163 w 468"/>
                  <a:gd name="T39" fmla="*/ 28575 h 288"/>
                  <a:gd name="T40" fmla="*/ 58989 w 468"/>
                  <a:gd name="T41" fmla="*/ 28575 h 288"/>
                  <a:gd name="T42" fmla="*/ 58989 w 468"/>
                  <a:gd name="T43" fmla="*/ 26194 h 288"/>
                  <a:gd name="T44" fmla="*/ 55800 w 468"/>
                  <a:gd name="T45" fmla="*/ 26194 h 288"/>
                  <a:gd name="T46" fmla="*/ 55800 w 468"/>
                  <a:gd name="T47" fmla="*/ 19050 h 288"/>
                  <a:gd name="T48" fmla="*/ 48626 w 468"/>
                  <a:gd name="T49" fmla="*/ 13494 h 288"/>
                  <a:gd name="T50" fmla="*/ 31089 w 468"/>
                  <a:gd name="T51" fmla="*/ 13494 h 288"/>
                  <a:gd name="T52" fmla="*/ 20726 w 468"/>
                  <a:gd name="T53" fmla="*/ 3969 h 288"/>
                  <a:gd name="T54" fmla="*/ 14349 w 468"/>
                  <a:gd name="T55" fmla="*/ 0 h 288"/>
                  <a:gd name="T56" fmla="*/ 0 w 468"/>
                  <a:gd name="T57" fmla="*/ 3969 h 288"/>
                  <a:gd name="T58" fmla="*/ 0 w 468"/>
                  <a:gd name="T59" fmla="*/ 28575 h 288"/>
                  <a:gd name="T60" fmla="*/ 3986 w 468"/>
                  <a:gd name="T61" fmla="*/ 28575 h 288"/>
                  <a:gd name="T62" fmla="*/ 3986 w 468"/>
                  <a:gd name="T63" fmla="*/ 26194 h 288"/>
                  <a:gd name="T64" fmla="*/ 10363 w 468"/>
                  <a:gd name="T65" fmla="*/ 22225 h 288"/>
                  <a:gd name="T66" fmla="*/ 14349 w 468"/>
                  <a:gd name="T67" fmla="*/ 22225 h 288"/>
                  <a:gd name="T68" fmla="*/ 10363 w 468"/>
                  <a:gd name="T69" fmla="*/ 19050 h 288"/>
                  <a:gd name="T70" fmla="*/ 14349 w 468"/>
                  <a:gd name="T71" fmla="*/ 19050 h 288"/>
                  <a:gd name="T72" fmla="*/ 20726 w 468"/>
                  <a:gd name="T73" fmla="*/ 22225 h 288"/>
                  <a:gd name="T74" fmla="*/ 20726 w 468"/>
                  <a:gd name="T75" fmla="*/ 28575 h 288"/>
                  <a:gd name="T76" fmla="*/ 31089 w 468"/>
                  <a:gd name="T77" fmla="*/ 28575 h 288"/>
                  <a:gd name="T78" fmla="*/ 35074 w 468"/>
                  <a:gd name="T79" fmla="*/ 38100 h 288"/>
                  <a:gd name="T80" fmla="*/ 51814 w 468"/>
                  <a:gd name="T81" fmla="*/ 47625 h 288"/>
                  <a:gd name="T82" fmla="*/ 58989 w 468"/>
                  <a:gd name="T83" fmla="*/ 51594 h 288"/>
                  <a:gd name="T84" fmla="*/ 55800 w 468"/>
                  <a:gd name="T85" fmla="*/ 57150 h 28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68"/>
                  <a:gd name="T130" fmla="*/ 0 h 288"/>
                  <a:gd name="T131" fmla="*/ 468 w 468"/>
                  <a:gd name="T132" fmla="*/ 288 h 28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68" h="288">
                    <a:moveTo>
                      <a:pt x="276" y="288"/>
                    </a:moveTo>
                    <a:lnTo>
                      <a:pt x="276" y="288"/>
                    </a:lnTo>
                    <a:lnTo>
                      <a:pt x="311" y="288"/>
                    </a:lnTo>
                    <a:lnTo>
                      <a:pt x="328" y="257"/>
                    </a:lnTo>
                    <a:lnTo>
                      <a:pt x="328" y="225"/>
                    </a:lnTo>
                    <a:lnTo>
                      <a:pt x="311" y="209"/>
                    </a:lnTo>
                    <a:lnTo>
                      <a:pt x="346" y="209"/>
                    </a:lnTo>
                    <a:lnTo>
                      <a:pt x="363" y="177"/>
                    </a:lnTo>
                    <a:lnTo>
                      <a:pt x="363" y="161"/>
                    </a:lnTo>
                    <a:lnTo>
                      <a:pt x="399" y="161"/>
                    </a:lnTo>
                    <a:lnTo>
                      <a:pt x="399" y="177"/>
                    </a:lnTo>
                    <a:lnTo>
                      <a:pt x="434" y="177"/>
                    </a:lnTo>
                    <a:lnTo>
                      <a:pt x="468" y="161"/>
                    </a:lnTo>
                    <a:lnTo>
                      <a:pt x="434" y="144"/>
                    </a:lnTo>
                    <a:lnTo>
                      <a:pt x="417" y="144"/>
                    </a:lnTo>
                    <a:lnTo>
                      <a:pt x="380" y="144"/>
                    </a:lnTo>
                    <a:lnTo>
                      <a:pt x="417" y="113"/>
                    </a:lnTo>
                    <a:lnTo>
                      <a:pt x="399" y="113"/>
                    </a:lnTo>
                    <a:lnTo>
                      <a:pt x="346" y="161"/>
                    </a:lnTo>
                    <a:lnTo>
                      <a:pt x="328" y="144"/>
                    </a:lnTo>
                    <a:lnTo>
                      <a:pt x="294" y="144"/>
                    </a:lnTo>
                    <a:lnTo>
                      <a:pt x="294" y="129"/>
                    </a:lnTo>
                    <a:lnTo>
                      <a:pt x="276" y="129"/>
                    </a:lnTo>
                    <a:lnTo>
                      <a:pt x="276" y="96"/>
                    </a:lnTo>
                    <a:lnTo>
                      <a:pt x="242" y="65"/>
                    </a:lnTo>
                    <a:lnTo>
                      <a:pt x="155" y="65"/>
                    </a:lnTo>
                    <a:lnTo>
                      <a:pt x="104" y="17"/>
                    </a:lnTo>
                    <a:lnTo>
                      <a:pt x="69" y="0"/>
                    </a:lnTo>
                    <a:lnTo>
                      <a:pt x="0" y="17"/>
                    </a:lnTo>
                    <a:lnTo>
                      <a:pt x="0" y="144"/>
                    </a:lnTo>
                    <a:lnTo>
                      <a:pt x="17" y="144"/>
                    </a:lnTo>
                    <a:lnTo>
                      <a:pt x="17" y="129"/>
                    </a:lnTo>
                    <a:lnTo>
                      <a:pt x="52" y="113"/>
                    </a:lnTo>
                    <a:lnTo>
                      <a:pt x="69" y="113"/>
                    </a:lnTo>
                    <a:lnTo>
                      <a:pt x="52" y="96"/>
                    </a:lnTo>
                    <a:lnTo>
                      <a:pt x="69" y="96"/>
                    </a:lnTo>
                    <a:lnTo>
                      <a:pt x="104" y="113"/>
                    </a:lnTo>
                    <a:lnTo>
                      <a:pt x="104" y="144"/>
                    </a:lnTo>
                    <a:lnTo>
                      <a:pt x="155" y="144"/>
                    </a:lnTo>
                    <a:lnTo>
                      <a:pt x="173" y="192"/>
                    </a:lnTo>
                    <a:lnTo>
                      <a:pt x="259" y="240"/>
                    </a:lnTo>
                    <a:lnTo>
                      <a:pt x="294" y="257"/>
                    </a:lnTo>
                    <a:lnTo>
                      <a:pt x="276" y="28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54" name="Freeform 189">
                <a:extLst>
                  <a:ext uri="{FF2B5EF4-FFF2-40B4-BE49-F238E27FC236}">
                    <a16:creationId xmlns:a16="http://schemas.microsoft.com/office/drawing/2014/main" id="{EAA9E996-EA03-6443-9EB3-F8C50635A7F8}"/>
                  </a:ext>
                </a:extLst>
              </p:cNvPr>
              <p:cNvSpPr>
                <a:spLocks/>
              </p:cNvSpPr>
              <p:nvPr>
                <p:custDataLst>
                  <p:tags r:id="rId216"/>
                </p:custDataLst>
              </p:nvPr>
            </p:nvSpPr>
            <p:spPr bwMode="auto">
              <a:xfrm>
                <a:off x="6180137" y="3743326"/>
                <a:ext cx="166688" cy="114300"/>
              </a:xfrm>
              <a:custGeom>
                <a:avLst/>
                <a:gdLst>
                  <a:gd name="T0" fmla="*/ 35092 w 209"/>
                  <a:gd name="T1" fmla="*/ 9525 h 144"/>
                  <a:gd name="T2" fmla="*/ 35092 w 209"/>
                  <a:gd name="T3" fmla="*/ 9525 h 144"/>
                  <a:gd name="T4" fmla="*/ 35092 w 209"/>
                  <a:gd name="T5" fmla="*/ 15081 h 144"/>
                  <a:gd name="T6" fmla="*/ 42270 w 209"/>
                  <a:gd name="T7" fmla="*/ 15081 h 144"/>
                  <a:gd name="T8" fmla="*/ 42270 w 209"/>
                  <a:gd name="T9" fmla="*/ 24606 h 144"/>
                  <a:gd name="T10" fmla="*/ 31902 w 209"/>
                  <a:gd name="T11" fmla="*/ 21431 h 144"/>
                  <a:gd name="T12" fmla="*/ 24724 w 209"/>
                  <a:gd name="T13" fmla="*/ 28575 h 144"/>
                  <a:gd name="T14" fmla="*/ 21534 w 209"/>
                  <a:gd name="T15" fmla="*/ 19050 h 144"/>
                  <a:gd name="T16" fmla="*/ 17546 w 209"/>
                  <a:gd name="T17" fmla="*/ 15081 h 144"/>
                  <a:gd name="T18" fmla="*/ 14356 w 209"/>
                  <a:gd name="T19" fmla="*/ 21431 h 144"/>
                  <a:gd name="T20" fmla="*/ 11166 w 209"/>
                  <a:gd name="T21" fmla="*/ 21431 h 144"/>
                  <a:gd name="T22" fmla="*/ 11166 w 209"/>
                  <a:gd name="T23" fmla="*/ 24606 h 144"/>
                  <a:gd name="T24" fmla="*/ 3988 w 209"/>
                  <a:gd name="T25" fmla="*/ 24606 h 144"/>
                  <a:gd name="T26" fmla="*/ 0 w 209"/>
                  <a:gd name="T27" fmla="*/ 24606 h 144"/>
                  <a:gd name="T28" fmla="*/ 3988 w 209"/>
                  <a:gd name="T29" fmla="*/ 19050 h 144"/>
                  <a:gd name="T30" fmla="*/ 3988 w 209"/>
                  <a:gd name="T31" fmla="*/ 12700 h 144"/>
                  <a:gd name="T32" fmla="*/ 0 w 209"/>
                  <a:gd name="T33" fmla="*/ 9525 h 144"/>
                  <a:gd name="T34" fmla="*/ 7178 w 209"/>
                  <a:gd name="T35" fmla="*/ 9525 h 144"/>
                  <a:gd name="T36" fmla="*/ 11166 w 209"/>
                  <a:gd name="T37" fmla="*/ 3175 h 144"/>
                  <a:gd name="T38" fmla="*/ 11166 w 209"/>
                  <a:gd name="T39" fmla="*/ 0 h 144"/>
                  <a:gd name="T40" fmla="*/ 17546 w 209"/>
                  <a:gd name="T41" fmla="*/ 0 h 144"/>
                  <a:gd name="T42" fmla="*/ 17546 w 209"/>
                  <a:gd name="T43" fmla="*/ 3175 h 144"/>
                  <a:gd name="T44" fmla="*/ 17546 w 209"/>
                  <a:gd name="T45" fmla="*/ 5556 h 144"/>
                  <a:gd name="T46" fmla="*/ 11166 w 209"/>
                  <a:gd name="T47" fmla="*/ 5556 h 144"/>
                  <a:gd name="T48" fmla="*/ 11166 w 209"/>
                  <a:gd name="T49" fmla="*/ 9525 h 144"/>
                  <a:gd name="T50" fmla="*/ 21534 w 209"/>
                  <a:gd name="T51" fmla="*/ 9525 h 144"/>
                  <a:gd name="T52" fmla="*/ 24724 w 209"/>
                  <a:gd name="T53" fmla="*/ 9525 h 144"/>
                  <a:gd name="T54" fmla="*/ 35092 w 209"/>
                  <a:gd name="T55" fmla="*/ 9525 h 14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09"/>
                  <a:gd name="T85" fmla="*/ 0 h 144"/>
                  <a:gd name="T86" fmla="*/ 209 w 209"/>
                  <a:gd name="T87" fmla="*/ 144 h 14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09" h="144">
                    <a:moveTo>
                      <a:pt x="175" y="48"/>
                    </a:moveTo>
                    <a:lnTo>
                      <a:pt x="175" y="48"/>
                    </a:lnTo>
                    <a:lnTo>
                      <a:pt x="175" y="79"/>
                    </a:lnTo>
                    <a:lnTo>
                      <a:pt x="209" y="79"/>
                    </a:lnTo>
                    <a:lnTo>
                      <a:pt x="209" y="127"/>
                    </a:lnTo>
                    <a:lnTo>
                      <a:pt x="157" y="111"/>
                    </a:lnTo>
                    <a:lnTo>
                      <a:pt x="123" y="144"/>
                    </a:lnTo>
                    <a:lnTo>
                      <a:pt x="106" y="96"/>
                    </a:lnTo>
                    <a:lnTo>
                      <a:pt x="88" y="79"/>
                    </a:lnTo>
                    <a:lnTo>
                      <a:pt x="71" y="111"/>
                    </a:lnTo>
                    <a:lnTo>
                      <a:pt x="54" y="111"/>
                    </a:lnTo>
                    <a:lnTo>
                      <a:pt x="54" y="127"/>
                    </a:lnTo>
                    <a:lnTo>
                      <a:pt x="17" y="127"/>
                    </a:lnTo>
                    <a:lnTo>
                      <a:pt x="0" y="127"/>
                    </a:lnTo>
                    <a:lnTo>
                      <a:pt x="17" y="96"/>
                    </a:lnTo>
                    <a:lnTo>
                      <a:pt x="17" y="64"/>
                    </a:lnTo>
                    <a:lnTo>
                      <a:pt x="0" y="48"/>
                    </a:lnTo>
                    <a:lnTo>
                      <a:pt x="35" y="48"/>
                    </a:lnTo>
                    <a:lnTo>
                      <a:pt x="54" y="16"/>
                    </a:lnTo>
                    <a:lnTo>
                      <a:pt x="54" y="0"/>
                    </a:lnTo>
                    <a:lnTo>
                      <a:pt x="88" y="0"/>
                    </a:lnTo>
                    <a:lnTo>
                      <a:pt x="88" y="16"/>
                    </a:lnTo>
                    <a:lnTo>
                      <a:pt x="88" y="31"/>
                    </a:lnTo>
                    <a:lnTo>
                      <a:pt x="54" y="31"/>
                    </a:lnTo>
                    <a:lnTo>
                      <a:pt x="54" y="48"/>
                    </a:lnTo>
                    <a:lnTo>
                      <a:pt x="106" y="48"/>
                    </a:lnTo>
                    <a:lnTo>
                      <a:pt x="123" y="48"/>
                    </a:lnTo>
                    <a:lnTo>
                      <a:pt x="175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55" name="Freeform 190">
                <a:extLst>
                  <a:ext uri="{FF2B5EF4-FFF2-40B4-BE49-F238E27FC236}">
                    <a16:creationId xmlns:a16="http://schemas.microsoft.com/office/drawing/2014/main" id="{20C9050B-636F-F147-95FA-D3D84025C888}"/>
                  </a:ext>
                </a:extLst>
              </p:cNvPr>
              <p:cNvSpPr>
                <a:spLocks/>
              </p:cNvSpPr>
              <p:nvPr>
                <p:custDataLst>
                  <p:tags r:id="rId217"/>
                </p:custDataLst>
              </p:nvPr>
            </p:nvSpPr>
            <p:spPr bwMode="auto">
              <a:xfrm>
                <a:off x="6222999" y="3678238"/>
                <a:ext cx="234950" cy="103188"/>
              </a:xfrm>
              <a:custGeom>
                <a:avLst/>
                <a:gdLst>
                  <a:gd name="T0" fmla="*/ 58937 w 295"/>
                  <a:gd name="T1" fmla="*/ 6449 h 128"/>
                  <a:gd name="T2" fmla="*/ 58937 w 295"/>
                  <a:gd name="T3" fmla="*/ 6449 h 128"/>
                  <a:gd name="T4" fmla="*/ 58937 w 295"/>
                  <a:gd name="T5" fmla="*/ 9674 h 128"/>
                  <a:gd name="T6" fmla="*/ 48583 w 295"/>
                  <a:gd name="T7" fmla="*/ 16929 h 128"/>
                  <a:gd name="T8" fmla="*/ 41415 w 295"/>
                  <a:gd name="T9" fmla="*/ 16929 h 128"/>
                  <a:gd name="T10" fmla="*/ 38229 w 295"/>
                  <a:gd name="T11" fmla="*/ 20154 h 128"/>
                  <a:gd name="T12" fmla="*/ 31061 w 295"/>
                  <a:gd name="T13" fmla="*/ 20154 h 128"/>
                  <a:gd name="T14" fmla="*/ 24690 w 295"/>
                  <a:gd name="T15" fmla="*/ 22572 h 128"/>
                  <a:gd name="T16" fmla="*/ 24690 w 295"/>
                  <a:gd name="T17" fmla="*/ 26603 h 128"/>
                  <a:gd name="T18" fmla="*/ 14336 w 295"/>
                  <a:gd name="T19" fmla="*/ 26603 h 128"/>
                  <a:gd name="T20" fmla="*/ 10354 w 295"/>
                  <a:gd name="T21" fmla="*/ 26603 h 128"/>
                  <a:gd name="T22" fmla="*/ 0 w 295"/>
                  <a:gd name="T23" fmla="*/ 26603 h 128"/>
                  <a:gd name="T24" fmla="*/ 0 w 295"/>
                  <a:gd name="T25" fmla="*/ 22572 h 128"/>
                  <a:gd name="T26" fmla="*/ 7168 w 295"/>
                  <a:gd name="T27" fmla="*/ 22572 h 128"/>
                  <a:gd name="T28" fmla="*/ 7168 w 295"/>
                  <a:gd name="T29" fmla="*/ 20154 h 128"/>
                  <a:gd name="T30" fmla="*/ 14336 w 295"/>
                  <a:gd name="T31" fmla="*/ 20154 h 128"/>
                  <a:gd name="T32" fmla="*/ 20707 w 295"/>
                  <a:gd name="T33" fmla="*/ 16929 h 128"/>
                  <a:gd name="T34" fmla="*/ 14336 w 295"/>
                  <a:gd name="T35" fmla="*/ 12899 h 128"/>
                  <a:gd name="T36" fmla="*/ 10354 w 295"/>
                  <a:gd name="T37" fmla="*/ 12899 h 128"/>
                  <a:gd name="T38" fmla="*/ 3982 w 295"/>
                  <a:gd name="T39" fmla="*/ 12899 h 128"/>
                  <a:gd name="T40" fmla="*/ 10354 w 295"/>
                  <a:gd name="T41" fmla="*/ 6449 h 128"/>
                  <a:gd name="T42" fmla="*/ 7168 w 295"/>
                  <a:gd name="T43" fmla="*/ 6449 h 128"/>
                  <a:gd name="T44" fmla="*/ 10354 w 295"/>
                  <a:gd name="T45" fmla="*/ 3225 h 128"/>
                  <a:gd name="T46" fmla="*/ 20707 w 295"/>
                  <a:gd name="T47" fmla="*/ 6449 h 128"/>
                  <a:gd name="T48" fmla="*/ 20707 w 295"/>
                  <a:gd name="T49" fmla="*/ 3225 h 128"/>
                  <a:gd name="T50" fmla="*/ 24690 w 295"/>
                  <a:gd name="T51" fmla="*/ 0 h 128"/>
                  <a:gd name="T52" fmla="*/ 31061 w 295"/>
                  <a:gd name="T53" fmla="*/ 3225 h 128"/>
                  <a:gd name="T54" fmla="*/ 51769 w 295"/>
                  <a:gd name="T55" fmla="*/ 3225 h 128"/>
                  <a:gd name="T56" fmla="*/ 58937 w 295"/>
                  <a:gd name="T57" fmla="*/ 6449 h 12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295"/>
                  <a:gd name="T88" fmla="*/ 0 h 128"/>
                  <a:gd name="T89" fmla="*/ 295 w 295"/>
                  <a:gd name="T90" fmla="*/ 128 h 12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295" h="128">
                    <a:moveTo>
                      <a:pt x="295" y="32"/>
                    </a:moveTo>
                    <a:lnTo>
                      <a:pt x="295" y="32"/>
                    </a:lnTo>
                    <a:lnTo>
                      <a:pt x="295" y="48"/>
                    </a:lnTo>
                    <a:lnTo>
                      <a:pt x="242" y="80"/>
                    </a:lnTo>
                    <a:lnTo>
                      <a:pt x="207" y="80"/>
                    </a:lnTo>
                    <a:lnTo>
                      <a:pt x="190" y="96"/>
                    </a:lnTo>
                    <a:lnTo>
                      <a:pt x="155" y="96"/>
                    </a:lnTo>
                    <a:lnTo>
                      <a:pt x="121" y="111"/>
                    </a:lnTo>
                    <a:lnTo>
                      <a:pt x="121" y="128"/>
                    </a:lnTo>
                    <a:lnTo>
                      <a:pt x="69" y="128"/>
                    </a:lnTo>
                    <a:lnTo>
                      <a:pt x="52" y="128"/>
                    </a:lnTo>
                    <a:lnTo>
                      <a:pt x="0" y="128"/>
                    </a:lnTo>
                    <a:lnTo>
                      <a:pt x="0" y="111"/>
                    </a:lnTo>
                    <a:lnTo>
                      <a:pt x="34" y="111"/>
                    </a:lnTo>
                    <a:lnTo>
                      <a:pt x="34" y="96"/>
                    </a:lnTo>
                    <a:lnTo>
                      <a:pt x="69" y="96"/>
                    </a:lnTo>
                    <a:lnTo>
                      <a:pt x="103" y="80"/>
                    </a:lnTo>
                    <a:lnTo>
                      <a:pt x="69" y="63"/>
                    </a:lnTo>
                    <a:lnTo>
                      <a:pt x="52" y="63"/>
                    </a:lnTo>
                    <a:lnTo>
                      <a:pt x="17" y="63"/>
                    </a:lnTo>
                    <a:lnTo>
                      <a:pt x="52" y="32"/>
                    </a:lnTo>
                    <a:lnTo>
                      <a:pt x="34" y="32"/>
                    </a:lnTo>
                    <a:lnTo>
                      <a:pt x="52" y="15"/>
                    </a:lnTo>
                    <a:lnTo>
                      <a:pt x="103" y="32"/>
                    </a:lnTo>
                    <a:lnTo>
                      <a:pt x="103" y="15"/>
                    </a:lnTo>
                    <a:lnTo>
                      <a:pt x="121" y="0"/>
                    </a:lnTo>
                    <a:lnTo>
                      <a:pt x="155" y="15"/>
                    </a:lnTo>
                    <a:lnTo>
                      <a:pt x="259" y="15"/>
                    </a:lnTo>
                    <a:lnTo>
                      <a:pt x="295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56" name="Freeform 191">
                <a:extLst>
                  <a:ext uri="{FF2B5EF4-FFF2-40B4-BE49-F238E27FC236}">
                    <a16:creationId xmlns:a16="http://schemas.microsoft.com/office/drawing/2014/main" id="{9A99A70A-A622-A346-8AEA-3491487647BA}"/>
                  </a:ext>
                </a:extLst>
              </p:cNvPr>
              <p:cNvSpPr>
                <a:spLocks/>
              </p:cNvSpPr>
              <p:nvPr>
                <p:custDataLst>
                  <p:tags r:id="rId218"/>
                </p:custDataLst>
              </p:nvPr>
            </p:nvSpPr>
            <p:spPr bwMode="auto">
              <a:xfrm>
                <a:off x="6045199" y="3843338"/>
                <a:ext cx="313050" cy="317500"/>
              </a:xfrm>
              <a:custGeom>
                <a:avLst/>
                <a:gdLst>
                  <a:gd name="T0" fmla="*/ 3168 w 449"/>
                  <a:gd name="T1" fmla="*/ 69676 h 401"/>
                  <a:gd name="T2" fmla="*/ 3168 w 449"/>
                  <a:gd name="T3" fmla="*/ 69676 h 401"/>
                  <a:gd name="T4" fmla="*/ 3168 w 449"/>
                  <a:gd name="T5" fmla="*/ 63342 h 401"/>
                  <a:gd name="T6" fmla="*/ 10296 w 449"/>
                  <a:gd name="T7" fmla="*/ 60175 h 401"/>
                  <a:gd name="T8" fmla="*/ 6336 w 449"/>
                  <a:gd name="T9" fmla="*/ 53840 h 401"/>
                  <a:gd name="T10" fmla="*/ 3168 w 449"/>
                  <a:gd name="T11" fmla="*/ 50673 h 401"/>
                  <a:gd name="T12" fmla="*/ 0 w 449"/>
                  <a:gd name="T13" fmla="*/ 44339 h 401"/>
                  <a:gd name="T14" fmla="*/ 6336 w 449"/>
                  <a:gd name="T15" fmla="*/ 47506 h 401"/>
                  <a:gd name="T16" fmla="*/ 26927 w 449"/>
                  <a:gd name="T17" fmla="*/ 44339 h 401"/>
                  <a:gd name="T18" fmla="*/ 26927 w 449"/>
                  <a:gd name="T19" fmla="*/ 38005 h 401"/>
                  <a:gd name="T20" fmla="*/ 30887 w 449"/>
                  <a:gd name="T21" fmla="*/ 34838 h 401"/>
                  <a:gd name="T22" fmla="*/ 44351 w 449"/>
                  <a:gd name="T23" fmla="*/ 31671 h 401"/>
                  <a:gd name="T24" fmla="*/ 44351 w 449"/>
                  <a:gd name="T25" fmla="*/ 25337 h 401"/>
                  <a:gd name="T26" fmla="*/ 47519 w 449"/>
                  <a:gd name="T27" fmla="*/ 22170 h 401"/>
                  <a:gd name="T28" fmla="*/ 47519 w 449"/>
                  <a:gd name="T29" fmla="*/ 19002 h 401"/>
                  <a:gd name="T30" fmla="*/ 50687 w 449"/>
                  <a:gd name="T31" fmla="*/ 19002 h 401"/>
                  <a:gd name="T32" fmla="*/ 54647 w 449"/>
                  <a:gd name="T33" fmla="*/ 12668 h 401"/>
                  <a:gd name="T34" fmla="*/ 54647 w 449"/>
                  <a:gd name="T35" fmla="*/ 6334 h 401"/>
                  <a:gd name="T36" fmla="*/ 60983 w 449"/>
                  <a:gd name="T37" fmla="*/ 3167 h 401"/>
                  <a:gd name="T38" fmla="*/ 68110 w 449"/>
                  <a:gd name="T39" fmla="*/ 0 h 401"/>
                  <a:gd name="T40" fmla="*/ 71278 w 449"/>
                  <a:gd name="T41" fmla="*/ 0 h 401"/>
                  <a:gd name="T42" fmla="*/ 78406 w 449"/>
                  <a:gd name="T43" fmla="*/ 3167 h 401"/>
                  <a:gd name="T44" fmla="*/ 81574 w 449"/>
                  <a:gd name="T45" fmla="*/ 6334 h 401"/>
                  <a:gd name="T46" fmla="*/ 88702 w 449"/>
                  <a:gd name="T47" fmla="*/ 9501 h 401"/>
                  <a:gd name="T48" fmla="*/ 85534 w 449"/>
                  <a:gd name="T49" fmla="*/ 12668 h 401"/>
                  <a:gd name="T50" fmla="*/ 78406 w 449"/>
                  <a:gd name="T51" fmla="*/ 15835 h 401"/>
                  <a:gd name="T52" fmla="*/ 71278 w 449"/>
                  <a:gd name="T53" fmla="*/ 12668 h 401"/>
                  <a:gd name="T54" fmla="*/ 68110 w 449"/>
                  <a:gd name="T55" fmla="*/ 15835 h 401"/>
                  <a:gd name="T56" fmla="*/ 71278 w 449"/>
                  <a:gd name="T57" fmla="*/ 19002 h 401"/>
                  <a:gd name="T58" fmla="*/ 68110 w 449"/>
                  <a:gd name="T59" fmla="*/ 25337 h 401"/>
                  <a:gd name="T60" fmla="*/ 75238 w 449"/>
                  <a:gd name="T61" fmla="*/ 28504 h 401"/>
                  <a:gd name="T62" fmla="*/ 75238 w 449"/>
                  <a:gd name="T63" fmla="*/ 31671 h 401"/>
                  <a:gd name="T64" fmla="*/ 71278 w 449"/>
                  <a:gd name="T65" fmla="*/ 31671 h 401"/>
                  <a:gd name="T66" fmla="*/ 75238 w 449"/>
                  <a:gd name="T67" fmla="*/ 34838 h 401"/>
                  <a:gd name="T68" fmla="*/ 57815 w 449"/>
                  <a:gd name="T69" fmla="*/ 53840 h 401"/>
                  <a:gd name="T70" fmla="*/ 50687 w 449"/>
                  <a:gd name="T71" fmla="*/ 57007 h 401"/>
                  <a:gd name="T72" fmla="*/ 47519 w 449"/>
                  <a:gd name="T73" fmla="*/ 53840 h 401"/>
                  <a:gd name="T74" fmla="*/ 44351 w 449"/>
                  <a:gd name="T75" fmla="*/ 57007 h 401"/>
                  <a:gd name="T76" fmla="*/ 44351 w 449"/>
                  <a:gd name="T77" fmla="*/ 63342 h 401"/>
                  <a:gd name="T78" fmla="*/ 47519 w 449"/>
                  <a:gd name="T79" fmla="*/ 63342 h 401"/>
                  <a:gd name="T80" fmla="*/ 47519 w 449"/>
                  <a:gd name="T81" fmla="*/ 66509 h 401"/>
                  <a:gd name="T82" fmla="*/ 50687 w 449"/>
                  <a:gd name="T83" fmla="*/ 66509 h 401"/>
                  <a:gd name="T84" fmla="*/ 50687 w 449"/>
                  <a:gd name="T85" fmla="*/ 72843 h 401"/>
                  <a:gd name="T86" fmla="*/ 50687 w 449"/>
                  <a:gd name="T87" fmla="*/ 76010 h 401"/>
                  <a:gd name="T88" fmla="*/ 40391 w 449"/>
                  <a:gd name="T89" fmla="*/ 76010 h 401"/>
                  <a:gd name="T90" fmla="*/ 37223 w 449"/>
                  <a:gd name="T91" fmla="*/ 79177 h 401"/>
                  <a:gd name="T92" fmla="*/ 34055 w 449"/>
                  <a:gd name="T93" fmla="*/ 76010 h 401"/>
                  <a:gd name="T94" fmla="*/ 30887 w 449"/>
                  <a:gd name="T95" fmla="*/ 69676 h 401"/>
                  <a:gd name="T96" fmla="*/ 20592 w 449"/>
                  <a:gd name="T97" fmla="*/ 69676 h 401"/>
                  <a:gd name="T98" fmla="*/ 13464 w 449"/>
                  <a:gd name="T99" fmla="*/ 69676 h 401"/>
                  <a:gd name="T100" fmla="*/ 3168 w 449"/>
                  <a:gd name="T101" fmla="*/ 69676 h 40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49"/>
                  <a:gd name="T154" fmla="*/ 0 h 401"/>
                  <a:gd name="T155" fmla="*/ 449 w 449"/>
                  <a:gd name="T156" fmla="*/ 401 h 401"/>
                  <a:gd name="connsiteX0" fmla="*/ 379 w 9621"/>
                  <a:gd name="connsiteY0" fmla="*/ 8803 h 10000"/>
                  <a:gd name="connsiteX1" fmla="*/ 379 w 9621"/>
                  <a:gd name="connsiteY1" fmla="*/ 8803 h 10000"/>
                  <a:gd name="connsiteX2" fmla="*/ 379 w 9621"/>
                  <a:gd name="connsiteY2" fmla="*/ 7980 h 10000"/>
                  <a:gd name="connsiteX3" fmla="*/ 1158 w 9621"/>
                  <a:gd name="connsiteY3" fmla="*/ 7606 h 10000"/>
                  <a:gd name="connsiteX4" fmla="*/ 780 w 9621"/>
                  <a:gd name="connsiteY4" fmla="*/ 6783 h 10000"/>
                  <a:gd name="connsiteX5" fmla="*/ 379 w 9621"/>
                  <a:gd name="connsiteY5" fmla="*/ 6409 h 10000"/>
                  <a:gd name="connsiteX6" fmla="*/ 0 w 9621"/>
                  <a:gd name="connsiteY6" fmla="*/ 5586 h 10000"/>
                  <a:gd name="connsiteX7" fmla="*/ 780 w 9621"/>
                  <a:gd name="connsiteY7" fmla="*/ 5985 h 10000"/>
                  <a:gd name="connsiteX8" fmla="*/ 3073 w 9621"/>
                  <a:gd name="connsiteY8" fmla="*/ 5586 h 10000"/>
                  <a:gd name="connsiteX9" fmla="*/ 3073 w 9621"/>
                  <a:gd name="connsiteY9" fmla="*/ 4788 h 10000"/>
                  <a:gd name="connsiteX10" fmla="*/ 3474 w 9621"/>
                  <a:gd name="connsiteY10" fmla="*/ 4389 h 10000"/>
                  <a:gd name="connsiteX11" fmla="*/ 5011 w 9621"/>
                  <a:gd name="connsiteY11" fmla="*/ 4015 h 10000"/>
                  <a:gd name="connsiteX12" fmla="*/ 5011 w 9621"/>
                  <a:gd name="connsiteY12" fmla="*/ 3192 h 10000"/>
                  <a:gd name="connsiteX13" fmla="*/ 5390 w 9621"/>
                  <a:gd name="connsiteY13" fmla="*/ 2818 h 10000"/>
                  <a:gd name="connsiteX14" fmla="*/ 5390 w 9621"/>
                  <a:gd name="connsiteY14" fmla="*/ 2394 h 10000"/>
                  <a:gd name="connsiteX15" fmla="*/ 5768 w 9621"/>
                  <a:gd name="connsiteY15" fmla="*/ 2394 h 10000"/>
                  <a:gd name="connsiteX16" fmla="*/ 6169 w 9621"/>
                  <a:gd name="connsiteY16" fmla="*/ 1621 h 10000"/>
                  <a:gd name="connsiteX17" fmla="*/ 6169 w 9621"/>
                  <a:gd name="connsiteY17" fmla="*/ 798 h 10000"/>
                  <a:gd name="connsiteX18" fmla="*/ 6927 w 9621"/>
                  <a:gd name="connsiteY18" fmla="*/ 424 h 10000"/>
                  <a:gd name="connsiteX19" fmla="*/ 7706 w 9621"/>
                  <a:gd name="connsiteY19" fmla="*/ 0 h 10000"/>
                  <a:gd name="connsiteX20" fmla="*/ 8085 w 9621"/>
                  <a:gd name="connsiteY20" fmla="*/ 0 h 10000"/>
                  <a:gd name="connsiteX21" fmla="*/ 8842 w 9621"/>
                  <a:gd name="connsiteY21" fmla="*/ 424 h 10000"/>
                  <a:gd name="connsiteX22" fmla="*/ 9243 w 9621"/>
                  <a:gd name="connsiteY22" fmla="*/ 798 h 10000"/>
                  <a:gd name="connsiteX23" fmla="*/ 9621 w 9621"/>
                  <a:gd name="connsiteY23" fmla="*/ 1621 h 10000"/>
                  <a:gd name="connsiteX24" fmla="*/ 8842 w 9621"/>
                  <a:gd name="connsiteY24" fmla="*/ 1995 h 10000"/>
                  <a:gd name="connsiteX25" fmla="*/ 8085 w 9621"/>
                  <a:gd name="connsiteY25" fmla="*/ 1621 h 10000"/>
                  <a:gd name="connsiteX26" fmla="*/ 7706 w 9621"/>
                  <a:gd name="connsiteY26" fmla="*/ 1995 h 10000"/>
                  <a:gd name="connsiteX27" fmla="*/ 8085 w 9621"/>
                  <a:gd name="connsiteY27" fmla="*/ 2394 h 10000"/>
                  <a:gd name="connsiteX28" fmla="*/ 7706 w 9621"/>
                  <a:gd name="connsiteY28" fmla="*/ 3192 h 10000"/>
                  <a:gd name="connsiteX29" fmla="*/ 8463 w 9621"/>
                  <a:gd name="connsiteY29" fmla="*/ 3591 h 10000"/>
                  <a:gd name="connsiteX30" fmla="*/ 8463 w 9621"/>
                  <a:gd name="connsiteY30" fmla="*/ 4015 h 10000"/>
                  <a:gd name="connsiteX31" fmla="*/ 8085 w 9621"/>
                  <a:gd name="connsiteY31" fmla="*/ 4015 h 10000"/>
                  <a:gd name="connsiteX32" fmla="*/ 8463 w 9621"/>
                  <a:gd name="connsiteY32" fmla="*/ 4389 h 10000"/>
                  <a:gd name="connsiteX33" fmla="*/ 6548 w 9621"/>
                  <a:gd name="connsiteY33" fmla="*/ 6783 h 10000"/>
                  <a:gd name="connsiteX34" fmla="*/ 5768 w 9621"/>
                  <a:gd name="connsiteY34" fmla="*/ 7182 h 10000"/>
                  <a:gd name="connsiteX35" fmla="*/ 5390 w 9621"/>
                  <a:gd name="connsiteY35" fmla="*/ 6783 h 10000"/>
                  <a:gd name="connsiteX36" fmla="*/ 5011 w 9621"/>
                  <a:gd name="connsiteY36" fmla="*/ 7182 h 10000"/>
                  <a:gd name="connsiteX37" fmla="*/ 5011 w 9621"/>
                  <a:gd name="connsiteY37" fmla="*/ 7980 h 10000"/>
                  <a:gd name="connsiteX38" fmla="*/ 5390 w 9621"/>
                  <a:gd name="connsiteY38" fmla="*/ 7980 h 10000"/>
                  <a:gd name="connsiteX39" fmla="*/ 5390 w 9621"/>
                  <a:gd name="connsiteY39" fmla="*/ 8379 h 10000"/>
                  <a:gd name="connsiteX40" fmla="*/ 5768 w 9621"/>
                  <a:gd name="connsiteY40" fmla="*/ 8379 h 10000"/>
                  <a:gd name="connsiteX41" fmla="*/ 5768 w 9621"/>
                  <a:gd name="connsiteY41" fmla="*/ 9177 h 10000"/>
                  <a:gd name="connsiteX42" fmla="*/ 5768 w 9621"/>
                  <a:gd name="connsiteY42" fmla="*/ 9576 h 10000"/>
                  <a:gd name="connsiteX43" fmla="*/ 4610 w 9621"/>
                  <a:gd name="connsiteY43" fmla="*/ 9576 h 10000"/>
                  <a:gd name="connsiteX44" fmla="*/ 4232 w 9621"/>
                  <a:gd name="connsiteY44" fmla="*/ 10000 h 10000"/>
                  <a:gd name="connsiteX45" fmla="*/ 3853 w 9621"/>
                  <a:gd name="connsiteY45" fmla="*/ 9576 h 10000"/>
                  <a:gd name="connsiteX46" fmla="*/ 3474 w 9621"/>
                  <a:gd name="connsiteY46" fmla="*/ 8803 h 10000"/>
                  <a:gd name="connsiteX47" fmla="*/ 2316 w 9621"/>
                  <a:gd name="connsiteY47" fmla="*/ 8803 h 10000"/>
                  <a:gd name="connsiteX48" fmla="*/ 1537 w 9621"/>
                  <a:gd name="connsiteY48" fmla="*/ 8803 h 10000"/>
                  <a:gd name="connsiteX49" fmla="*/ 379 w 9621"/>
                  <a:gd name="connsiteY49" fmla="*/ 8803 h 10000"/>
                  <a:gd name="connsiteX0" fmla="*/ 394 w 10000"/>
                  <a:gd name="connsiteY0" fmla="*/ 8803 h 10000"/>
                  <a:gd name="connsiteX1" fmla="*/ 394 w 10000"/>
                  <a:gd name="connsiteY1" fmla="*/ 8803 h 10000"/>
                  <a:gd name="connsiteX2" fmla="*/ 394 w 10000"/>
                  <a:gd name="connsiteY2" fmla="*/ 7980 h 10000"/>
                  <a:gd name="connsiteX3" fmla="*/ 1204 w 10000"/>
                  <a:gd name="connsiteY3" fmla="*/ 7606 h 10000"/>
                  <a:gd name="connsiteX4" fmla="*/ 811 w 10000"/>
                  <a:gd name="connsiteY4" fmla="*/ 6783 h 10000"/>
                  <a:gd name="connsiteX5" fmla="*/ 394 w 10000"/>
                  <a:gd name="connsiteY5" fmla="*/ 6409 h 10000"/>
                  <a:gd name="connsiteX6" fmla="*/ 0 w 10000"/>
                  <a:gd name="connsiteY6" fmla="*/ 5586 h 10000"/>
                  <a:gd name="connsiteX7" fmla="*/ 811 w 10000"/>
                  <a:gd name="connsiteY7" fmla="*/ 5985 h 10000"/>
                  <a:gd name="connsiteX8" fmla="*/ 3194 w 10000"/>
                  <a:gd name="connsiteY8" fmla="*/ 5586 h 10000"/>
                  <a:gd name="connsiteX9" fmla="*/ 3194 w 10000"/>
                  <a:gd name="connsiteY9" fmla="*/ 4788 h 10000"/>
                  <a:gd name="connsiteX10" fmla="*/ 3611 w 10000"/>
                  <a:gd name="connsiteY10" fmla="*/ 4389 h 10000"/>
                  <a:gd name="connsiteX11" fmla="*/ 5208 w 10000"/>
                  <a:gd name="connsiteY11" fmla="*/ 4015 h 10000"/>
                  <a:gd name="connsiteX12" fmla="*/ 5208 w 10000"/>
                  <a:gd name="connsiteY12" fmla="*/ 3192 h 10000"/>
                  <a:gd name="connsiteX13" fmla="*/ 5602 w 10000"/>
                  <a:gd name="connsiteY13" fmla="*/ 2818 h 10000"/>
                  <a:gd name="connsiteX14" fmla="*/ 5602 w 10000"/>
                  <a:gd name="connsiteY14" fmla="*/ 2394 h 10000"/>
                  <a:gd name="connsiteX15" fmla="*/ 5995 w 10000"/>
                  <a:gd name="connsiteY15" fmla="*/ 2394 h 10000"/>
                  <a:gd name="connsiteX16" fmla="*/ 6412 w 10000"/>
                  <a:gd name="connsiteY16" fmla="*/ 1621 h 10000"/>
                  <a:gd name="connsiteX17" fmla="*/ 6412 w 10000"/>
                  <a:gd name="connsiteY17" fmla="*/ 798 h 10000"/>
                  <a:gd name="connsiteX18" fmla="*/ 7200 w 10000"/>
                  <a:gd name="connsiteY18" fmla="*/ 424 h 10000"/>
                  <a:gd name="connsiteX19" fmla="*/ 8010 w 10000"/>
                  <a:gd name="connsiteY19" fmla="*/ 0 h 10000"/>
                  <a:gd name="connsiteX20" fmla="*/ 8403 w 10000"/>
                  <a:gd name="connsiteY20" fmla="*/ 0 h 10000"/>
                  <a:gd name="connsiteX21" fmla="*/ 9190 w 10000"/>
                  <a:gd name="connsiteY21" fmla="*/ 424 h 10000"/>
                  <a:gd name="connsiteX22" fmla="*/ 10000 w 10000"/>
                  <a:gd name="connsiteY22" fmla="*/ 1621 h 10000"/>
                  <a:gd name="connsiteX23" fmla="*/ 9190 w 10000"/>
                  <a:gd name="connsiteY23" fmla="*/ 1995 h 10000"/>
                  <a:gd name="connsiteX24" fmla="*/ 8403 w 10000"/>
                  <a:gd name="connsiteY24" fmla="*/ 1621 h 10000"/>
                  <a:gd name="connsiteX25" fmla="*/ 8010 w 10000"/>
                  <a:gd name="connsiteY25" fmla="*/ 1995 h 10000"/>
                  <a:gd name="connsiteX26" fmla="*/ 8403 w 10000"/>
                  <a:gd name="connsiteY26" fmla="*/ 2394 h 10000"/>
                  <a:gd name="connsiteX27" fmla="*/ 8010 w 10000"/>
                  <a:gd name="connsiteY27" fmla="*/ 3192 h 10000"/>
                  <a:gd name="connsiteX28" fmla="*/ 8796 w 10000"/>
                  <a:gd name="connsiteY28" fmla="*/ 3591 h 10000"/>
                  <a:gd name="connsiteX29" fmla="*/ 8796 w 10000"/>
                  <a:gd name="connsiteY29" fmla="*/ 4015 h 10000"/>
                  <a:gd name="connsiteX30" fmla="*/ 8403 w 10000"/>
                  <a:gd name="connsiteY30" fmla="*/ 4015 h 10000"/>
                  <a:gd name="connsiteX31" fmla="*/ 8796 w 10000"/>
                  <a:gd name="connsiteY31" fmla="*/ 4389 h 10000"/>
                  <a:gd name="connsiteX32" fmla="*/ 6806 w 10000"/>
                  <a:gd name="connsiteY32" fmla="*/ 6783 h 10000"/>
                  <a:gd name="connsiteX33" fmla="*/ 5995 w 10000"/>
                  <a:gd name="connsiteY33" fmla="*/ 7182 h 10000"/>
                  <a:gd name="connsiteX34" fmla="*/ 5602 w 10000"/>
                  <a:gd name="connsiteY34" fmla="*/ 6783 h 10000"/>
                  <a:gd name="connsiteX35" fmla="*/ 5208 w 10000"/>
                  <a:gd name="connsiteY35" fmla="*/ 7182 h 10000"/>
                  <a:gd name="connsiteX36" fmla="*/ 5208 w 10000"/>
                  <a:gd name="connsiteY36" fmla="*/ 7980 h 10000"/>
                  <a:gd name="connsiteX37" fmla="*/ 5602 w 10000"/>
                  <a:gd name="connsiteY37" fmla="*/ 7980 h 10000"/>
                  <a:gd name="connsiteX38" fmla="*/ 5602 w 10000"/>
                  <a:gd name="connsiteY38" fmla="*/ 8379 h 10000"/>
                  <a:gd name="connsiteX39" fmla="*/ 5995 w 10000"/>
                  <a:gd name="connsiteY39" fmla="*/ 8379 h 10000"/>
                  <a:gd name="connsiteX40" fmla="*/ 5995 w 10000"/>
                  <a:gd name="connsiteY40" fmla="*/ 9177 h 10000"/>
                  <a:gd name="connsiteX41" fmla="*/ 5995 w 10000"/>
                  <a:gd name="connsiteY41" fmla="*/ 9576 h 10000"/>
                  <a:gd name="connsiteX42" fmla="*/ 4792 w 10000"/>
                  <a:gd name="connsiteY42" fmla="*/ 9576 h 10000"/>
                  <a:gd name="connsiteX43" fmla="*/ 4399 w 10000"/>
                  <a:gd name="connsiteY43" fmla="*/ 10000 h 10000"/>
                  <a:gd name="connsiteX44" fmla="*/ 4005 w 10000"/>
                  <a:gd name="connsiteY44" fmla="*/ 9576 h 10000"/>
                  <a:gd name="connsiteX45" fmla="*/ 3611 w 10000"/>
                  <a:gd name="connsiteY45" fmla="*/ 8803 h 10000"/>
                  <a:gd name="connsiteX46" fmla="*/ 2407 w 10000"/>
                  <a:gd name="connsiteY46" fmla="*/ 8803 h 10000"/>
                  <a:gd name="connsiteX47" fmla="*/ 1598 w 10000"/>
                  <a:gd name="connsiteY47" fmla="*/ 8803 h 10000"/>
                  <a:gd name="connsiteX48" fmla="*/ 394 w 10000"/>
                  <a:gd name="connsiteY48" fmla="*/ 8803 h 10000"/>
                  <a:gd name="connsiteX0" fmla="*/ 394 w 9190"/>
                  <a:gd name="connsiteY0" fmla="*/ 8803 h 10000"/>
                  <a:gd name="connsiteX1" fmla="*/ 394 w 9190"/>
                  <a:gd name="connsiteY1" fmla="*/ 8803 h 10000"/>
                  <a:gd name="connsiteX2" fmla="*/ 394 w 9190"/>
                  <a:gd name="connsiteY2" fmla="*/ 7980 h 10000"/>
                  <a:gd name="connsiteX3" fmla="*/ 1204 w 9190"/>
                  <a:gd name="connsiteY3" fmla="*/ 7606 h 10000"/>
                  <a:gd name="connsiteX4" fmla="*/ 811 w 9190"/>
                  <a:gd name="connsiteY4" fmla="*/ 6783 h 10000"/>
                  <a:gd name="connsiteX5" fmla="*/ 394 w 9190"/>
                  <a:gd name="connsiteY5" fmla="*/ 6409 h 10000"/>
                  <a:gd name="connsiteX6" fmla="*/ 0 w 9190"/>
                  <a:gd name="connsiteY6" fmla="*/ 5586 h 10000"/>
                  <a:gd name="connsiteX7" fmla="*/ 811 w 9190"/>
                  <a:gd name="connsiteY7" fmla="*/ 5985 h 10000"/>
                  <a:gd name="connsiteX8" fmla="*/ 3194 w 9190"/>
                  <a:gd name="connsiteY8" fmla="*/ 5586 h 10000"/>
                  <a:gd name="connsiteX9" fmla="*/ 3194 w 9190"/>
                  <a:gd name="connsiteY9" fmla="*/ 4788 h 10000"/>
                  <a:gd name="connsiteX10" fmla="*/ 3611 w 9190"/>
                  <a:gd name="connsiteY10" fmla="*/ 4389 h 10000"/>
                  <a:gd name="connsiteX11" fmla="*/ 5208 w 9190"/>
                  <a:gd name="connsiteY11" fmla="*/ 4015 h 10000"/>
                  <a:gd name="connsiteX12" fmla="*/ 5208 w 9190"/>
                  <a:gd name="connsiteY12" fmla="*/ 3192 h 10000"/>
                  <a:gd name="connsiteX13" fmla="*/ 5602 w 9190"/>
                  <a:gd name="connsiteY13" fmla="*/ 2818 h 10000"/>
                  <a:gd name="connsiteX14" fmla="*/ 5602 w 9190"/>
                  <a:gd name="connsiteY14" fmla="*/ 2394 h 10000"/>
                  <a:gd name="connsiteX15" fmla="*/ 5995 w 9190"/>
                  <a:gd name="connsiteY15" fmla="*/ 2394 h 10000"/>
                  <a:gd name="connsiteX16" fmla="*/ 6412 w 9190"/>
                  <a:gd name="connsiteY16" fmla="*/ 1621 h 10000"/>
                  <a:gd name="connsiteX17" fmla="*/ 6412 w 9190"/>
                  <a:gd name="connsiteY17" fmla="*/ 798 h 10000"/>
                  <a:gd name="connsiteX18" fmla="*/ 7200 w 9190"/>
                  <a:gd name="connsiteY18" fmla="*/ 424 h 10000"/>
                  <a:gd name="connsiteX19" fmla="*/ 8010 w 9190"/>
                  <a:gd name="connsiteY19" fmla="*/ 0 h 10000"/>
                  <a:gd name="connsiteX20" fmla="*/ 8403 w 9190"/>
                  <a:gd name="connsiteY20" fmla="*/ 0 h 10000"/>
                  <a:gd name="connsiteX21" fmla="*/ 9190 w 9190"/>
                  <a:gd name="connsiteY21" fmla="*/ 424 h 10000"/>
                  <a:gd name="connsiteX22" fmla="*/ 9190 w 9190"/>
                  <a:gd name="connsiteY22" fmla="*/ 1995 h 10000"/>
                  <a:gd name="connsiteX23" fmla="*/ 8403 w 9190"/>
                  <a:gd name="connsiteY23" fmla="*/ 1621 h 10000"/>
                  <a:gd name="connsiteX24" fmla="*/ 8010 w 9190"/>
                  <a:gd name="connsiteY24" fmla="*/ 1995 h 10000"/>
                  <a:gd name="connsiteX25" fmla="*/ 8403 w 9190"/>
                  <a:gd name="connsiteY25" fmla="*/ 2394 h 10000"/>
                  <a:gd name="connsiteX26" fmla="*/ 8010 w 9190"/>
                  <a:gd name="connsiteY26" fmla="*/ 3192 h 10000"/>
                  <a:gd name="connsiteX27" fmla="*/ 8796 w 9190"/>
                  <a:gd name="connsiteY27" fmla="*/ 3591 h 10000"/>
                  <a:gd name="connsiteX28" fmla="*/ 8796 w 9190"/>
                  <a:gd name="connsiteY28" fmla="*/ 4015 h 10000"/>
                  <a:gd name="connsiteX29" fmla="*/ 8403 w 9190"/>
                  <a:gd name="connsiteY29" fmla="*/ 4015 h 10000"/>
                  <a:gd name="connsiteX30" fmla="*/ 8796 w 9190"/>
                  <a:gd name="connsiteY30" fmla="*/ 4389 h 10000"/>
                  <a:gd name="connsiteX31" fmla="*/ 6806 w 9190"/>
                  <a:gd name="connsiteY31" fmla="*/ 6783 h 10000"/>
                  <a:gd name="connsiteX32" fmla="*/ 5995 w 9190"/>
                  <a:gd name="connsiteY32" fmla="*/ 7182 h 10000"/>
                  <a:gd name="connsiteX33" fmla="*/ 5602 w 9190"/>
                  <a:gd name="connsiteY33" fmla="*/ 6783 h 10000"/>
                  <a:gd name="connsiteX34" fmla="*/ 5208 w 9190"/>
                  <a:gd name="connsiteY34" fmla="*/ 7182 h 10000"/>
                  <a:gd name="connsiteX35" fmla="*/ 5208 w 9190"/>
                  <a:gd name="connsiteY35" fmla="*/ 7980 h 10000"/>
                  <a:gd name="connsiteX36" fmla="*/ 5602 w 9190"/>
                  <a:gd name="connsiteY36" fmla="*/ 7980 h 10000"/>
                  <a:gd name="connsiteX37" fmla="*/ 5602 w 9190"/>
                  <a:gd name="connsiteY37" fmla="*/ 8379 h 10000"/>
                  <a:gd name="connsiteX38" fmla="*/ 5995 w 9190"/>
                  <a:gd name="connsiteY38" fmla="*/ 8379 h 10000"/>
                  <a:gd name="connsiteX39" fmla="*/ 5995 w 9190"/>
                  <a:gd name="connsiteY39" fmla="*/ 9177 h 10000"/>
                  <a:gd name="connsiteX40" fmla="*/ 5995 w 9190"/>
                  <a:gd name="connsiteY40" fmla="*/ 9576 h 10000"/>
                  <a:gd name="connsiteX41" fmla="*/ 4792 w 9190"/>
                  <a:gd name="connsiteY41" fmla="*/ 9576 h 10000"/>
                  <a:gd name="connsiteX42" fmla="*/ 4399 w 9190"/>
                  <a:gd name="connsiteY42" fmla="*/ 10000 h 10000"/>
                  <a:gd name="connsiteX43" fmla="*/ 4005 w 9190"/>
                  <a:gd name="connsiteY43" fmla="*/ 9576 h 10000"/>
                  <a:gd name="connsiteX44" fmla="*/ 3611 w 9190"/>
                  <a:gd name="connsiteY44" fmla="*/ 8803 h 10000"/>
                  <a:gd name="connsiteX45" fmla="*/ 2407 w 9190"/>
                  <a:gd name="connsiteY45" fmla="*/ 8803 h 10000"/>
                  <a:gd name="connsiteX46" fmla="*/ 1598 w 9190"/>
                  <a:gd name="connsiteY46" fmla="*/ 8803 h 10000"/>
                  <a:gd name="connsiteX47" fmla="*/ 394 w 9190"/>
                  <a:gd name="connsiteY47" fmla="*/ 8803 h 10000"/>
                  <a:gd name="connsiteX0" fmla="*/ 429 w 10000"/>
                  <a:gd name="connsiteY0" fmla="*/ 8803 h 10000"/>
                  <a:gd name="connsiteX1" fmla="*/ 429 w 10000"/>
                  <a:gd name="connsiteY1" fmla="*/ 8803 h 10000"/>
                  <a:gd name="connsiteX2" fmla="*/ 429 w 10000"/>
                  <a:gd name="connsiteY2" fmla="*/ 7980 h 10000"/>
                  <a:gd name="connsiteX3" fmla="*/ 1310 w 10000"/>
                  <a:gd name="connsiteY3" fmla="*/ 7606 h 10000"/>
                  <a:gd name="connsiteX4" fmla="*/ 882 w 10000"/>
                  <a:gd name="connsiteY4" fmla="*/ 6783 h 10000"/>
                  <a:gd name="connsiteX5" fmla="*/ 429 w 10000"/>
                  <a:gd name="connsiteY5" fmla="*/ 6409 h 10000"/>
                  <a:gd name="connsiteX6" fmla="*/ 0 w 10000"/>
                  <a:gd name="connsiteY6" fmla="*/ 5586 h 10000"/>
                  <a:gd name="connsiteX7" fmla="*/ 882 w 10000"/>
                  <a:gd name="connsiteY7" fmla="*/ 5985 h 10000"/>
                  <a:gd name="connsiteX8" fmla="*/ 3476 w 10000"/>
                  <a:gd name="connsiteY8" fmla="*/ 5586 h 10000"/>
                  <a:gd name="connsiteX9" fmla="*/ 3476 w 10000"/>
                  <a:gd name="connsiteY9" fmla="*/ 4788 h 10000"/>
                  <a:gd name="connsiteX10" fmla="*/ 3929 w 10000"/>
                  <a:gd name="connsiteY10" fmla="*/ 4389 h 10000"/>
                  <a:gd name="connsiteX11" fmla="*/ 5667 w 10000"/>
                  <a:gd name="connsiteY11" fmla="*/ 4015 h 10000"/>
                  <a:gd name="connsiteX12" fmla="*/ 5667 w 10000"/>
                  <a:gd name="connsiteY12" fmla="*/ 3192 h 10000"/>
                  <a:gd name="connsiteX13" fmla="*/ 6096 w 10000"/>
                  <a:gd name="connsiteY13" fmla="*/ 2818 h 10000"/>
                  <a:gd name="connsiteX14" fmla="*/ 6096 w 10000"/>
                  <a:gd name="connsiteY14" fmla="*/ 2394 h 10000"/>
                  <a:gd name="connsiteX15" fmla="*/ 6523 w 10000"/>
                  <a:gd name="connsiteY15" fmla="*/ 2394 h 10000"/>
                  <a:gd name="connsiteX16" fmla="*/ 6977 w 10000"/>
                  <a:gd name="connsiteY16" fmla="*/ 1621 h 10000"/>
                  <a:gd name="connsiteX17" fmla="*/ 6977 w 10000"/>
                  <a:gd name="connsiteY17" fmla="*/ 798 h 10000"/>
                  <a:gd name="connsiteX18" fmla="*/ 7835 w 10000"/>
                  <a:gd name="connsiteY18" fmla="*/ 424 h 10000"/>
                  <a:gd name="connsiteX19" fmla="*/ 8716 w 10000"/>
                  <a:gd name="connsiteY19" fmla="*/ 0 h 10000"/>
                  <a:gd name="connsiteX20" fmla="*/ 9144 w 10000"/>
                  <a:gd name="connsiteY20" fmla="*/ 0 h 10000"/>
                  <a:gd name="connsiteX21" fmla="*/ 10000 w 10000"/>
                  <a:gd name="connsiteY21" fmla="*/ 424 h 10000"/>
                  <a:gd name="connsiteX22" fmla="*/ 9144 w 10000"/>
                  <a:gd name="connsiteY22" fmla="*/ 1621 h 10000"/>
                  <a:gd name="connsiteX23" fmla="*/ 8716 w 10000"/>
                  <a:gd name="connsiteY23" fmla="*/ 1995 h 10000"/>
                  <a:gd name="connsiteX24" fmla="*/ 9144 w 10000"/>
                  <a:gd name="connsiteY24" fmla="*/ 2394 h 10000"/>
                  <a:gd name="connsiteX25" fmla="*/ 8716 w 10000"/>
                  <a:gd name="connsiteY25" fmla="*/ 3192 h 10000"/>
                  <a:gd name="connsiteX26" fmla="*/ 9571 w 10000"/>
                  <a:gd name="connsiteY26" fmla="*/ 3591 h 10000"/>
                  <a:gd name="connsiteX27" fmla="*/ 9571 w 10000"/>
                  <a:gd name="connsiteY27" fmla="*/ 4015 h 10000"/>
                  <a:gd name="connsiteX28" fmla="*/ 9144 w 10000"/>
                  <a:gd name="connsiteY28" fmla="*/ 4015 h 10000"/>
                  <a:gd name="connsiteX29" fmla="*/ 9571 w 10000"/>
                  <a:gd name="connsiteY29" fmla="*/ 4389 h 10000"/>
                  <a:gd name="connsiteX30" fmla="*/ 7406 w 10000"/>
                  <a:gd name="connsiteY30" fmla="*/ 6783 h 10000"/>
                  <a:gd name="connsiteX31" fmla="*/ 6523 w 10000"/>
                  <a:gd name="connsiteY31" fmla="*/ 7182 h 10000"/>
                  <a:gd name="connsiteX32" fmla="*/ 6096 w 10000"/>
                  <a:gd name="connsiteY32" fmla="*/ 6783 h 10000"/>
                  <a:gd name="connsiteX33" fmla="*/ 5667 w 10000"/>
                  <a:gd name="connsiteY33" fmla="*/ 7182 h 10000"/>
                  <a:gd name="connsiteX34" fmla="*/ 5667 w 10000"/>
                  <a:gd name="connsiteY34" fmla="*/ 7980 h 10000"/>
                  <a:gd name="connsiteX35" fmla="*/ 6096 w 10000"/>
                  <a:gd name="connsiteY35" fmla="*/ 7980 h 10000"/>
                  <a:gd name="connsiteX36" fmla="*/ 6096 w 10000"/>
                  <a:gd name="connsiteY36" fmla="*/ 8379 h 10000"/>
                  <a:gd name="connsiteX37" fmla="*/ 6523 w 10000"/>
                  <a:gd name="connsiteY37" fmla="*/ 8379 h 10000"/>
                  <a:gd name="connsiteX38" fmla="*/ 6523 w 10000"/>
                  <a:gd name="connsiteY38" fmla="*/ 9177 h 10000"/>
                  <a:gd name="connsiteX39" fmla="*/ 6523 w 10000"/>
                  <a:gd name="connsiteY39" fmla="*/ 9576 h 10000"/>
                  <a:gd name="connsiteX40" fmla="*/ 5214 w 10000"/>
                  <a:gd name="connsiteY40" fmla="*/ 9576 h 10000"/>
                  <a:gd name="connsiteX41" fmla="*/ 4787 w 10000"/>
                  <a:gd name="connsiteY41" fmla="*/ 10000 h 10000"/>
                  <a:gd name="connsiteX42" fmla="*/ 4358 w 10000"/>
                  <a:gd name="connsiteY42" fmla="*/ 9576 h 10000"/>
                  <a:gd name="connsiteX43" fmla="*/ 3929 w 10000"/>
                  <a:gd name="connsiteY43" fmla="*/ 8803 h 10000"/>
                  <a:gd name="connsiteX44" fmla="*/ 2619 w 10000"/>
                  <a:gd name="connsiteY44" fmla="*/ 8803 h 10000"/>
                  <a:gd name="connsiteX45" fmla="*/ 1739 w 10000"/>
                  <a:gd name="connsiteY45" fmla="*/ 8803 h 10000"/>
                  <a:gd name="connsiteX46" fmla="*/ 429 w 10000"/>
                  <a:gd name="connsiteY46" fmla="*/ 8803 h 10000"/>
                  <a:gd name="connsiteX0" fmla="*/ 429 w 9571"/>
                  <a:gd name="connsiteY0" fmla="*/ 8803 h 10000"/>
                  <a:gd name="connsiteX1" fmla="*/ 429 w 9571"/>
                  <a:gd name="connsiteY1" fmla="*/ 8803 h 10000"/>
                  <a:gd name="connsiteX2" fmla="*/ 429 w 9571"/>
                  <a:gd name="connsiteY2" fmla="*/ 7980 h 10000"/>
                  <a:gd name="connsiteX3" fmla="*/ 1310 w 9571"/>
                  <a:gd name="connsiteY3" fmla="*/ 7606 h 10000"/>
                  <a:gd name="connsiteX4" fmla="*/ 882 w 9571"/>
                  <a:gd name="connsiteY4" fmla="*/ 6783 h 10000"/>
                  <a:gd name="connsiteX5" fmla="*/ 429 w 9571"/>
                  <a:gd name="connsiteY5" fmla="*/ 6409 h 10000"/>
                  <a:gd name="connsiteX6" fmla="*/ 0 w 9571"/>
                  <a:gd name="connsiteY6" fmla="*/ 5586 h 10000"/>
                  <a:gd name="connsiteX7" fmla="*/ 882 w 9571"/>
                  <a:gd name="connsiteY7" fmla="*/ 5985 h 10000"/>
                  <a:gd name="connsiteX8" fmla="*/ 3476 w 9571"/>
                  <a:gd name="connsiteY8" fmla="*/ 5586 h 10000"/>
                  <a:gd name="connsiteX9" fmla="*/ 3476 w 9571"/>
                  <a:gd name="connsiteY9" fmla="*/ 4788 h 10000"/>
                  <a:gd name="connsiteX10" fmla="*/ 3929 w 9571"/>
                  <a:gd name="connsiteY10" fmla="*/ 4389 h 10000"/>
                  <a:gd name="connsiteX11" fmla="*/ 5667 w 9571"/>
                  <a:gd name="connsiteY11" fmla="*/ 4015 h 10000"/>
                  <a:gd name="connsiteX12" fmla="*/ 5667 w 9571"/>
                  <a:gd name="connsiteY12" fmla="*/ 3192 h 10000"/>
                  <a:gd name="connsiteX13" fmla="*/ 6096 w 9571"/>
                  <a:gd name="connsiteY13" fmla="*/ 2818 h 10000"/>
                  <a:gd name="connsiteX14" fmla="*/ 6096 w 9571"/>
                  <a:gd name="connsiteY14" fmla="*/ 2394 h 10000"/>
                  <a:gd name="connsiteX15" fmla="*/ 6523 w 9571"/>
                  <a:gd name="connsiteY15" fmla="*/ 2394 h 10000"/>
                  <a:gd name="connsiteX16" fmla="*/ 6977 w 9571"/>
                  <a:gd name="connsiteY16" fmla="*/ 1621 h 10000"/>
                  <a:gd name="connsiteX17" fmla="*/ 6977 w 9571"/>
                  <a:gd name="connsiteY17" fmla="*/ 798 h 10000"/>
                  <a:gd name="connsiteX18" fmla="*/ 7835 w 9571"/>
                  <a:gd name="connsiteY18" fmla="*/ 424 h 10000"/>
                  <a:gd name="connsiteX19" fmla="*/ 8716 w 9571"/>
                  <a:gd name="connsiteY19" fmla="*/ 0 h 10000"/>
                  <a:gd name="connsiteX20" fmla="*/ 9144 w 9571"/>
                  <a:gd name="connsiteY20" fmla="*/ 0 h 10000"/>
                  <a:gd name="connsiteX21" fmla="*/ 9144 w 9571"/>
                  <a:gd name="connsiteY21" fmla="*/ 1621 h 10000"/>
                  <a:gd name="connsiteX22" fmla="*/ 8716 w 9571"/>
                  <a:gd name="connsiteY22" fmla="*/ 1995 h 10000"/>
                  <a:gd name="connsiteX23" fmla="*/ 9144 w 9571"/>
                  <a:gd name="connsiteY23" fmla="*/ 2394 h 10000"/>
                  <a:gd name="connsiteX24" fmla="*/ 8716 w 9571"/>
                  <a:gd name="connsiteY24" fmla="*/ 3192 h 10000"/>
                  <a:gd name="connsiteX25" fmla="*/ 9571 w 9571"/>
                  <a:gd name="connsiteY25" fmla="*/ 3591 h 10000"/>
                  <a:gd name="connsiteX26" fmla="*/ 9571 w 9571"/>
                  <a:gd name="connsiteY26" fmla="*/ 4015 h 10000"/>
                  <a:gd name="connsiteX27" fmla="*/ 9144 w 9571"/>
                  <a:gd name="connsiteY27" fmla="*/ 4015 h 10000"/>
                  <a:gd name="connsiteX28" fmla="*/ 9571 w 9571"/>
                  <a:gd name="connsiteY28" fmla="*/ 4389 h 10000"/>
                  <a:gd name="connsiteX29" fmla="*/ 7406 w 9571"/>
                  <a:gd name="connsiteY29" fmla="*/ 6783 h 10000"/>
                  <a:gd name="connsiteX30" fmla="*/ 6523 w 9571"/>
                  <a:gd name="connsiteY30" fmla="*/ 7182 h 10000"/>
                  <a:gd name="connsiteX31" fmla="*/ 6096 w 9571"/>
                  <a:gd name="connsiteY31" fmla="*/ 6783 h 10000"/>
                  <a:gd name="connsiteX32" fmla="*/ 5667 w 9571"/>
                  <a:gd name="connsiteY32" fmla="*/ 7182 h 10000"/>
                  <a:gd name="connsiteX33" fmla="*/ 5667 w 9571"/>
                  <a:gd name="connsiteY33" fmla="*/ 7980 h 10000"/>
                  <a:gd name="connsiteX34" fmla="*/ 6096 w 9571"/>
                  <a:gd name="connsiteY34" fmla="*/ 7980 h 10000"/>
                  <a:gd name="connsiteX35" fmla="*/ 6096 w 9571"/>
                  <a:gd name="connsiteY35" fmla="*/ 8379 h 10000"/>
                  <a:gd name="connsiteX36" fmla="*/ 6523 w 9571"/>
                  <a:gd name="connsiteY36" fmla="*/ 8379 h 10000"/>
                  <a:gd name="connsiteX37" fmla="*/ 6523 w 9571"/>
                  <a:gd name="connsiteY37" fmla="*/ 9177 h 10000"/>
                  <a:gd name="connsiteX38" fmla="*/ 6523 w 9571"/>
                  <a:gd name="connsiteY38" fmla="*/ 9576 h 10000"/>
                  <a:gd name="connsiteX39" fmla="*/ 5214 w 9571"/>
                  <a:gd name="connsiteY39" fmla="*/ 9576 h 10000"/>
                  <a:gd name="connsiteX40" fmla="*/ 4787 w 9571"/>
                  <a:gd name="connsiteY40" fmla="*/ 10000 h 10000"/>
                  <a:gd name="connsiteX41" fmla="*/ 4358 w 9571"/>
                  <a:gd name="connsiteY41" fmla="*/ 9576 h 10000"/>
                  <a:gd name="connsiteX42" fmla="*/ 3929 w 9571"/>
                  <a:gd name="connsiteY42" fmla="*/ 8803 h 10000"/>
                  <a:gd name="connsiteX43" fmla="*/ 2619 w 9571"/>
                  <a:gd name="connsiteY43" fmla="*/ 8803 h 10000"/>
                  <a:gd name="connsiteX44" fmla="*/ 1739 w 9571"/>
                  <a:gd name="connsiteY44" fmla="*/ 8803 h 10000"/>
                  <a:gd name="connsiteX45" fmla="*/ 429 w 9571"/>
                  <a:gd name="connsiteY45" fmla="*/ 8803 h 10000"/>
                  <a:gd name="connsiteX0" fmla="*/ 448 w 10000"/>
                  <a:gd name="connsiteY0" fmla="*/ 8803 h 10000"/>
                  <a:gd name="connsiteX1" fmla="*/ 448 w 10000"/>
                  <a:gd name="connsiteY1" fmla="*/ 8803 h 10000"/>
                  <a:gd name="connsiteX2" fmla="*/ 448 w 10000"/>
                  <a:gd name="connsiteY2" fmla="*/ 7980 h 10000"/>
                  <a:gd name="connsiteX3" fmla="*/ 1369 w 10000"/>
                  <a:gd name="connsiteY3" fmla="*/ 7606 h 10000"/>
                  <a:gd name="connsiteX4" fmla="*/ 922 w 10000"/>
                  <a:gd name="connsiteY4" fmla="*/ 6783 h 10000"/>
                  <a:gd name="connsiteX5" fmla="*/ 448 w 10000"/>
                  <a:gd name="connsiteY5" fmla="*/ 6409 h 10000"/>
                  <a:gd name="connsiteX6" fmla="*/ 0 w 10000"/>
                  <a:gd name="connsiteY6" fmla="*/ 5586 h 10000"/>
                  <a:gd name="connsiteX7" fmla="*/ 922 w 10000"/>
                  <a:gd name="connsiteY7" fmla="*/ 5985 h 10000"/>
                  <a:gd name="connsiteX8" fmla="*/ 3632 w 10000"/>
                  <a:gd name="connsiteY8" fmla="*/ 5586 h 10000"/>
                  <a:gd name="connsiteX9" fmla="*/ 3632 w 10000"/>
                  <a:gd name="connsiteY9" fmla="*/ 4788 h 10000"/>
                  <a:gd name="connsiteX10" fmla="*/ 4105 w 10000"/>
                  <a:gd name="connsiteY10" fmla="*/ 4389 h 10000"/>
                  <a:gd name="connsiteX11" fmla="*/ 5921 w 10000"/>
                  <a:gd name="connsiteY11" fmla="*/ 4015 h 10000"/>
                  <a:gd name="connsiteX12" fmla="*/ 5921 w 10000"/>
                  <a:gd name="connsiteY12" fmla="*/ 3192 h 10000"/>
                  <a:gd name="connsiteX13" fmla="*/ 6369 w 10000"/>
                  <a:gd name="connsiteY13" fmla="*/ 2818 h 10000"/>
                  <a:gd name="connsiteX14" fmla="*/ 6369 w 10000"/>
                  <a:gd name="connsiteY14" fmla="*/ 2394 h 10000"/>
                  <a:gd name="connsiteX15" fmla="*/ 6815 w 10000"/>
                  <a:gd name="connsiteY15" fmla="*/ 2394 h 10000"/>
                  <a:gd name="connsiteX16" fmla="*/ 7290 w 10000"/>
                  <a:gd name="connsiteY16" fmla="*/ 1621 h 10000"/>
                  <a:gd name="connsiteX17" fmla="*/ 7290 w 10000"/>
                  <a:gd name="connsiteY17" fmla="*/ 798 h 10000"/>
                  <a:gd name="connsiteX18" fmla="*/ 8186 w 10000"/>
                  <a:gd name="connsiteY18" fmla="*/ 424 h 10000"/>
                  <a:gd name="connsiteX19" fmla="*/ 9107 w 10000"/>
                  <a:gd name="connsiteY19" fmla="*/ 0 h 10000"/>
                  <a:gd name="connsiteX20" fmla="*/ 9554 w 10000"/>
                  <a:gd name="connsiteY20" fmla="*/ 0 h 10000"/>
                  <a:gd name="connsiteX21" fmla="*/ 8652 w 10000"/>
                  <a:gd name="connsiteY21" fmla="*/ 800 h 10000"/>
                  <a:gd name="connsiteX22" fmla="*/ 9554 w 10000"/>
                  <a:gd name="connsiteY22" fmla="*/ 1621 h 10000"/>
                  <a:gd name="connsiteX23" fmla="*/ 9107 w 10000"/>
                  <a:gd name="connsiteY23" fmla="*/ 1995 h 10000"/>
                  <a:gd name="connsiteX24" fmla="*/ 9554 w 10000"/>
                  <a:gd name="connsiteY24" fmla="*/ 2394 h 10000"/>
                  <a:gd name="connsiteX25" fmla="*/ 9107 w 10000"/>
                  <a:gd name="connsiteY25" fmla="*/ 3192 h 10000"/>
                  <a:gd name="connsiteX26" fmla="*/ 10000 w 10000"/>
                  <a:gd name="connsiteY26" fmla="*/ 3591 h 10000"/>
                  <a:gd name="connsiteX27" fmla="*/ 10000 w 10000"/>
                  <a:gd name="connsiteY27" fmla="*/ 4015 h 10000"/>
                  <a:gd name="connsiteX28" fmla="*/ 9554 w 10000"/>
                  <a:gd name="connsiteY28" fmla="*/ 4015 h 10000"/>
                  <a:gd name="connsiteX29" fmla="*/ 10000 w 10000"/>
                  <a:gd name="connsiteY29" fmla="*/ 4389 h 10000"/>
                  <a:gd name="connsiteX30" fmla="*/ 7738 w 10000"/>
                  <a:gd name="connsiteY30" fmla="*/ 6783 h 10000"/>
                  <a:gd name="connsiteX31" fmla="*/ 6815 w 10000"/>
                  <a:gd name="connsiteY31" fmla="*/ 7182 h 10000"/>
                  <a:gd name="connsiteX32" fmla="*/ 6369 w 10000"/>
                  <a:gd name="connsiteY32" fmla="*/ 6783 h 10000"/>
                  <a:gd name="connsiteX33" fmla="*/ 5921 w 10000"/>
                  <a:gd name="connsiteY33" fmla="*/ 7182 h 10000"/>
                  <a:gd name="connsiteX34" fmla="*/ 5921 w 10000"/>
                  <a:gd name="connsiteY34" fmla="*/ 7980 h 10000"/>
                  <a:gd name="connsiteX35" fmla="*/ 6369 w 10000"/>
                  <a:gd name="connsiteY35" fmla="*/ 7980 h 10000"/>
                  <a:gd name="connsiteX36" fmla="*/ 6369 w 10000"/>
                  <a:gd name="connsiteY36" fmla="*/ 8379 h 10000"/>
                  <a:gd name="connsiteX37" fmla="*/ 6815 w 10000"/>
                  <a:gd name="connsiteY37" fmla="*/ 8379 h 10000"/>
                  <a:gd name="connsiteX38" fmla="*/ 6815 w 10000"/>
                  <a:gd name="connsiteY38" fmla="*/ 9177 h 10000"/>
                  <a:gd name="connsiteX39" fmla="*/ 6815 w 10000"/>
                  <a:gd name="connsiteY39" fmla="*/ 9576 h 10000"/>
                  <a:gd name="connsiteX40" fmla="*/ 5448 w 10000"/>
                  <a:gd name="connsiteY40" fmla="*/ 9576 h 10000"/>
                  <a:gd name="connsiteX41" fmla="*/ 5002 w 10000"/>
                  <a:gd name="connsiteY41" fmla="*/ 10000 h 10000"/>
                  <a:gd name="connsiteX42" fmla="*/ 4553 w 10000"/>
                  <a:gd name="connsiteY42" fmla="*/ 9576 h 10000"/>
                  <a:gd name="connsiteX43" fmla="*/ 4105 w 10000"/>
                  <a:gd name="connsiteY43" fmla="*/ 8803 h 10000"/>
                  <a:gd name="connsiteX44" fmla="*/ 2736 w 10000"/>
                  <a:gd name="connsiteY44" fmla="*/ 8803 h 10000"/>
                  <a:gd name="connsiteX45" fmla="*/ 1817 w 10000"/>
                  <a:gd name="connsiteY45" fmla="*/ 8803 h 10000"/>
                  <a:gd name="connsiteX46" fmla="*/ 448 w 10000"/>
                  <a:gd name="connsiteY46" fmla="*/ 8803 h 10000"/>
                  <a:gd name="connsiteX0" fmla="*/ 448 w 10023"/>
                  <a:gd name="connsiteY0" fmla="*/ 8803 h 10000"/>
                  <a:gd name="connsiteX1" fmla="*/ 448 w 10023"/>
                  <a:gd name="connsiteY1" fmla="*/ 8803 h 10000"/>
                  <a:gd name="connsiteX2" fmla="*/ 448 w 10023"/>
                  <a:gd name="connsiteY2" fmla="*/ 7980 h 10000"/>
                  <a:gd name="connsiteX3" fmla="*/ 1369 w 10023"/>
                  <a:gd name="connsiteY3" fmla="*/ 7606 h 10000"/>
                  <a:gd name="connsiteX4" fmla="*/ 922 w 10023"/>
                  <a:gd name="connsiteY4" fmla="*/ 6783 h 10000"/>
                  <a:gd name="connsiteX5" fmla="*/ 448 w 10023"/>
                  <a:gd name="connsiteY5" fmla="*/ 6409 h 10000"/>
                  <a:gd name="connsiteX6" fmla="*/ 0 w 10023"/>
                  <a:gd name="connsiteY6" fmla="*/ 5586 h 10000"/>
                  <a:gd name="connsiteX7" fmla="*/ 922 w 10023"/>
                  <a:gd name="connsiteY7" fmla="*/ 5985 h 10000"/>
                  <a:gd name="connsiteX8" fmla="*/ 3632 w 10023"/>
                  <a:gd name="connsiteY8" fmla="*/ 5586 h 10000"/>
                  <a:gd name="connsiteX9" fmla="*/ 3632 w 10023"/>
                  <a:gd name="connsiteY9" fmla="*/ 4788 h 10000"/>
                  <a:gd name="connsiteX10" fmla="*/ 4105 w 10023"/>
                  <a:gd name="connsiteY10" fmla="*/ 4389 h 10000"/>
                  <a:gd name="connsiteX11" fmla="*/ 5921 w 10023"/>
                  <a:gd name="connsiteY11" fmla="*/ 4015 h 10000"/>
                  <a:gd name="connsiteX12" fmla="*/ 5921 w 10023"/>
                  <a:gd name="connsiteY12" fmla="*/ 3192 h 10000"/>
                  <a:gd name="connsiteX13" fmla="*/ 6369 w 10023"/>
                  <a:gd name="connsiteY13" fmla="*/ 2818 h 10000"/>
                  <a:gd name="connsiteX14" fmla="*/ 6369 w 10023"/>
                  <a:gd name="connsiteY14" fmla="*/ 2394 h 10000"/>
                  <a:gd name="connsiteX15" fmla="*/ 6815 w 10023"/>
                  <a:gd name="connsiteY15" fmla="*/ 2394 h 10000"/>
                  <a:gd name="connsiteX16" fmla="*/ 7290 w 10023"/>
                  <a:gd name="connsiteY16" fmla="*/ 1621 h 10000"/>
                  <a:gd name="connsiteX17" fmla="*/ 7290 w 10023"/>
                  <a:gd name="connsiteY17" fmla="*/ 798 h 10000"/>
                  <a:gd name="connsiteX18" fmla="*/ 8186 w 10023"/>
                  <a:gd name="connsiteY18" fmla="*/ 424 h 10000"/>
                  <a:gd name="connsiteX19" fmla="*/ 9107 w 10023"/>
                  <a:gd name="connsiteY19" fmla="*/ 0 h 10000"/>
                  <a:gd name="connsiteX20" fmla="*/ 9554 w 10023"/>
                  <a:gd name="connsiteY20" fmla="*/ 0 h 10000"/>
                  <a:gd name="connsiteX21" fmla="*/ 8652 w 10023"/>
                  <a:gd name="connsiteY21" fmla="*/ 800 h 10000"/>
                  <a:gd name="connsiteX22" fmla="*/ 9554 w 10023"/>
                  <a:gd name="connsiteY22" fmla="*/ 1621 h 10000"/>
                  <a:gd name="connsiteX23" fmla="*/ 9107 w 10023"/>
                  <a:gd name="connsiteY23" fmla="*/ 1995 h 10000"/>
                  <a:gd name="connsiteX24" fmla="*/ 9554 w 10023"/>
                  <a:gd name="connsiteY24" fmla="*/ 2394 h 10000"/>
                  <a:gd name="connsiteX25" fmla="*/ 10023 w 10023"/>
                  <a:gd name="connsiteY25" fmla="*/ 2850 h 10000"/>
                  <a:gd name="connsiteX26" fmla="*/ 10000 w 10023"/>
                  <a:gd name="connsiteY26" fmla="*/ 3591 h 10000"/>
                  <a:gd name="connsiteX27" fmla="*/ 10000 w 10023"/>
                  <a:gd name="connsiteY27" fmla="*/ 4015 h 10000"/>
                  <a:gd name="connsiteX28" fmla="*/ 9554 w 10023"/>
                  <a:gd name="connsiteY28" fmla="*/ 4015 h 10000"/>
                  <a:gd name="connsiteX29" fmla="*/ 10000 w 10023"/>
                  <a:gd name="connsiteY29" fmla="*/ 4389 h 10000"/>
                  <a:gd name="connsiteX30" fmla="*/ 7738 w 10023"/>
                  <a:gd name="connsiteY30" fmla="*/ 6783 h 10000"/>
                  <a:gd name="connsiteX31" fmla="*/ 6815 w 10023"/>
                  <a:gd name="connsiteY31" fmla="*/ 7182 h 10000"/>
                  <a:gd name="connsiteX32" fmla="*/ 6369 w 10023"/>
                  <a:gd name="connsiteY32" fmla="*/ 6783 h 10000"/>
                  <a:gd name="connsiteX33" fmla="*/ 5921 w 10023"/>
                  <a:gd name="connsiteY33" fmla="*/ 7182 h 10000"/>
                  <a:gd name="connsiteX34" fmla="*/ 5921 w 10023"/>
                  <a:gd name="connsiteY34" fmla="*/ 7980 h 10000"/>
                  <a:gd name="connsiteX35" fmla="*/ 6369 w 10023"/>
                  <a:gd name="connsiteY35" fmla="*/ 7980 h 10000"/>
                  <a:gd name="connsiteX36" fmla="*/ 6369 w 10023"/>
                  <a:gd name="connsiteY36" fmla="*/ 8379 h 10000"/>
                  <a:gd name="connsiteX37" fmla="*/ 6815 w 10023"/>
                  <a:gd name="connsiteY37" fmla="*/ 8379 h 10000"/>
                  <a:gd name="connsiteX38" fmla="*/ 6815 w 10023"/>
                  <a:gd name="connsiteY38" fmla="*/ 9177 h 10000"/>
                  <a:gd name="connsiteX39" fmla="*/ 6815 w 10023"/>
                  <a:gd name="connsiteY39" fmla="*/ 9576 h 10000"/>
                  <a:gd name="connsiteX40" fmla="*/ 5448 w 10023"/>
                  <a:gd name="connsiteY40" fmla="*/ 9576 h 10000"/>
                  <a:gd name="connsiteX41" fmla="*/ 5002 w 10023"/>
                  <a:gd name="connsiteY41" fmla="*/ 10000 h 10000"/>
                  <a:gd name="connsiteX42" fmla="*/ 4553 w 10023"/>
                  <a:gd name="connsiteY42" fmla="*/ 9576 h 10000"/>
                  <a:gd name="connsiteX43" fmla="*/ 4105 w 10023"/>
                  <a:gd name="connsiteY43" fmla="*/ 8803 h 10000"/>
                  <a:gd name="connsiteX44" fmla="*/ 2736 w 10023"/>
                  <a:gd name="connsiteY44" fmla="*/ 8803 h 10000"/>
                  <a:gd name="connsiteX45" fmla="*/ 1817 w 10023"/>
                  <a:gd name="connsiteY45" fmla="*/ 8803 h 10000"/>
                  <a:gd name="connsiteX46" fmla="*/ 448 w 10023"/>
                  <a:gd name="connsiteY46" fmla="*/ 8803 h 10000"/>
                  <a:gd name="connsiteX0" fmla="*/ 448 w 10023"/>
                  <a:gd name="connsiteY0" fmla="*/ 8803 h 10000"/>
                  <a:gd name="connsiteX1" fmla="*/ 448 w 10023"/>
                  <a:gd name="connsiteY1" fmla="*/ 8803 h 10000"/>
                  <a:gd name="connsiteX2" fmla="*/ 448 w 10023"/>
                  <a:gd name="connsiteY2" fmla="*/ 7980 h 10000"/>
                  <a:gd name="connsiteX3" fmla="*/ 1369 w 10023"/>
                  <a:gd name="connsiteY3" fmla="*/ 7606 h 10000"/>
                  <a:gd name="connsiteX4" fmla="*/ 922 w 10023"/>
                  <a:gd name="connsiteY4" fmla="*/ 6783 h 10000"/>
                  <a:gd name="connsiteX5" fmla="*/ 448 w 10023"/>
                  <a:gd name="connsiteY5" fmla="*/ 6409 h 10000"/>
                  <a:gd name="connsiteX6" fmla="*/ 0 w 10023"/>
                  <a:gd name="connsiteY6" fmla="*/ 5586 h 10000"/>
                  <a:gd name="connsiteX7" fmla="*/ 922 w 10023"/>
                  <a:gd name="connsiteY7" fmla="*/ 5985 h 10000"/>
                  <a:gd name="connsiteX8" fmla="*/ 3632 w 10023"/>
                  <a:gd name="connsiteY8" fmla="*/ 5586 h 10000"/>
                  <a:gd name="connsiteX9" fmla="*/ 3632 w 10023"/>
                  <a:gd name="connsiteY9" fmla="*/ 4788 h 10000"/>
                  <a:gd name="connsiteX10" fmla="*/ 4105 w 10023"/>
                  <a:gd name="connsiteY10" fmla="*/ 4389 h 10000"/>
                  <a:gd name="connsiteX11" fmla="*/ 5921 w 10023"/>
                  <a:gd name="connsiteY11" fmla="*/ 4015 h 10000"/>
                  <a:gd name="connsiteX12" fmla="*/ 5921 w 10023"/>
                  <a:gd name="connsiteY12" fmla="*/ 3192 h 10000"/>
                  <a:gd name="connsiteX13" fmla="*/ 6369 w 10023"/>
                  <a:gd name="connsiteY13" fmla="*/ 2818 h 10000"/>
                  <a:gd name="connsiteX14" fmla="*/ 6369 w 10023"/>
                  <a:gd name="connsiteY14" fmla="*/ 2394 h 10000"/>
                  <a:gd name="connsiteX15" fmla="*/ 6815 w 10023"/>
                  <a:gd name="connsiteY15" fmla="*/ 2394 h 10000"/>
                  <a:gd name="connsiteX16" fmla="*/ 7290 w 10023"/>
                  <a:gd name="connsiteY16" fmla="*/ 1621 h 10000"/>
                  <a:gd name="connsiteX17" fmla="*/ 7290 w 10023"/>
                  <a:gd name="connsiteY17" fmla="*/ 798 h 10000"/>
                  <a:gd name="connsiteX18" fmla="*/ 8186 w 10023"/>
                  <a:gd name="connsiteY18" fmla="*/ 424 h 10000"/>
                  <a:gd name="connsiteX19" fmla="*/ 9107 w 10023"/>
                  <a:gd name="connsiteY19" fmla="*/ 0 h 10000"/>
                  <a:gd name="connsiteX20" fmla="*/ 9554 w 10023"/>
                  <a:gd name="connsiteY20" fmla="*/ 0 h 10000"/>
                  <a:gd name="connsiteX21" fmla="*/ 8652 w 10023"/>
                  <a:gd name="connsiteY21" fmla="*/ 800 h 10000"/>
                  <a:gd name="connsiteX22" fmla="*/ 9554 w 10023"/>
                  <a:gd name="connsiteY22" fmla="*/ 1621 h 10000"/>
                  <a:gd name="connsiteX23" fmla="*/ 9107 w 10023"/>
                  <a:gd name="connsiteY23" fmla="*/ 1995 h 10000"/>
                  <a:gd name="connsiteX24" fmla="*/ 9554 w 10023"/>
                  <a:gd name="connsiteY24" fmla="*/ 2394 h 10000"/>
                  <a:gd name="connsiteX25" fmla="*/ 10023 w 10023"/>
                  <a:gd name="connsiteY25" fmla="*/ 2850 h 10000"/>
                  <a:gd name="connsiteX26" fmla="*/ 10000 w 10023"/>
                  <a:gd name="connsiteY26" fmla="*/ 3591 h 10000"/>
                  <a:gd name="connsiteX27" fmla="*/ 10000 w 10023"/>
                  <a:gd name="connsiteY27" fmla="*/ 4015 h 10000"/>
                  <a:gd name="connsiteX28" fmla="*/ 10000 w 10023"/>
                  <a:gd name="connsiteY28" fmla="*/ 4389 h 10000"/>
                  <a:gd name="connsiteX29" fmla="*/ 7738 w 10023"/>
                  <a:gd name="connsiteY29" fmla="*/ 6783 h 10000"/>
                  <a:gd name="connsiteX30" fmla="*/ 6815 w 10023"/>
                  <a:gd name="connsiteY30" fmla="*/ 7182 h 10000"/>
                  <a:gd name="connsiteX31" fmla="*/ 6369 w 10023"/>
                  <a:gd name="connsiteY31" fmla="*/ 6783 h 10000"/>
                  <a:gd name="connsiteX32" fmla="*/ 5921 w 10023"/>
                  <a:gd name="connsiteY32" fmla="*/ 7182 h 10000"/>
                  <a:gd name="connsiteX33" fmla="*/ 5921 w 10023"/>
                  <a:gd name="connsiteY33" fmla="*/ 7980 h 10000"/>
                  <a:gd name="connsiteX34" fmla="*/ 6369 w 10023"/>
                  <a:gd name="connsiteY34" fmla="*/ 7980 h 10000"/>
                  <a:gd name="connsiteX35" fmla="*/ 6369 w 10023"/>
                  <a:gd name="connsiteY35" fmla="*/ 8379 h 10000"/>
                  <a:gd name="connsiteX36" fmla="*/ 6815 w 10023"/>
                  <a:gd name="connsiteY36" fmla="*/ 8379 h 10000"/>
                  <a:gd name="connsiteX37" fmla="*/ 6815 w 10023"/>
                  <a:gd name="connsiteY37" fmla="*/ 9177 h 10000"/>
                  <a:gd name="connsiteX38" fmla="*/ 6815 w 10023"/>
                  <a:gd name="connsiteY38" fmla="*/ 9576 h 10000"/>
                  <a:gd name="connsiteX39" fmla="*/ 5448 w 10023"/>
                  <a:gd name="connsiteY39" fmla="*/ 9576 h 10000"/>
                  <a:gd name="connsiteX40" fmla="*/ 5002 w 10023"/>
                  <a:gd name="connsiteY40" fmla="*/ 10000 h 10000"/>
                  <a:gd name="connsiteX41" fmla="*/ 4553 w 10023"/>
                  <a:gd name="connsiteY41" fmla="*/ 9576 h 10000"/>
                  <a:gd name="connsiteX42" fmla="*/ 4105 w 10023"/>
                  <a:gd name="connsiteY42" fmla="*/ 8803 h 10000"/>
                  <a:gd name="connsiteX43" fmla="*/ 2736 w 10023"/>
                  <a:gd name="connsiteY43" fmla="*/ 8803 h 10000"/>
                  <a:gd name="connsiteX44" fmla="*/ 1817 w 10023"/>
                  <a:gd name="connsiteY44" fmla="*/ 8803 h 10000"/>
                  <a:gd name="connsiteX45" fmla="*/ 448 w 10023"/>
                  <a:gd name="connsiteY45" fmla="*/ 8803 h 10000"/>
                  <a:gd name="connsiteX0" fmla="*/ 448 w 10023"/>
                  <a:gd name="connsiteY0" fmla="*/ 8803 h 10000"/>
                  <a:gd name="connsiteX1" fmla="*/ 448 w 10023"/>
                  <a:gd name="connsiteY1" fmla="*/ 8803 h 10000"/>
                  <a:gd name="connsiteX2" fmla="*/ 448 w 10023"/>
                  <a:gd name="connsiteY2" fmla="*/ 7980 h 10000"/>
                  <a:gd name="connsiteX3" fmla="*/ 1369 w 10023"/>
                  <a:gd name="connsiteY3" fmla="*/ 7606 h 10000"/>
                  <a:gd name="connsiteX4" fmla="*/ 922 w 10023"/>
                  <a:gd name="connsiteY4" fmla="*/ 6783 h 10000"/>
                  <a:gd name="connsiteX5" fmla="*/ 448 w 10023"/>
                  <a:gd name="connsiteY5" fmla="*/ 6409 h 10000"/>
                  <a:gd name="connsiteX6" fmla="*/ 0 w 10023"/>
                  <a:gd name="connsiteY6" fmla="*/ 5586 h 10000"/>
                  <a:gd name="connsiteX7" fmla="*/ 922 w 10023"/>
                  <a:gd name="connsiteY7" fmla="*/ 5985 h 10000"/>
                  <a:gd name="connsiteX8" fmla="*/ 3632 w 10023"/>
                  <a:gd name="connsiteY8" fmla="*/ 5586 h 10000"/>
                  <a:gd name="connsiteX9" fmla="*/ 3632 w 10023"/>
                  <a:gd name="connsiteY9" fmla="*/ 4788 h 10000"/>
                  <a:gd name="connsiteX10" fmla="*/ 4105 w 10023"/>
                  <a:gd name="connsiteY10" fmla="*/ 4389 h 10000"/>
                  <a:gd name="connsiteX11" fmla="*/ 5921 w 10023"/>
                  <a:gd name="connsiteY11" fmla="*/ 4015 h 10000"/>
                  <a:gd name="connsiteX12" fmla="*/ 5921 w 10023"/>
                  <a:gd name="connsiteY12" fmla="*/ 3192 h 10000"/>
                  <a:gd name="connsiteX13" fmla="*/ 6369 w 10023"/>
                  <a:gd name="connsiteY13" fmla="*/ 2818 h 10000"/>
                  <a:gd name="connsiteX14" fmla="*/ 6369 w 10023"/>
                  <a:gd name="connsiteY14" fmla="*/ 2394 h 10000"/>
                  <a:gd name="connsiteX15" fmla="*/ 6815 w 10023"/>
                  <a:gd name="connsiteY15" fmla="*/ 2394 h 10000"/>
                  <a:gd name="connsiteX16" fmla="*/ 7290 w 10023"/>
                  <a:gd name="connsiteY16" fmla="*/ 1621 h 10000"/>
                  <a:gd name="connsiteX17" fmla="*/ 7290 w 10023"/>
                  <a:gd name="connsiteY17" fmla="*/ 798 h 10000"/>
                  <a:gd name="connsiteX18" fmla="*/ 8186 w 10023"/>
                  <a:gd name="connsiteY18" fmla="*/ 424 h 10000"/>
                  <a:gd name="connsiteX19" fmla="*/ 9107 w 10023"/>
                  <a:gd name="connsiteY19" fmla="*/ 0 h 10000"/>
                  <a:gd name="connsiteX20" fmla="*/ 9554 w 10023"/>
                  <a:gd name="connsiteY20" fmla="*/ 0 h 10000"/>
                  <a:gd name="connsiteX21" fmla="*/ 8652 w 10023"/>
                  <a:gd name="connsiteY21" fmla="*/ 800 h 10000"/>
                  <a:gd name="connsiteX22" fmla="*/ 9554 w 10023"/>
                  <a:gd name="connsiteY22" fmla="*/ 1621 h 10000"/>
                  <a:gd name="connsiteX23" fmla="*/ 9107 w 10023"/>
                  <a:gd name="connsiteY23" fmla="*/ 1995 h 10000"/>
                  <a:gd name="connsiteX24" fmla="*/ 9554 w 10023"/>
                  <a:gd name="connsiteY24" fmla="*/ 2394 h 10000"/>
                  <a:gd name="connsiteX25" fmla="*/ 10023 w 10023"/>
                  <a:gd name="connsiteY25" fmla="*/ 2850 h 10000"/>
                  <a:gd name="connsiteX26" fmla="*/ 10000 w 10023"/>
                  <a:gd name="connsiteY26" fmla="*/ 3591 h 10000"/>
                  <a:gd name="connsiteX27" fmla="*/ 10000 w 10023"/>
                  <a:gd name="connsiteY27" fmla="*/ 4389 h 10000"/>
                  <a:gd name="connsiteX28" fmla="*/ 7738 w 10023"/>
                  <a:gd name="connsiteY28" fmla="*/ 6783 h 10000"/>
                  <a:gd name="connsiteX29" fmla="*/ 6815 w 10023"/>
                  <a:gd name="connsiteY29" fmla="*/ 7182 h 10000"/>
                  <a:gd name="connsiteX30" fmla="*/ 6369 w 10023"/>
                  <a:gd name="connsiteY30" fmla="*/ 6783 h 10000"/>
                  <a:gd name="connsiteX31" fmla="*/ 5921 w 10023"/>
                  <a:gd name="connsiteY31" fmla="*/ 7182 h 10000"/>
                  <a:gd name="connsiteX32" fmla="*/ 5921 w 10023"/>
                  <a:gd name="connsiteY32" fmla="*/ 7980 h 10000"/>
                  <a:gd name="connsiteX33" fmla="*/ 6369 w 10023"/>
                  <a:gd name="connsiteY33" fmla="*/ 7980 h 10000"/>
                  <a:gd name="connsiteX34" fmla="*/ 6369 w 10023"/>
                  <a:gd name="connsiteY34" fmla="*/ 8379 h 10000"/>
                  <a:gd name="connsiteX35" fmla="*/ 6815 w 10023"/>
                  <a:gd name="connsiteY35" fmla="*/ 8379 h 10000"/>
                  <a:gd name="connsiteX36" fmla="*/ 6815 w 10023"/>
                  <a:gd name="connsiteY36" fmla="*/ 9177 h 10000"/>
                  <a:gd name="connsiteX37" fmla="*/ 6815 w 10023"/>
                  <a:gd name="connsiteY37" fmla="*/ 9576 h 10000"/>
                  <a:gd name="connsiteX38" fmla="*/ 5448 w 10023"/>
                  <a:gd name="connsiteY38" fmla="*/ 9576 h 10000"/>
                  <a:gd name="connsiteX39" fmla="*/ 5002 w 10023"/>
                  <a:gd name="connsiteY39" fmla="*/ 10000 h 10000"/>
                  <a:gd name="connsiteX40" fmla="*/ 4553 w 10023"/>
                  <a:gd name="connsiteY40" fmla="*/ 9576 h 10000"/>
                  <a:gd name="connsiteX41" fmla="*/ 4105 w 10023"/>
                  <a:gd name="connsiteY41" fmla="*/ 8803 h 10000"/>
                  <a:gd name="connsiteX42" fmla="*/ 2736 w 10023"/>
                  <a:gd name="connsiteY42" fmla="*/ 8803 h 10000"/>
                  <a:gd name="connsiteX43" fmla="*/ 1817 w 10023"/>
                  <a:gd name="connsiteY43" fmla="*/ 8803 h 10000"/>
                  <a:gd name="connsiteX44" fmla="*/ 448 w 10023"/>
                  <a:gd name="connsiteY44" fmla="*/ 8803 h 10000"/>
                  <a:gd name="connsiteX0" fmla="*/ 448 w 10381"/>
                  <a:gd name="connsiteY0" fmla="*/ 8803 h 10000"/>
                  <a:gd name="connsiteX1" fmla="*/ 448 w 10381"/>
                  <a:gd name="connsiteY1" fmla="*/ 8803 h 10000"/>
                  <a:gd name="connsiteX2" fmla="*/ 448 w 10381"/>
                  <a:gd name="connsiteY2" fmla="*/ 7980 h 10000"/>
                  <a:gd name="connsiteX3" fmla="*/ 1369 w 10381"/>
                  <a:gd name="connsiteY3" fmla="*/ 7606 h 10000"/>
                  <a:gd name="connsiteX4" fmla="*/ 922 w 10381"/>
                  <a:gd name="connsiteY4" fmla="*/ 6783 h 10000"/>
                  <a:gd name="connsiteX5" fmla="*/ 448 w 10381"/>
                  <a:gd name="connsiteY5" fmla="*/ 6409 h 10000"/>
                  <a:gd name="connsiteX6" fmla="*/ 0 w 10381"/>
                  <a:gd name="connsiteY6" fmla="*/ 5586 h 10000"/>
                  <a:gd name="connsiteX7" fmla="*/ 922 w 10381"/>
                  <a:gd name="connsiteY7" fmla="*/ 5985 h 10000"/>
                  <a:gd name="connsiteX8" fmla="*/ 3632 w 10381"/>
                  <a:gd name="connsiteY8" fmla="*/ 5586 h 10000"/>
                  <a:gd name="connsiteX9" fmla="*/ 3632 w 10381"/>
                  <a:gd name="connsiteY9" fmla="*/ 4788 h 10000"/>
                  <a:gd name="connsiteX10" fmla="*/ 4105 w 10381"/>
                  <a:gd name="connsiteY10" fmla="*/ 4389 h 10000"/>
                  <a:gd name="connsiteX11" fmla="*/ 5921 w 10381"/>
                  <a:gd name="connsiteY11" fmla="*/ 4015 h 10000"/>
                  <a:gd name="connsiteX12" fmla="*/ 5921 w 10381"/>
                  <a:gd name="connsiteY12" fmla="*/ 3192 h 10000"/>
                  <a:gd name="connsiteX13" fmla="*/ 6369 w 10381"/>
                  <a:gd name="connsiteY13" fmla="*/ 2818 h 10000"/>
                  <a:gd name="connsiteX14" fmla="*/ 6369 w 10381"/>
                  <a:gd name="connsiteY14" fmla="*/ 2394 h 10000"/>
                  <a:gd name="connsiteX15" fmla="*/ 6815 w 10381"/>
                  <a:gd name="connsiteY15" fmla="*/ 2394 h 10000"/>
                  <a:gd name="connsiteX16" fmla="*/ 7290 w 10381"/>
                  <a:gd name="connsiteY16" fmla="*/ 1621 h 10000"/>
                  <a:gd name="connsiteX17" fmla="*/ 7290 w 10381"/>
                  <a:gd name="connsiteY17" fmla="*/ 798 h 10000"/>
                  <a:gd name="connsiteX18" fmla="*/ 8186 w 10381"/>
                  <a:gd name="connsiteY18" fmla="*/ 424 h 10000"/>
                  <a:gd name="connsiteX19" fmla="*/ 9107 w 10381"/>
                  <a:gd name="connsiteY19" fmla="*/ 0 h 10000"/>
                  <a:gd name="connsiteX20" fmla="*/ 9554 w 10381"/>
                  <a:gd name="connsiteY20" fmla="*/ 0 h 10000"/>
                  <a:gd name="connsiteX21" fmla="*/ 8652 w 10381"/>
                  <a:gd name="connsiteY21" fmla="*/ 800 h 10000"/>
                  <a:gd name="connsiteX22" fmla="*/ 9554 w 10381"/>
                  <a:gd name="connsiteY22" fmla="*/ 1621 h 10000"/>
                  <a:gd name="connsiteX23" fmla="*/ 9107 w 10381"/>
                  <a:gd name="connsiteY23" fmla="*/ 1995 h 10000"/>
                  <a:gd name="connsiteX24" fmla="*/ 9554 w 10381"/>
                  <a:gd name="connsiteY24" fmla="*/ 2394 h 10000"/>
                  <a:gd name="connsiteX25" fmla="*/ 10023 w 10381"/>
                  <a:gd name="connsiteY25" fmla="*/ 2850 h 10000"/>
                  <a:gd name="connsiteX26" fmla="*/ 10000 w 10381"/>
                  <a:gd name="connsiteY26" fmla="*/ 4389 h 10000"/>
                  <a:gd name="connsiteX27" fmla="*/ 7738 w 10381"/>
                  <a:gd name="connsiteY27" fmla="*/ 6783 h 10000"/>
                  <a:gd name="connsiteX28" fmla="*/ 6815 w 10381"/>
                  <a:gd name="connsiteY28" fmla="*/ 7182 h 10000"/>
                  <a:gd name="connsiteX29" fmla="*/ 6369 w 10381"/>
                  <a:gd name="connsiteY29" fmla="*/ 6783 h 10000"/>
                  <a:gd name="connsiteX30" fmla="*/ 5921 w 10381"/>
                  <a:gd name="connsiteY30" fmla="*/ 7182 h 10000"/>
                  <a:gd name="connsiteX31" fmla="*/ 5921 w 10381"/>
                  <a:gd name="connsiteY31" fmla="*/ 7980 h 10000"/>
                  <a:gd name="connsiteX32" fmla="*/ 6369 w 10381"/>
                  <a:gd name="connsiteY32" fmla="*/ 7980 h 10000"/>
                  <a:gd name="connsiteX33" fmla="*/ 6369 w 10381"/>
                  <a:gd name="connsiteY33" fmla="*/ 8379 h 10000"/>
                  <a:gd name="connsiteX34" fmla="*/ 6815 w 10381"/>
                  <a:gd name="connsiteY34" fmla="*/ 8379 h 10000"/>
                  <a:gd name="connsiteX35" fmla="*/ 6815 w 10381"/>
                  <a:gd name="connsiteY35" fmla="*/ 9177 h 10000"/>
                  <a:gd name="connsiteX36" fmla="*/ 6815 w 10381"/>
                  <a:gd name="connsiteY36" fmla="*/ 9576 h 10000"/>
                  <a:gd name="connsiteX37" fmla="*/ 5448 w 10381"/>
                  <a:gd name="connsiteY37" fmla="*/ 9576 h 10000"/>
                  <a:gd name="connsiteX38" fmla="*/ 5002 w 10381"/>
                  <a:gd name="connsiteY38" fmla="*/ 10000 h 10000"/>
                  <a:gd name="connsiteX39" fmla="*/ 4553 w 10381"/>
                  <a:gd name="connsiteY39" fmla="*/ 9576 h 10000"/>
                  <a:gd name="connsiteX40" fmla="*/ 4105 w 10381"/>
                  <a:gd name="connsiteY40" fmla="*/ 8803 h 10000"/>
                  <a:gd name="connsiteX41" fmla="*/ 2736 w 10381"/>
                  <a:gd name="connsiteY41" fmla="*/ 8803 h 10000"/>
                  <a:gd name="connsiteX42" fmla="*/ 1817 w 10381"/>
                  <a:gd name="connsiteY42" fmla="*/ 8803 h 10000"/>
                  <a:gd name="connsiteX43" fmla="*/ 448 w 10381"/>
                  <a:gd name="connsiteY43" fmla="*/ 8803 h 10000"/>
                  <a:gd name="connsiteX0" fmla="*/ 448 w 10403"/>
                  <a:gd name="connsiteY0" fmla="*/ 8803 h 10000"/>
                  <a:gd name="connsiteX1" fmla="*/ 448 w 10403"/>
                  <a:gd name="connsiteY1" fmla="*/ 8803 h 10000"/>
                  <a:gd name="connsiteX2" fmla="*/ 448 w 10403"/>
                  <a:gd name="connsiteY2" fmla="*/ 7980 h 10000"/>
                  <a:gd name="connsiteX3" fmla="*/ 1369 w 10403"/>
                  <a:gd name="connsiteY3" fmla="*/ 7606 h 10000"/>
                  <a:gd name="connsiteX4" fmla="*/ 922 w 10403"/>
                  <a:gd name="connsiteY4" fmla="*/ 6783 h 10000"/>
                  <a:gd name="connsiteX5" fmla="*/ 448 w 10403"/>
                  <a:gd name="connsiteY5" fmla="*/ 6409 h 10000"/>
                  <a:gd name="connsiteX6" fmla="*/ 0 w 10403"/>
                  <a:gd name="connsiteY6" fmla="*/ 5586 h 10000"/>
                  <a:gd name="connsiteX7" fmla="*/ 922 w 10403"/>
                  <a:gd name="connsiteY7" fmla="*/ 5985 h 10000"/>
                  <a:gd name="connsiteX8" fmla="*/ 3632 w 10403"/>
                  <a:gd name="connsiteY8" fmla="*/ 5586 h 10000"/>
                  <a:gd name="connsiteX9" fmla="*/ 3632 w 10403"/>
                  <a:gd name="connsiteY9" fmla="*/ 4788 h 10000"/>
                  <a:gd name="connsiteX10" fmla="*/ 4105 w 10403"/>
                  <a:gd name="connsiteY10" fmla="*/ 4389 h 10000"/>
                  <a:gd name="connsiteX11" fmla="*/ 5921 w 10403"/>
                  <a:gd name="connsiteY11" fmla="*/ 4015 h 10000"/>
                  <a:gd name="connsiteX12" fmla="*/ 5921 w 10403"/>
                  <a:gd name="connsiteY12" fmla="*/ 3192 h 10000"/>
                  <a:gd name="connsiteX13" fmla="*/ 6369 w 10403"/>
                  <a:gd name="connsiteY13" fmla="*/ 2818 h 10000"/>
                  <a:gd name="connsiteX14" fmla="*/ 6369 w 10403"/>
                  <a:gd name="connsiteY14" fmla="*/ 2394 h 10000"/>
                  <a:gd name="connsiteX15" fmla="*/ 6815 w 10403"/>
                  <a:gd name="connsiteY15" fmla="*/ 2394 h 10000"/>
                  <a:gd name="connsiteX16" fmla="*/ 7290 w 10403"/>
                  <a:gd name="connsiteY16" fmla="*/ 1621 h 10000"/>
                  <a:gd name="connsiteX17" fmla="*/ 7290 w 10403"/>
                  <a:gd name="connsiteY17" fmla="*/ 798 h 10000"/>
                  <a:gd name="connsiteX18" fmla="*/ 8186 w 10403"/>
                  <a:gd name="connsiteY18" fmla="*/ 424 h 10000"/>
                  <a:gd name="connsiteX19" fmla="*/ 9107 w 10403"/>
                  <a:gd name="connsiteY19" fmla="*/ 0 h 10000"/>
                  <a:gd name="connsiteX20" fmla="*/ 9554 w 10403"/>
                  <a:gd name="connsiteY20" fmla="*/ 0 h 10000"/>
                  <a:gd name="connsiteX21" fmla="*/ 8652 w 10403"/>
                  <a:gd name="connsiteY21" fmla="*/ 800 h 10000"/>
                  <a:gd name="connsiteX22" fmla="*/ 9554 w 10403"/>
                  <a:gd name="connsiteY22" fmla="*/ 1621 h 10000"/>
                  <a:gd name="connsiteX23" fmla="*/ 9107 w 10403"/>
                  <a:gd name="connsiteY23" fmla="*/ 1995 h 10000"/>
                  <a:gd name="connsiteX24" fmla="*/ 9554 w 10403"/>
                  <a:gd name="connsiteY24" fmla="*/ 2394 h 10000"/>
                  <a:gd name="connsiteX25" fmla="*/ 10023 w 10403"/>
                  <a:gd name="connsiteY25" fmla="*/ 2850 h 10000"/>
                  <a:gd name="connsiteX26" fmla="*/ 10381 w 10403"/>
                  <a:gd name="connsiteY26" fmla="*/ 3200 h 10000"/>
                  <a:gd name="connsiteX27" fmla="*/ 10000 w 10403"/>
                  <a:gd name="connsiteY27" fmla="*/ 4389 h 10000"/>
                  <a:gd name="connsiteX28" fmla="*/ 7738 w 10403"/>
                  <a:gd name="connsiteY28" fmla="*/ 6783 h 10000"/>
                  <a:gd name="connsiteX29" fmla="*/ 6815 w 10403"/>
                  <a:gd name="connsiteY29" fmla="*/ 7182 h 10000"/>
                  <a:gd name="connsiteX30" fmla="*/ 6369 w 10403"/>
                  <a:gd name="connsiteY30" fmla="*/ 6783 h 10000"/>
                  <a:gd name="connsiteX31" fmla="*/ 5921 w 10403"/>
                  <a:gd name="connsiteY31" fmla="*/ 7182 h 10000"/>
                  <a:gd name="connsiteX32" fmla="*/ 5921 w 10403"/>
                  <a:gd name="connsiteY32" fmla="*/ 7980 h 10000"/>
                  <a:gd name="connsiteX33" fmla="*/ 6369 w 10403"/>
                  <a:gd name="connsiteY33" fmla="*/ 7980 h 10000"/>
                  <a:gd name="connsiteX34" fmla="*/ 6369 w 10403"/>
                  <a:gd name="connsiteY34" fmla="*/ 8379 h 10000"/>
                  <a:gd name="connsiteX35" fmla="*/ 6815 w 10403"/>
                  <a:gd name="connsiteY35" fmla="*/ 8379 h 10000"/>
                  <a:gd name="connsiteX36" fmla="*/ 6815 w 10403"/>
                  <a:gd name="connsiteY36" fmla="*/ 9177 h 10000"/>
                  <a:gd name="connsiteX37" fmla="*/ 6815 w 10403"/>
                  <a:gd name="connsiteY37" fmla="*/ 9576 h 10000"/>
                  <a:gd name="connsiteX38" fmla="*/ 5448 w 10403"/>
                  <a:gd name="connsiteY38" fmla="*/ 9576 h 10000"/>
                  <a:gd name="connsiteX39" fmla="*/ 5002 w 10403"/>
                  <a:gd name="connsiteY39" fmla="*/ 10000 h 10000"/>
                  <a:gd name="connsiteX40" fmla="*/ 4553 w 10403"/>
                  <a:gd name="connsiteY40" fmla="*/ 9576 h 10000"/>
                  <a:gd name="connsiteX41" fmla="*/ 4105 w 10403"/>
                  <a:gd name="connsiteY41" fmla="*/ 8803 h 10000"/>
                  <a:gd name="connsiteX42" fmla="*/ 2736 w 10403"/>
                  <a:gd name="connsiteY42" fmla="*/ 8803 h 10000"/>
                  <a:gd name="connsiteX43" fmla="*/ 1817 w 10403"/>
                  <a:gd name="connsiteY43" fmla="*/ 8803 h 10000"/>
                  <a:gd name="connsiteX44" fmla="*/ 448 w 10403"/>
                  <a:gd name="connsiteY44" fmla="*/ 8803 h 10000"/>
                  <a:gd name="connsiteX0" fmla="*/ 448 w 10403"/>
                  <a:gd name="connsiteY0" fmla="*/ 8803 h 10000"/>
                  <a:gd name="connsiteX1" fmla="*/ 448 w 10403"/>
                  <a:gd name="connsiteY1" fmla="*/ 8803 h 10000"/>
                  <a:gd name="connsiteX2" fmla="*/ 448 w 10403"/>
                  <a:gd name="connsiteY2" fmla="*/ 7980 h 10000"/>
                  <a:gd name="connsiteX3" fmla="*/ 1369 w 10403"/>
                  <a:gd name="connsiteY3" fmla="*/ 7606 h 10000"/>
                  <a:gd name="connsiteX4" fmla="*/ 922 w 10403"/>
                  <a:gd name="connsiteY4" fmla="*/ 6783 h 10000"/>
                  <a:gd name="connsiteX5" fmla="*/ 448 w 10403"/>
                  <a:gd name="connsiteY5" fmla="*/ 6409 h 10000"/>
                  <a:gd name="connsiteX6" fmla="*/ 0 w 10403"/>
                  <a:gd name="connsiteY6" fmla="*/ 5586 h 10000"/>
                  <a:gd name="connsiteX7" fmla="*/ 922 w 10403"/>
                  <a:gd name="connsiteY7" fmla="*/ 5985 h 10000"/>
                  <a:gd name="connsiteX8" fmla="*/ 3632 w 10403"/>
                  <a:gd name="connsiteY8" fmla="*/ 5586 h 10000"/>
                  <a:gd name="connsiteX9" fmla="*/ 3632 w 10403"/>
                  <a:gd name="connsiteY9" fmla="*/ 4788 h 10000"/>
                  <a:gd name="connsiteX10" fmla="*/ 4105 w 10403"/>
                  <a:gd name="connsiteY10" fmla="*/ 4389 h 10000"/>
                  <a:gd name="connsiteX11" fmla="*/ 5921 w 10403"/>
                  <a:gd name="connsiteY11" fmla="*/ 4015 h 10000"/>
                  <a:gd name="connsiteX12" fmla="*/ 5921 w 10403"/>
                  <a:gd name="connsiteY12" fmla="*/ 3192 h 10000"/>
                  <a:gd name="connsiteX13" fmla="*/ 6369 w 10403"/>
                  <a:gd name="connsiteY13" fmla="*/ 2818 h 10000"/>
                  <a:gd name="connsiteX14" fmla="*/ 6369 w 10403"/>
                  <a:gd name="connsiteY14" fmla="*/ 2394 h 10000"/>
                  <a:gd name="connsiteX15" fmla="*/ 6815 w 10403"/>
                  <a:gd name="connsiteY15" fmla="*/ 2394 h 10000"/>
                  <a:gd name="connsiteX16" fmla="*/ 7290 w 10403"/>
                  <a:gd name="connsiteY16" fmla="*/ 1621 h 10000"/>
                  <a:gd name="connsiteX17" fmla="*/ 7290 w 10403"/>
                  <a:gd name="connsiteY17" fmla="*/ 798 h 10000"/>
                  <a:gd name="connsiteX18" fmla="*/ 8186 w 10403"/>
                  <a:gd name="connsiteY18" fmla="*/ 424 h 10000"/>
                  <a:gd name="connsiteX19" fmla="*/ 9107 w 10403"/>
                  <a:gd name="connsiteY19" fmla="*/ 0 h 10000"/>
                  <a:gd name="connsiteX20" fmla="*/ 9554 w 10403"/>
                  <a:gd name="connsiteY20" fmla="*/ 0 h 10000"/>
                  <a:gd name="connsiteX21" fmla="*/ 9074 w 10403"/>
                  <a:gd name="connsiteY21" fmla="*/ 800 h 10000"/>
                  <a:gd name="connsiteX22" fmla="*/ 9554 w 10403"/>
                  <a:gd name="connsiteY22" fmla="*/ 1621 h 10000"/>
                  <a:gd name="connsiteX23" fmla="*/ 9107 w 10403"/>
                  <a:gd name="connsiteY23" fmla="*/ 1995 h 10000"/>
                  <a:gd name="connsiteX24" fmla="*/ 9554 w 10403"/>
                  <a:gd name="connsiteY24" fmla="*/ 2394 h 10000"/>
                  <a:gd name="connsiteX25" fmla="*/ 10023 w 10403"/>
                  <a:gd name="connsiteY25" fmla="*/ 2850 h 10000"/>
                  <a:gd name="connsiteX26" fmla="*/ 10381 w 10403"/>
                  <a:gd name="connsiteY26" fmla="*/ 3200 h 10000"/>
                  <a:gd name="connsiteX27" fmla="*/ 10000 w 10403"/>
                  <a:gd name="connsiteY27" fmla="*/ 4389 h 10000"/>
                  <a:gd name="connsiteX28" fmla="*/ 7738 w 10403"/>
                  <a:gd name="connsiteY28" fmla="*/ 6783 h 10000"/>
                  <a:gd name="connsiteX29" fmla="*/ 6815 w 10403"/>
                  <a:gd name="connsiteY29" fmla="*/ 7182 h 10000"/>
                  <a:gd name="connsiteX30" fmla="*/ 6369 w 10403"/>
                  <a:gd name="connsiteY30" fmla="*/ 6783 h 10000"/>
                  <a:gd name="connsiteX31" fmla="*/ 5921 w 10403"/>
                  <a:gd name="connsiteY31" fmla="*/ 7182 h 10000"/>
                  <a:gd name="connsiteX32" fmla="*/ 5921 w 10403"/>
                  <a:gd name="connsiteY32" fmla="*/ 7980 h 10000"/>
                  <a:gd name="connsiteX33" fmla="*/ 6369 w 10403"/>
                  <a:gd name="connsiteY33" fmla="*/ 7980 h 10000"/>
                  <a:gd name="connsiteX34" fmla="*/ 6369 w 10403"/>
                  <a:gd name="connsiteY34" fmla="*/ 8379 h 10000"/>
                  <a:gd name="connsiteX35" fmla="*/ 6815 w 10403"/>
                  <a:gd name="connsiteY35" fmla="*/ 8379 h 10000"/>
                  <a:gd name="connsiteX36" fmla="*/ 6815 w 10403"/>
                  <a:gd name="connsiteY36" fmla="*/ 9177 h 10000"/>
                  <a:gd name="connsiteX37" fmla="*/ 6815 w 10403"/>
                  <a:gd name="connsiteY37" fmla="*/ 9576 h 10000"/>
                  <a:gd name="connsiteX38" fmla="*/ 5448 w 10403"/>
                  <a:gd name="connsiteY38" fmla="*/ 9576 h 10000"/>
                  <a:gd name="connsiteX39" fmla="*/ 5002 w 10403"/>
                  <a:gd name="connsiteY39" fmla="*/ 10000 h 10000"/>
                  <a:gd name="connsiteX40" fmla="*/ 4553 w 10403"/>
                  <a:gd name="connsiteY40" fmla="*/ 9576 h 10000"/>
                  <a:gd name="connsiteX41" fmla="*/ 4105 w 10403"/>
                  <a:gd name="connsiteY41" fmla="*/ 8803 h 10000"/>
                  <a:gd name="connsiteX42" fmla="*/ 2736 w 10403"/>
                  <a:gd name="connsiteY42" fmla="*/ 8803 h 10000"/>
                  <a:gd name="connsiteX43" fmla="*/ 1817 w 10403"/>
                  <a:gd name="connsiteY43" fmla="*/ 8803 h 10000"/>
                  <a:gd name="connsiteX44" fmla="*/ 448 w 10403"/>
                  <a:gd name="connsiteY44" fmla="*/ 880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0403" h="10000">
                    <a:moveTo>
                      <a:pt x="448" y="8803"/>
                    </a:moveTo>
                    <a:lnTo>
                      <a:pt x="448" y="8803"/>
                    </a:lnTo>
                    <a:lnTo>
                      <a:pt x="448" y="7980"/>
                    </a:lnTo>
                    <a:lnTo>
                      <a:pt x="1369" y="7606"/>
                    </a:lnTo>
                    <a:lnTo>
                      <a:pt x="922" y="6783"/>
                    </a:lnTo>
                    <a:lnTo>
                      <a:pt x="448" y="6409"/>
                    </a:lnTo>
                    <a:lnTo>
                      <a:pt x="0" y="5586"/>
                    </a:lnTo>
                    <a:lnTo>
                      <a:pt x="922" y="5985"/>
                    </a:lnTo>
                    <a:lnTo>
                      <a:pt x="3632" y="5586"/>
                    </a:lnTo>
                    <a:lnTo>
                      <a:pt x="3632" y="4788"/>
                    </a:lnTo>
                    <a:lnTo>
                      <a:pt x="4105" y="4389"/>
                    </a:lnTo>
                    <a:lnTo>
                      <a:pt x="5921" y="4015"/>
                    </a:lnTo>
                    <a:lnTo>
                      <a:pt x="5921" y="3192"/>
                    </a:lnTo>
                    <a:lnTo>
                      <a:pt x="6369" y="2818"/>
                    </a:lnTo>
                    <a:lnTo>
                      <a:pt x="6369" y="2394"/>
                    </a:lnTo>
                    <a:lnTo>
                      <a:pt x="6815" y="2394"/>
                    </a:lnTo>
                    <a:lnTo>
                      <a:pt x="7290" y="1621"/>
                    </a:lnTo>
                    <a:lnTo>
                      <a:pt x="7290" y="798"/>
                    </a:lnTo>
                    <a:lnTo>
                      <a:pt x="8186" y="424"/>
                    </a:lnTo>
                    <a:lnTo>
                      <a:pt x="9107" y="0"/>
                    </a:lnTo>
                    <a:lnTo>
                      <a:pt x="9554" y="0"/>
                    </a:lnTo>
                    <a:cubicBezTo>
                      <a:pt x="9570" y="225"/>
                      <a:pt x="9058" y="575"/>
                      <a:pt x="9074" y="800"/>
                    </a:cubicBezTo>
                    <a:cubicBezTo>
                      <a:pt x="9058" y="1115"/>
                      <a:pt x="9570" y="1306"/>
                      <a:pt x="9554" y="1621"/>
                    </a:cubicBezTo>
                    <a:lnTo>
                      <a:pt x="9107" y="1995"/>
                    </a:lnTo>
                    <a:lnTo>
                      <a:pt x="9554" y="2394"/>
                    </a:lnTo>
                    <a:lnTo>
                      <a:pt x="10023" y="2850"/>
                    </a:lnTo>
                    <a:cubicBezTo>
                      <a:pt x="10123" y="3101"/>
                      <a:pt x="10385" y="2944"/>
                      <a:pt x="10381" y="3200"/>
                    </a:cubicBezTo>
                    <a:cubicBezTo>
                      <a:pt x="10377" y="3456"/>
                      <a:pt x="10403" y="3909"/>
                      <a:pt x="10000" y="4389"/>
                    </a:cubicBezTo>
                    <a:lnTo>
                      <a:pt x="7738" y="6783"/>
                    </a:lnTo>
                    <a:lnTo>
                      <a:pt x="6815" y="7182"/>
                    </a:lnTo>
                    <a:lnTo>
                      <a:pt x="6369" y="6783"/>
                    </a:lnTo>
                    <a:lnTo>
                      <a:pt x="5921" y="7182"/>
                    </a:lnTo>
                    <a:lnTo>
                      <a:pt x="5921" y="7980"/>
                    </a:lnTo>
                    <a:lnTo>
                      <a:pt x="6369" y="7980"/>
                    </a:lnTo>
                    <a:lnTo>
                      <a:pt x="6369" y="8379"/>
                    </a:lnTo>
                    <a:lnTo>
                      <a:pt x="6815" y="8379"/>
                    </a:lnTo>
                    <a:lnTo>
                      <a:pt x="6815" y="9177"/>
                    </a:lnTo>
                    <a:lnTo>
                      <a:pt x="6815" y="9576"/>
                    </a:lnTo>
                    <a:lnTo>
                      <a:pt x="5448" y="9576"/>
                    </a:lnTo>
                    <a:lnTo>
                      <a:pt x="5002" y="10000"/>
                    </a:lnTo>
                    <a:lnTo>
                      <a:pt x="4553" y="9576"/>
                    </a:lnTo>
                    <a:lnTo>
                      <a:pt x="4105" y="8803"/>
                    </a:lnTo>
                    <a:lnTo>
                      <a:pt x="2736" y="8803"/>
                    </a:lnTo>
                    <a:lnTo>
                      <a:pt x="1817" y="8803"/>
                    </a:lnTo>
                    <a:lnTo>
                      <a:pt x="448" y="880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57" name="Line 192">
                <a:extLst>
                  <a:ext uri="{FF2B5EF4-FFF2-40B4-BE49-F238E27FC236}">
                    <a16:creationId xmlns:a16="http://schemas.microsoft.com/office/drawing/2014/main" id="{1F66F0B7-C64F-564B-923A-B938B5271E7E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19"/>
                </p:custDataLst>
              </p:nvPr>
            </p:nvSpPr>
            <p:spPr bwMode="auto">
              <a:xfrm>
                <a:off x="5886449" y="4408488"/>
                <a:ext cx="12700" cy="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58" name="Freeform 193">
                <a:extLst>
                  <a:ext uri="{FF2B5EF4-FFF2-40B4-BE49-F238E27FC236}">
                    <a16:creationId xmlns:a16="http://schemas.microsoft.com/office/drawing/2014/main" id="{4D1CD5CD-C493-7C44-9A87-DE400854AB31}"/>
                  </a:ext>
                </a:extLst>
              </p:cNvPr>
              <p:cNvSpPr>
                <a:spLocks/>
              </p:cNvSpPr>
              <p:nvPr>
                <p:custDataLst>
                  <p:tags r:id="rId220"/>
                </p:custDataLst>
              </p:nvPr>
            </p:nvSpPr>
            <p:spPr bwMode="auto">
              <a:xfrm>
                <a:off x="5672137" y="3767138"/>
                <a:ext cx="412750" cy="355600"/>
              </a:xfrm>
              <a:custGeom>
                <a:avLst/>
                <a:gdLst>
                  <a:gd name="T0" fmla="*/ 96044 w 520"/>
                  <a:gd name="T1" fmla="*/ 88702 h 449"/>
                  <a:gd name="T2" fmla="*/ 96044 w 520"/>
                  <a:gd name="T3" fmla="*/ 88702 h 449"/>
                  <a:gd name="T4" fmla="*/ 72231 w 520"/>
                  <a:gd name="T5" fmla="*/ 85534 h 449"/>
                  <a:gd name="T6" fmla="*/ 68262 w 520"/>
                  <a:gd name="T7" fmla="*/ 79198 h 449"/>
                  <a:gd name="T8" fmla="*/ 57944 w 520"/>
                  <a:gd name="T9" fmla="*/ 82366 h 449"/>
                  <a:gd name="T10" fmla="*/ 51594 w 520"/>
                  <a:gd name="T11" fmla="*/ 82366 h 449"/>
                  <a:gd name="T12" fmla="*/ 40481 w 520"/>
                  <a:gd name="T13" fmla="*/ 72862 h 449"/>
                  <a:gd name="T14" fmla="*/ 34131 w 520"/>
                  <a:gd name="T15" fmla="*/ 63359 h 449"/>
                  <a:gd name="T16" fmla="*/ 26987 w 520"/>
                  <a:gd name="T17" fmla="*/ 60191 h 449"/>
                  <a:gd name="T18" fmla="*/ 23812 w 520"/>
                  <a:gd name="T19" fmla="*/ 60191 h 449"/>
                  <a:gd name="T20" fmla="*/ 19844 w 520"/>
                  <a:gd name="T21" fmla="*/ 57023 h 449"/>
                  <a:gd name="T22" fmla="*/ 16669 w 520"/>
                  <a:gd name="T23" fmla="*/ 47519 h 449"/>
                  <a:gd name="T24" fmla="*/ 10319 w 520"/>
                  <a:gd name="T25" fmla="*/ 44351 h 449"/>
                  <a:gd name="T26" fmla="*/ 6350 w 520"/>
                  <a:gd name="T27" fmla="*/ 38015 h 449"/>
                  <a:gd name="T28" fmla="*/ 10319 w 520"/>
                  <a:gd name="T29" fmla="*/ 31679 h 449"/>
                  <a:gd name="T30" fmla="*/ 10319 w 520"/>
                  <a:gd name="T31" fmla="*/ 25343 h 449"/>
                  <a:gd name="T32" fmla="*/ 6350 w 520"/>
                  <a:gd name="T33" fmla="*/ 25343 h 449"/>
                  <a:gd name="T34" fmla="*/ 3175 w 520"/>
                  <a:gd name="T35" fmla="*/ 19008 h 449"/>
                  <a:gd name="T36" fmla="*/ 0 w 520"/>
                  <a:gd name="T37" fmla="*/ 3168 h 449"/>
                  <a:gd name="T38" fmla="*/ 3175 w 520"/>
                  <a:gd name="T39" fmla="*/ 0 h 449"/>
                  <a:gd name="T40" fmla="*/ 6350 w 520"/>
                  <a:gd name="T41" fmla="*/ 6336 h 449"/>
                  <a:gd name="T42" fmla="*/ 10319 w 520"/>
                  <a:gd name="T43" fmla="*/ 6336 h 449"/>
                  <a:gd name="T44" fmla="*/ 13494 w 520"/>
                  <a:gd name="T45" fmla="*/ 6336 h 449"/>
                  <a:gd name="T46" fmla="*/ 19844 w 520"/>
                  <a:gd name="T47" fmla="*/ 3168 h 449"/>
                  <a:gd name="T48" fmla="*/ 23812 w 520"/>
                  <a:gd name="T49" fmla="*/ 3168 h 449"/>
                  <a:gd name="T50" fmla="*/ 19844 w 520"/>
                  <a:gd name="T51" fmla="*/ 6336 h 449"/>
                  <a:gd name="T52" fmla="*/ 26987 w 520"/>
                  <a:gd name="T53" fmla="*/ 9504 h 449"/>
                  <a:gd name="T54" fmla="*/ 26987 w 520"/>
                  <a:gd name="T55" fmla="*/ 15840 h 449"/>
                  <a:gd name="T56" fmla="*/ 40481 w 520"/>
                  <a:gd name="T57" fmla="*/ 22176 h 449"/>
                  <a:gd name="T58" fmla="*/ 54769 w 520"/>
                  <a:gd name="T59" fmla="*/ 22176 h 449"/>
                  <a:gd name="T60" fmla="*/ 54769 w 520"/>
                  <a:gd name="T61" fmla="*/ 15840 h 449"/>
                  <a:gd name="T62" fmla="*/ 61119 w 520"/>
                  <a:gd name="T63" fmla="*/ 12672 h 449"/>
                  <a:gd name="T64" fmla="*/ 72231 w 520"/>
                  <a:gd name="T65" fmla="*/ 12672 h 449"/>
                  <a:gd name="T66" fmla="*/ 92869 w 520"/>
                  <a:gd name="T67" fmla="*/ 22176 h 449"/>
                  <a:gd name="T68" fmla="*/ 92869 w 520"/>
                  <a:gd name="T69" fmla="*/ 25343 h 449"/>
                  <a:gd name="T70" fmla="*/ 92869 w 520"/>
                  <a:gd name="T71" fmla="*/ 28511 h 449"/>
                  <a:gd name="T72" fmla="*/ 92869 w 520"/>
                  <a:gd name="T73" fmla="*/ 31679 h 449"/>
                  <a:gd name="T74" fmla="*/ 88900 w 520"/>
                  <a:gd name="T75" fmla="*/ 38015 h 449"/>
                  <a:gd name="T76" fmla="*/ 88900 w 520"/>
                  <a:gd name="T77" fmla="*/ 50687 h 449"/>
                  <a:gd name="T78" fmla="*/ 96044 w 520"/>
                  <a:gd name="T79" fmla="*/ 53855 h 449"/>
                  <a:gd name="T80" fmla="*/ 96044 w 520"/>
                  <a:gd name="T81" fmla="*/ 57023 h 449"/>
                  <a:gd name="T82" fmla="*/ 92869 w 520"/>
                  <a:gd name="T83" fmla="*/ 63359 h 449"/>
                  <a:gd name="T84" fmla="*/ 96044 w 520"/>
                  <a:gd name="T85" fmla="*/ 69694 h 449"/>
                  <a:gd name="T86" fmla="*/ 99219 w 520"/>
                  <a:gd name="T87" fmla="*/ 72862 h 449"/>
                  <a:gd name="T88" fmla="*/ 103188 w 520"/>
                  <a:gd name="T89" fmla="*/ 79198 h 449"/>
                  <a:gd name="T90" fmla="*/ 96044 w 520"/>
                  <a:gd name="T91" fmla="*/ 82366 h 449"/>
                  <a:gd name="T92" fmla="*/ 96044 w 520"/>
                  <a:gd name="T93" fmla="*/ 88702 h 44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520"/>
                  <a:gd name="T142" fmla="*/ 0 h 449"/>
                  <a:gd name="T143" fmla="*/ 520 w 520"/>
                  <a:gd name="T144" fmla="*/ 449 h 449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520" h="449">
                    <a:moveTo>
                      <a:pt x="485" y="449"/>
                    </a:moveTo>
                    <a:lnTo>
                      <a:pt x="485" y="449"/>
                    </a:lnTo>
                    <a:lnTo>
                      <a:pt x="364" y="432"/>
                    </a:lnTo>
                    <a:lnTo>
                      <a:pt x="345" y="401"/>
                    </a:lnTo>
                    <a:lnTo>
                      <a:pt x="293" y="416"/>
                    </a:lnTo>
                    <a:lnTo>
                      <a:pt x="259" y="416"/>
                    </a:lnTo>
                    <a:lnTo>
                      <a:pt x="207" y="368"/>
                    </a:lnTo>
                    <a:lnTo>
                      <a:pt x="172" y="320"/>
                    </a:lnTo>
                    <a:lnTo>
                      <a:pt x="138" y="305"/>
                    </a:lnTo>
                    <a:lnTo>
                      <a:pt x="121" y="305"/>
                    </a:lnTo>
                    <a:lnTo>
                      <a:pt x="103" y="288"/>
                    </a:lnTo>
                    <a:lnTo>
                      <a:pt x="86" y="240"/>
                    </a:lnTo>
                    <a:lnTo>
                      <a:pt x="52" y="224"/>
                    </a:lnTo>
                    <a:lnTo>
                      <a:pt x="34" y="192"/>
                    </a:lnTo>
                    <a:lnTo>
                      <a:pt x="52" y="161"/>
                    </a:lnTo>
                    <a:lnTo>
                      <a:pt x="52" y="128"/>
                    </a:lnTo>
                    <a:lnTo>
                      <a:pt x="34" y="128"/>
                    </a:lnTo>
                    <a:lnTo>
                      <a:pt x="17" y="96"/>
                    </a:lnTo>
                    <a:lnTo>
                      <a:pt x="0" y="17"/>
                    </a:lnTo>
                    <a:lnTo>
                      <a:pt x="17" y="0"/>
                    </a:lnTo>
                    <a:lnTo>
                      <a:pt x="34" y="33"/>
                    </a:lnTo>
                    <a:lnTo>
                      <a:pt x="52" y="33"/>
                    </a:lnTo>
                    <a:lnTo>
                      <a:pt x="69" y="33"/>
                    </a:lnTo>
                    <a:lnTo>
                      <a:pt x="103" y="17"/>
                    </a:lnTo>
                    <a:lnTo>
                      <a:pt x="121" y="17"/>
                    </a:lnTo>
                    <a:lnTo>
                      <a:pt x="103" y="33"/>
                    </a:lnTo>
                    <a:lnTo>
                      <a:pt x="138" y="48"/>
                    </a:lnTo>
                    <a:lnTo>
                      <a:pt x="138" y="80"/>
                    </a:lnTo>
                    <a:lnTo>
                      <a:pt x="207" y="113"/>
                    </a:lnTo>
                    <a:lnTo>
                      <a:pt x="276" y="113"/>
                    </a:lnTo>
                    <a:lnTo>
                      <a:pt x="276" y="80"/>
                    </a:lnTo>
                    <a:lnTo>
                      <a:pt x="311" y="65"/>
                    </a:lnTo>
                    <a:lnTo>
                      <a:pt x="364" y="65"/>
                    </a:lnTo>
                    <a:lnTo>
                      <a:pt x="468" y="113"/>
                    </a:lnTo>
                    <a:lnTo>
                      <a:pt x="468" y="128"/>
                    </a:lnTo>
                    <a:lnTo>
                      <a:pt x="468" y="144"/>
                    </a:lnTo>
                    <a:lnTo>
                      <a:pt x="468" y="161"/>
                    </a:lnTo>
                    <a:lnTo>
                      <a:pt x="451" y="192"/>
                    </a:lnTo>
                    <a:lnTo>
                      <a:pt x="451" y="257"/>
                    </a:lnTo>
                    <a:lnTo>
                      <a:pt x="485" y="272"/>
                    </a:lnTo>
                    <a:lnTo>
                      <a:pt x="485" y="288"/>
                    </a:lnTo>
                    <a:lnTo>
                      <a:pt x="468" y="320"/>
                    </a:lnTo>
                    <a:lnTo>
                      <a:pt x="485" y="353"/>
                    </a:lnTo>
                    <a:lnTo>
                      <a:pt x="503" y="368"/>
                    </a:lnTo>
                    <a:lnTo>
                      <a:pt x="520" y="401"/>
                    </a:lnTo>
                    <a:lnTo>
                      <a:pt x="485" y="416"/>
                    </a:lnTo>
                    <a:lnTo>
                      <a:pt x="485" y="449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59" name="Freeform 194">
                <a:extLst>
                  <a:ext uri="{FF2B5EF4-FFF2-40B4-BE49-F238E27FC236}">
                    <a16:creationId xmlns:a16="http://schemas.microsoft.com/office/drawing/2014/main" id="{9238B820-0363-8E41-83DB-0056A5D3D288}"/>
                  </a:ext>
                </a:extLst>
              </p:cNvPr>
              <p:cNvSpPr>
                <a:spLocks/>
              </p:cNvSpPr>
              <p:nvPr>
                <p:custDataLst>
                  <p:tags r:id="rId221"/>
                </p:custDataLst>
              </p:nvPr>
            </p:nvSpPr>
            <p:spPr bwMode="auto">
              <a:xfrm>
                <a:off x="5575299" y="3678238"/>
                <a:ext cx="152400" cy="50800"/>
              </a:xfrm>
              <a:custGeom>
                <a:avLst/>
                <a:gdLst>
                  <a:gd name="T0" fmla="*/ 10319 w 192"/>
                  <a:gd name="T1" fmla="*/ 12902 h 63"/>
                  <a:gd name="T2" fmla="*/ 10319 w 192"/>
                  <a:gd name="T3" fmla="*/ 12902 h 63"/>
                  <a:gd name="T4" fmla="*/ 10319 w 192"/>
                  <a:gd name="T5" fmla="*/ 9676 h 63"/>
                  <a:gd name="T6" fmla="*/ 10319 w 192"/>
                  <a:gd name="T7" fmla="*/ 6451 h 63"/>
                  <a:gd name="T8" fmla="*/ 0 w 192"/>
                  <a:gd name="T9" fmla="*/ 0 h 63"/>
                  <a:gd name="T10" fmla="*/ 17463 w 192"/>
                  <a:gd name="T11" fmla="*/ 0 h 63"/>
                  <a:gd name="T12" fmla="*/ 23812 w 192"/>
                  <a:gd name="T13" fmla="*/ 3225 h 63"/>
                  <a:gd name="T14" fmla="*/ 31750 w 192"/>
                  <a:gd name="T15" fmla="*/ 3225 h 63"/>
                  <a:gd name="T16" fmla="*/ 38100 w 192"/>
                  <a:gd name="T17" fmla="*/ 9676 h 63"/>
                  <a:gd name="T18" fmla="*/ 34925 w 192"/>
                  <a:gd name="T19" fmla="*/ 9676 h 63"/>
                  <a:gd name="T20" fmla="*/ 38100 w 192"/>
                  <a:gd name="T21" fmla="*/ 12902 h 63"/>
                  <a:gd name="T22" fmla="*/ 31750 w 192"/>
                  <a:gd name="T23" fmla="*/ 12902 h 63"/>
                  <a:gd name="T24" fmla="*/ 27781 w 192"/>
                  <a:gd name="T25" fmla="*/ 12902 h 63"/>
                  <a:gd name="T26" fmla="*/ 20637 w 192"/>
                  <a:gd name="T27" fmla="*/ 12902 h 63"/>
                  <a:gd name="T28" fmla="*/ 10319 w 192"/>
                  <a:gd name="T29" fmla="*/ 12902 h 6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92"/>
                  <a:gd name="T46" fmla="*/ 0 h 63"/>
                  <a:gd name="T47" fmla="*/ 192 w 192"/>
                  <a:gd name="T48" fmla="*/ 63 h 6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92" h="63">
                    <a:moveTo>
                      <a:pt x="54" y="63"/>
                    </a:moveTo>
                    <a:lnTo>
                      <a:pt x="54" y="63"/>
                    </a:lnTo>
                    <a:lnTo>
                      <a:pt x="54" y="48"/>
                    </a:lnTo>
                    <a:lnTo>
                      <a:pt x="54" y="32"/>
                    </a:lnTo>
                    <a:lnTo>
                      <a:pt x="0" y="0"/>
                    </a:lnTo>
                    <a:lnTo>
                      <a:pt x="88" y="0"/>
                    </a:lnTo>
                    <a:lnTo>
                      <a:pt x="123" y="15"/>
                    </a:lnTo>
                    <a:lnTo>
                      <a:pt x="157" y="15"/>
                    </a:lnTo>
                    <a:lnTo>
                      <a:pt x="192" y="48"/>
                    </a:lnTo>
                    <a:lnTo>
                      <a:pt x="175" y="48"/>
                    </a:lnTo>
                    <a:lnTo>
                      <a:pt x="192" y="63"/>
                    </a:lnTo>
                    <a:lnTo>
                      <a:pt x="157" y="63"/>
                    </a:lnTo>
                    <a:lnTo>
                      <a:pt x="140" y="63"/>
                    </a:lnTo>
                    <a:lnTo>
                      <a:pt x="105" y="63"/>
                    </a:lnTo>
                    <a:lnTo>
                      <a:pt x="54" y="6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60" name="Freeform 195">
                <a:extLst>
                  <a:ext uri="{FF2B5EF4-FFF2-40B4-BE49-F238E27FC236}">
                    <a16:creationId xmlns:a16="http://schemas.microsoft.com/office/drawing/2014/main" id="{BF08C0D6-0453-3B44-919B-831717723108}"/>
                  </a:ext>
                </a:extLst>
              </p:cNvPr>
              <p:cNvSpPr>
                <a:spLocks/>
              </p:cNvSpPr>
              <p:nvPr>
                <p:custDataLst>
                  <p:tags r:id="rId222"/>
                </p:custDataLst>
              </p:nvPr>
            </p:nvSpPr>
            <p:spPr bwMode="auto">
              <a:xfrm>
                <a:off x="5659437" y="3729038"/>
                <a:ext cx="68263" cy="63500"/>
              </a:xfrm>
              <a:custGeom>
                <a:avLst/>
                <a:gdLst>
                  <a:gd name="T0" fmla="*/ 16477 w 87"/>
                  <a:gd name="T1" fmla="*/ 15679 h 81"/>
                  <a:gd name="T2" fmla="*/ 16477 w 87"/>
                  <a:gd name="T3" fmla="*/ 15679 h 81"/>
                  <a:gd name="T4" fmla="*/ 16477 w 87"/>
                  <a:gd name="T5" fmla="*/ 12543 h 81"/>
                  <a:gd name="T6" fmla="*/ 13339 w 87"/>
                  <a:gd name="T7" fmla="*/ 9407 h 81"/>
                  <a:gd name="T8" fmla="*/ 13339 w 87"/>
                  <a:gd name="T9" fmla="*/ 6272 h 81"/>
                  <a:gd name="T10" fmla="*/ 6277 w 87"/>
                  <a:gd name="T11" fmla="*/ 0 h 81"/>
                  <a:gd name="T12" fmla="*/ 0 w 87"/>
                  <a:gd name="T13" fmla="*/ 0 h 81"/>
                  <a:gd name="T14" fmla="*/ 3139 w 87"/>
                  <a:gd name="T15" fmla="*/ 9407 h 81"/>
                  <a:gd name="T16" fmla="*/ 6277 w 87"/>
                  <a:gd name="T17" fmla="*/ 9407 h 81"/>
                  <a:gd name="T18" fmla="*/ 13339 w 87"/>
                  <a:gd name="T19" fmla="*/ 12543 h 81"/>
                  <a:gd name="T20" fmla="*/ 13339 w 87"/>
                  <a:gd name="T21" fmla="*/ 15679 h 81"/>
                  <a:gd name="T22" fmla="*/ 16477 w 87"/>
                  <a:gd name="T23" fmla="*/ 15679 h 8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7"/>
                  <a:gd name="T37" fmla="*/ 0 h 81"/>
                  <a:gd name="T38" fmla="*/ 87 w 87"/>
                  <a:gd name="T39" fmla="*/ 81 h 8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7" h="81">
                    <a:moveTo>
                      <a:pt x="87" y="81"/>
                    </a:moveTo>
                    <a:lnTo>
                      <a:pt x="87" y="81"/>
                    </a:lnTo>
                    <a:lnTo>
                      <a:pt x="87" y="65"/>
                    </a:lnTo>
                    <a:lnTo>
                      <a:pt x="70" y="48"/>
                    </a:lnTo>
                    <a:lnTo>
                      <a:pt x="70" y="33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18" y="48"/>
                    </a:lnTo>
                    <a:lnTo>
                      <a:pt x="35" y="48"/>
                    </a:lnTo>
                    <a:lnTo>
                      <a:pt x="70" y="65"/>
                    </a:lnTo>
                    <a:lnTo>
                      <a:pt x="70" y="81"/>
                    </a:lnTo>
                    <a:lnTo>
                      <a:pt x="87" y="81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61" name="Freeform 196">
                <a:extLst>
                  <a:ext uri="{FF2B5EF4-FFF2-40B4-BE49-F238E27FC236}">
                    <a16:creationId xmlns:a16="http://schemas.microsoft.com/office/drawing/2014/main" id="{0352B5BD-4803-3743-B8A1-340DB68F259B}"/>
                  </a:ext>
                </a:extLst>
              </p:cNvPr>
              <p:cNvSpPr>
                <a:spLocks/>
              </p:cNvSpPr>
              <p:nvPr>
                <p:custDataLst>
                  <p:tags r:id="rId223"/>
                </p:custDataLst>
              </p:nvPr>
            </p:nvSpPr>
            <p:spPr bwMode="auto">
              <a:xfrm>
                <a:off x="5686424" y="3716338"/>
                <a:ext cx="125413" cy="88900"/>
              </a:xfrm>
              <a:custGeom>
                <a:avLst/>
                <a:gdLst>
                  <a:gd name="T0" fmla="*/ 10385 w 157"/>
                  <a:gd name="T1" fmla="*/ 19222 h 111"/>
                  <a:gd name="T2" fmla="*/ 10385 w 157"/>
                  <a:gd name="T3" fmla="*/ 19222 h 111"/>
                  <a:gd name="T4" fmla="*/ 17574 w 157"/>
                  <a:gd name="T5" fmla="*/ 16018 h 111"/>
                  <a:gd name="T6" fmla="*/ 20769 w 157"/>
                  <a:gd name="T7" fmla="*/ 16018 h 111"/>
                  <a:gd name="T8" fmla="*/ 17574 w 157"/>
                  <a:gd name="T9" fmla="*/ 19222 h 111"/>
                  <a:gd name="T10" fmla="*/ 24763 w 157"/>
                  <a:gd name="T11" fmla="*/ 22425 h 111"/>
                  <a:gd name="T12" fmla="*/ 20769 w 157"/>
                  <a:gd name="T13" fmla="*/ 19222 h 111"/>
                  <a:gd name="T14" fmla="*/ 24763 w 157"/>
                  <a:gd name="T15" fmla="*/ 19222 h 111"/>
                  <a:gd name="T16" fmla="*/ 24763 w 157"/>
                  <a:gd name="T17" fmla="*/ 12814 h 111"/>
                  <a:gd name="T18" fmla="*/ 31952 w 157"/>
                  <a:gd name="T19" fmla="*/ 9611 h 111"/>
                  <a:gd name="T20" fmla="*/ 24763 w 157"/>
                  <a:gd name="T21" fmla="*/ 6407 h 111"/>
                  <a:gd name="T22" fmla="*/ 20769 w 157"/>
                  <a:gd name="T23" fmla="*/ 0 h 111"/>
                  <a:gd name="T24" fmla="*/ 17574 w 157"/>
                  <a:gd name="T25" fmla="*/ 3204 h 111"/>
                  <a:gd name="T26" fmla="*/ 14379 w 157"/>
                  <a:gd name="T27" fmla="*/ 3204 h 111"/>
                  <a:gd name="T28" fmla="*/ 10385 w 157"/>
                  <a:gd name="T29" fmla="*/ 0 h 111"/>
                  <a:gd name="T30" fmla="*/ 7189 w 157"/>
                  <a:gd name="T31" fmla="*/ 0 h 111"/>
                  <a:gd name="T32" fmla="*/ 10385 w 157"/>
                  <a:gd name="T33" fmla="*/ 3204 h 111"/>
                  <a:gd name="T34" fmla="*/ 3994 w 157"/>
                  <a:gd name="T35" fmla="*/ 3204 h 111"/>
                  <a:gd name="T36" fmla="*/ 0 w 157"/>
                  <a:gd name="T37" fmla="*/ 3204 h 111"/>
                  <a:gd name="T38" fmla="*/ 7189 w 157"/>
                  <a:gd name="T39" fmla="*/ 9611 h 111"/>
                  <a:gd name="T40" fmla="*/ 7189 w 157"/>
                  <a:gd name="T41" fmla="*/ 12814 h 111"/>
                  <a:gd name="T42" fmla="*/ 10385 w 157"/>
                  <a:gd name="T43" fmla="*/ 16018 h 111"/>
                  <a:gd name="T44" fmla="*/ 10385 w 157"/>
                  <a:gd name="T45" fmla="*/ 19222 h 11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57"/>
                  <a:gd name="T70" fmla="*/ 0 h 111"/>
                  <a:gd name="T71" fmla="*/ 157 w 157"/>
                  <a:gd name="T72" fmla="*/ 111 h 111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57" h="111">
                    <a:moveTo>
                      <a:pt x="52" y="96"/>
                    </a:moveTo>
                    <a:lnTo>
                      <a:pt x="52" y="96"/>
                    </a:lnTo>
                    <a:lnTo>
                      <a:pt x="86" y="80"/>
                    </a:lnTo>
                    <a:lnTo>
                      <a:pt x="104" y="80"/>
                    </a:lnTo>
                    <a:lnTo>
                      <a:pt x="86" y="96"/>
                    </a:lnTo>
                    <a:lnTo>
                      <a:pt x="121" y="111"/>
                    </a:lnTo>
                    <a:lnTo>
                      <a:pt x="104" y="96"/>
                    </a:lnTo>
                    <a:lnTo>
                      <a:pt x="121" y="96"/>
                    </a:lnTo>
                    <a:lnTo>
                      <a:pt x="121" y="63"/>
                    </a:lnTo>
                    <a:lnTo>
                      <a:pt x="157" y="48"/>
                    </a:lnTo>
                    <a:lnTo>
                      <a:pt x="121" y="32"/>
                    </a:lnTo>
                    <a:lnTo>
                      <a:pt x="104" y="0"/>
                    </a:lnTo>
                    <a:lnTo>
                      <a:pt x="86" y="15"/>
                    </a:lnTo>
                    <a:lnTo>
                      <a:pt x="69" y="15"/>
                    </a:lnTo>
                    <a:lnTo>
                      <a:pt x="52" y="0"/>
                    </a:lnTo>
                    <a:lnTo>
                      <a:pt x="35" y="0"/>
                    </a:lnTo>
                    <a:lnTo>
                      <a:pt x="52" y="15"/>
                    </a:lnTo>
                    <a:lnTo>
                      <a:pt x="17" y="15"/>
                    </a:lnTo>
                    <a:lnTo>
                      <a:pt x="0" y="15"/>
                    </a:lnTo>
                    <a:lnTo>
                      <a:pt x="35" y="48"/>
                    </a:lnTo>
                    <a:lnTo>
                      <a:pt x="35" y="63"/>
                    </a:lnTo>
                    <a:lnTo>
                      <a:pt x="52" y="80"/>
                    </a:lnTo>
                    <a:lnTo>
                      <a:pt x="52" y="96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62" name="Freeform 197">
                <a:extLst>
                  <a:ext uri="{FF2B5EF4-FFF2-40B4-BE49-F238E27FC236}">
                    <a16:creationId xmlns:a16="http://schemas.microsoft.com/office/drawing/2014/main" id="{0604254F-B661-5D46-AECB-765FFDECA844}"/>
                  </a:ext>
                </a:extLst>
              </p:cNvPr>
              <p:cNvSpPr>
                <a:spLocks/>
              </p:cNvSpPr>
              <p:nvPr>
                <p:custDataLst>
                  <p:tags r:id="rId224"/>
                </p:custDataLst>
              </p:nvPr>
            </p:nvSpPr>
            <p:spPr bwMode="auto">
              <a:xfrm>
                <a:off x="5684837" y="4021138"/>
                <a:ext cx="41275" cy="25400"/>
              </a:xfrm>
              <a:custGeom>
                <a:avLst/>
                <a:gdLst>
                  <a:gd name="T0" fmla="*/ 0 w 52"/>
                  <a:gd name="T1" fmla="*/ 3079 h 33"/>
                  <a:gd name="T2" fmla="*/ 0 w 52"/>
                  <a:gd name="T3" fmla="*/ 3079 h 33"/>
                  <a:gd name="T4" fmla="*/ 3969 w 52"/>
                  <a:gd name="T5" fmla="*/ 0 h 33"/>
                  <a:gd name="T6" fmla="*/ 10319 w 52"/>
                  <a:gd name="T7" fmla="*/ 3079 h 33"/>
                  <a:gd name="T8" fmla="*/ 3969 w 52"/>
                  <a:gd name="T9" fmla="*/ 6158 h 33"/>
                  <a:gd name="T10" fmla="*/ 0 w 52"/>
                  <a:gd name="T11" fmla="*/ 3079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"/>
                  <a:gd name="T19" fmla="*/ 0 h 33"/>
                  <a:gd name="T20" fmla="*/ 52 w 52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" h="33">
                    <a:moveTo>
                      <a:pt x="0" y="16"/>
                    </a:moveTo>
                    <a:lnTo>
                      <a:pt x="0" y="16"/>
                    </a:lnTo>
                    <a:lnTo>
                      <a:pt x="17" y="0"/>
                    </a:lnTo>
                    <a:lnTo>
                      <a:pt x="52" y="16"/>
                    </a:lnTo>
                    <a:lnTo>
                      <a:pt x="17" y="33"/>
                    </a:lnTo>
                    <a:lnTo>
                      <a:pt x="0" y="1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63" name="Freeform 198">
                <a:extLst>
                  <a:ext uri="{FF2B5EF4-FFF2-40B4-BE49-F238E27FC236}">
                    <a16:creationId xmlns:a16="http://schemas.microsoft.com/office/drawing/2014/main" id="{268AC6C0-E011-9E47-B4AC-7D4D69DF3D97}"/>
                  </a:ext>
                </a:extLst>
              </p:cNvPr>
              <p:cNvSpPr>
                <a:spLocks/>
              </p:cNvSpPr>
              <p:nvPr>
                <p:custDataLst>
                  <p:tags r:id="rId225"/>
                </p:custDataLst>
              </p:nvPr>
            </p:nvSpPr>
            <p:spPr bwMode="auto">
              <a:xfrm>
                <a:off x="5467349" y="3957638"/>
                <a:ext cx="479425" cy="406400"/>
              </a:xfrm>
              <a:custGeom>
                <a:avLst/>
                <a:gdLst>
                  <a:gd name="T0" fmla="*/ 99219 w 604"/>
                  <a:gd name="T1" fmla="*/ 82550 h 512"/>
                  <a:gd name="T2" fmla="*/ 99219 w 604"/>
                  <a:gd name="T3" fmla="*/ 82550 h 512"/>
                  <a:gd name="T4" fmla="*/ 103188 w 604"/>
                  <a:gd name="T5" fmla="*/ 79375 h 512"/>
                  <a:gd name="T6" fmla="*/ 106363 w 604"/>
                  <a:gd name="T7" fmla="*/ 76200 h 512"/>
                  <a:gd name="T8" fmla="*/ 109538 w 604"/>
                  <a:gd name="T9" fmla="*/ 73025 h 512"/>
                  <a:gd name="T10" fmla="*/ 113506 w 604"/>
                  <a:gd name="T11" fmla="*/ 69850 h 512"/>
                  <a:gd name="T12" fmla="*/ 116681 w 604"/>
                  <a:gd name="T13" fmla="*/ 66675 h 512"/>
                  <a:gd name="T14" fmla="*/ 119856 w 604"/>
                  <a:gd name="T15" fmla="*/ 66675 h 512"/>
                  <a:gd name="T16" fmla="*/ 119856 w 604"/>
                  <a:gd name="T17" fmla="*/ 63500 h 512"/>
                  <a:gd name="T18" fmla="*/ 119856 w 604"/>
                  <a:gd name="T19" fmla="*/ 60325 h 512"/>
                  <a:gd name="T20" fmla="*/ 119856 w 604"/>
                  <a:gd name="T21" fmla="*/ 57150 h 512"/>
                  <a:gd name="T22" fmla="*/ 116681 w 604"/>
                  <a:gd name="T23" fmla="*/ 53975 h 512"/>
                  <a:gd name="T24" fmla="*/ 113506 w 604"/>
                  <a:gd name="T25" fmla="*/ 50800 h 512"/>
                  <a:gd name="T26" fmla="*/ 109538 w 604"/>
                  <a:gd name="T27" fmla="*/ 50800 h 512"/>
                  <a:gd name="T28" fmla="*/ 106363 w 604"/>
                  <a:gd name="T29" fmla="*/ 50800 h 512"/>
                  <a:gd name="T30" fmla="*/ 106363 w 604"/>
                  <a:gd name="T31" fmla="*/ 53975 h 512"/>
                  <a:gd name="T32" fmla="*/ 103188 w 604"/>
                  <a:gd name="T33" fmla="*/ 53975 h 512"/>
                  <a:gd name="T34" fmla="*/ 99219 w 604"/>
                  <a:gd name="T35" fmla="*/ 53975 h 512"/>
                  <a:gd name="T36" fmla="*/ 95250 w 604"/>
                  <a:gd name="T37" fmla="*/ 53975 h 512"/>
                  <a:gd name="T38" fmla="*/ 92075 w 604"/>
                  <a:gd name="T39" fmla="*/ 53975 h 512"/>
                  <a:gd name="T40" fmla="*/ 88900 w 604"/>
                  <a:gd name="T41" fmla="*/ 53975 h 512"/>
                  <a:gd name="T42" fmla="*/ 84931 w 604"/>
                  <a:gd name="T43" fmla="*/ 50800 h 512"/>
                  <a:gd name="T44" fmla="*/ 88900 w 604"/>
                  <a:gd name="T45" fmla="*/ 47625 h 512"/>
                  <a:gd name="T46" fmla="*/ 84931 w 604"/>
                  <a:gd name="T47" fmla="*/ 41275 h 512"/>
                  <a:gd name="T48" fmla="*/ 84931 w 604"/>
                  <a:gd name="T49" fmla="*/ 31750 h 512"/>
                  <a:gd name="T50" fmla="*/ 75406 w 604"/>
                  <a:gd name="T51" fmla="*/ 22225 h 512"/>
                  <a:gd name="T52" fmla="*/ 65087 w 604"/>
                  <a:gd name="T53" fmla="*/ 19050 h 512"/>
                  <a:gd name="T54" fmla="*/ 58738 w 604"/>
                  <a:gd name="T55" fmla="*/ 22225 h 512"/>
                  <a:gd name="T56" fmla="*/ 54769 w 604"/>
                  <a:gd name="T57" fmla="*/ 19050 h 512"/>
                  <a:gd name="T58" fmla="*/ 47625 w 604"/>
                  <a:gd name="T59" fmla="*/ 15875 h 512"/>
                  <a:gd name="T60" fmla="*/ 47625 w 604"/>
                  <a:gd name="T61" fmla="*/ 12700 h 512"/>
                  <a:gd name="T62" fmla="*/ 44450 w 604"/>
                  <a:gd name="T63" fmla="*/ 9525 h 512"/>
                  <a:gd name="T64" fmla="*/ 34131 w 604"/>
                  <a:gd name="T65" fmla="*/ 3175 h 512"/>
                  <a:gd name="T66" fmla="*/ 23812 w 604"/>
                  <a:gd name="T67" fmla="*/ 0 h 512"/>
                  <a:gd name="T68" fmla="*/ 14288 w 604"/>
                  <a:gd name="T69" fmla="*/ 6350 h 512"/>
                  <a:gd name="T70" fmla="*/ 16669 w 604"/>
                  <a:gd name="T71" fmla="*/ 9525 h 512"/>
                  <a:gd name="T72" fmla="*/ 14288 w 604"/>
                  <a:gd name="T73" fmla="*/ 15875 h 512"/>
                  <a:gd name="T74" fmla="*/ 9525 w 604"/>
                  <a:gd name="T75" fmla="*/ 15875 h 512"/>
                  <a:gd name="T76" fmla="*/ 7144 w 604"/>
                  <a:gd name="T77" fmla="*/ 19050 h 512"/>
                  <a:gd name="T78" fmla="*/ 0 w 604"/>
                  <a:gd name="T79" fmla="*/ 19050 h 512"/>
                  <a:gd name="T80" fmla="*/ 0 w 604"/>
                  <a:gd name="T81" fmla="*/ 25400 h 512"/>
                  <a:gd name="T82" fmla="*/ 3969 w 604"/>
                  <a:gd name="T83" fmla="*/ 25400 h 512"/>
                  <a:gd name="T84" fmla="*/ 16669 w 604"/>
                  <a:gd name="T85" fmla="*/ 44450 h 512"/>
                  <a:gd name="T86" fmla="*/ 19844 w 604"/>
                  <a:gd name="T87" fmla="*/ 47625 h 512"/>
                  <a:gd name="T88" fmla="*/ 23812 w 604"/>
                  <a:gd name="T89" fmla="*/ 53975 h 512"/>
                  <a:gd name="T90" fmla="*/ 23812 w 604"/>
                  <a:gd name="T91" fmla="*/ 63500 h 512"/>
                  <a:gd name="T92" fmla="*/ 34131 w 604"/>
                  <a:gd name="T93" fmla="*/ 69850 h 512"/>
                  <a:gd name="T94" fmla="*/ 40481 w 604"/>
                  <a:gd name="T95" fmla="*/ 85725 h 512"/>
                  <a:gd name="T96" fmla="*/ 44450 w 604"/>
                  <a:gd name="T97" fmla="*/ 88900 h 512"/>
                  <a:gd name="T98" fmla="*/ 47625 w 604"/>
                  <a:gd name="T99" fmla="*/ 85725 h 512"/>
                  <a:gd name="T100" fmla="*/ 58738 w 604"/>
                  <a:gd name="T101" fmla="*/ 94456 h 512"/>
                  <a:gd name="T102" fmla="*/ 61119 w 604"/>
                  <a:gd name="T103" fmla="*/ 101600 h 512"/>
                  <a:gd name="T104" fmla="*/ 84931 w 604"/>
                  <a:gd name="T105" fmla="*/ 85725 h 512"/>
                  <a:gd name="T106" fmla="*/ 99219 w 604"/>
                  <a:gd name="T107" fmla="*/ 82550 h 51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04"/>
                  <a:gd name="T163" fmla="*/ 0 h 512"/>
                  <a:gd name="T164" fmla="*/ 604 w 604"/>
                  <a:gd name="T165" fmla="*/ 512 h 51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04" h="512">
                    <a:moveTo>
                      <a:pt x="501" y="416"/>
                    </a:moveTo>
                    <a:lnTo>
                      <a:pt x="501" y="416"/>
                    </a:lnTo>
                    <a:lnTo>
                      <a:pt x="518" y="401"/>
                    </a:lnTo>
                    <a:lnTo>
                      <a:pt x="535" y="384"/>
                    </a:lnTo>
                    <a:lnTo>
                      <a:pt x="552" y="368"/>
                    </a:lnTo>
                    <a:lnTo>
                      <a:pt x="570" y="353"/>
                    </a:lnTo>
                    <a:lnTo>
                      <a:pt x="587" y="336"/>
                    </a:lnTo>
                    <a:lnTo>
                      <a:pt x="604" y="336"/>
                    </a:lnTo>
                    <a:lnTo>
                      <a:pt x="604" y="320"/>
                    </a:lnTo>
                    <a:lnTo>
                      <a:pt x="604" y="305"/>
                    </a:lnTo>
                    <a:lnTo>
                      <a:pt x="604" y="288"/>
                    </a:lnTo>
                    <a:lnTo>
                      <a:pt x="587" y="272"/>
                    </a:lnTo>
                    <a:lnTo>
                      <a:pt x="570" y="257"/>
                    </a:lnTo>
                    <a:lnTo>
                      <a:pt x="552" y="257"/>
                    </a:lnTo>
                    <a:lnTo>
                      <a:pt x="535" y="257"/>
                    </a:lnTo>
                    <a:lnTo>
                      <a:pt x="535" y="272"/>
                    </a:lnTo>
                    <a:lnTo>
                      <a:pt x="518" y="272"/>
                    </a:lnTo>
                    <a:lnTo>
                      <a:pt x="501" y="272"/>
                    </a:lnTo>
                    <a:lnTo>
                      <a:pt x="483" y="272"/>
                    </a:lnTo>
                    <a:lnTo>
                      <a:pt x="466" y="272"/>
                    </a:lnTo>
                    <a:lnTo>
                      <a:pt x="449" y="272"/>
                    </a:lnTo>
                    <a:lnTo>
                      <a:pt x="431" y="257"/>
                    </a:lnTo>
                    <a:lnTo>
                      <a:pt x="449" y="240"/>
                    </a:lnTo>
                    <a:lnTo>
                      <a:pt x="431" y="209"/>
                    </a:lnTo>
                    <a:lnTo>
                      <a:pt x="431" y="161"/>
                    </a:lnTo>
                    <a:lnTo>
                      <a:pt x="380" y="113"/>
                    </a:lnTo>
                    <a:lnTo>
                      <a:pt x="328" y="96"/>
                    </a:lnTo>
                    <a:lnTo>
                      <a:pt x="293" y="113"/>
                    </a:lnTo>
                    <a:lnTo>
                      <a:pt x="276" y="96"/>
                    </a:lnTo>
                    <a:lnTo>
                      <a:pt x="241" y="80"/>
                    </a:lnTo>
                    <a:lnTo>
                      <a:pt x="241" y="65"/>
                    </a:lnTo>
                    <a:lnTo>
                      <a:pt x="224" y="48"/>
                    </a:lnTo>
                    <a:lnTo>
                      <a:pt x="172" y="17"/>
                    </a:lnTo>
                    <a:lnTo>
                      <a:pt x="120" y="0"/>
                    </a:lnTo>
                    <a:lnTo>
                      <a:pt x="69" y="32"/>
                    </a:lnTo>
                    <a:lnTo>
                      <a:pt x="86" y="48"/>
                    </a:lnTo>
                    <a:lnTo>
                      <a:pt x="69" y="80"/>
                    </a:lnTo>
                    <a:lnTo>
                      <a:pt x="51" y="80"/>
                    </a:lnTo>
                    <a:lnTo>
                      <a:pt x="34" y="96"/>
                    </a:lnTo>
                    <a:lnTo>
                      <a:pt x="0" y="96"/>
                    </a:lnTo>
                    <a:lnTo>
                      <a:pt x="0" y="128"/>
                    </a:lnTo>
                    <a:lnTo>
                      <a:pt x="17" y="128"/>
                    </a:lnTo>
                    <a:lnTo>
                      <a:pt x="86" y="224"/>
                    </a:lnTo>
                    <a:lnTo>
                      <a:pt x="103" y="240"/>
                    </a:lnTo>
                    <a:lnTo>
                      <a:pt x="120" y="272"/>
                    </a:lnTo>
                    <a:lnTo>
                      <a:pt x="120" y="320"/>
                    </a:lnTo>
                    <a:lnTo>
                      <a:pt x="172" y="353"/>
                    </a:lnTo>
                    <a:lnTo>
                      <a:pt x="207" y="432"/>
                    </a:lnTo>
                    <a:lnTo>
                      <a:pt x="224" y="449"/>
                    </a:lnTo>
                    <a:lnTo>
                      <a:pt x="241" y="432"/>
                    </a:lnTo>
                    <a:lnTo>
                      <a:pt x="293" y="479"/>
                    </a:lnTo>
                    <a:lnTo>
                      <a:pt x="311" y="512"/>
                    </a:lnTo>
                    <a:lnTo>
                      <a:pt x="431" y="432"/>
                    </a:lnTo>
                    <a:lnTo>
                      <a:pt x="501" y="41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64" name="Freeform 199">
                <a:extLst>
                  <a:ext uri="{FF2B5EF4-FFF2-40B4-BE49-F238E27FC236}">
                    <a16:creationId xmlns:a16="http://schemas.microsoft.com/office/drawing/2014/main" id="{F00505E7-45FF-D740-A486-6C5E20EADB0B}"/>
                  </a:ext>
                </a:extLst>
              </p:cNvPr>
              <p:cNvSpPr>
                <a:spLocks/>
              </p:cNvSpPr>
              <p:nvPr>
                <p:custDataLst>
                  <p:tags r:id="rId226"/>
                </p:custDataLst>
              </p:nvPr>
            </p:nvSpPr>
            <p:spPr bwMode="auto">
              <a:xfrm>
                <a:off x="5810249" y="4110038"/>
                <a:ext cx="26988" cy="38100"/>
              </a:xfrm>
              <a:custGeom>
                <a:avLst/>
                <a:gdLst>
                  <a:gd name="T0" fmla="*/ 3084 w 35"/>
                  <a:gd name="T1" fmla="*/ 9525 h 48"/>
                  <a:gd name="T2" fmla="*/ 3084 w 35"/>
                  <a:gd name="T3" fmla="*/ 9525 h 48"/>
                  <a:gd name="T4" fmla="*/ 0 w 35"/>
                  <a:gd name="T5" fmla="*/ 3969 h 48"/>
                  <a:gd name="T6" fmla="*/ 3084 w 35"/>
                  <a:gd name="T7" fmla="*/ 0 h 48"/>
                  <a:gd name="T8" fmla="*/ 6169 w 35"/>
                  <a:gd name="T9" fmla="*/ 0 h 48"/>
                  <a:gd name="T10" fmla="*/ 3084 w 35"/>
                  <a:gd name="T11" fmla="*/ 9525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"/>
                  <a:gd name="T19" fmla="*/ 0 h 48"/>
                  <a:gd name="T20" fmla="*/ 35 w 35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" h="48">
                    <a:moveTo>
                      <a:pt x="18" y="48"/>
                    </a:moveTo>
                    <a:lnTo>
                      <a:pt x="18" y="48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35" y="0"/>
                    </a:lnTo>
                    <a:lnTo>
                      <a:pt x="18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65" name="Freeform 200">
                <a:extLst>
                  <a:ext uri="{FF2B5EF4-FFF2-40B4-BE49-F238E27FC236}">
                    <a16:creationId xmlns:a16="http://schemas.microsoft.com/office/drawing/2014/main" id="{FA5E3411-95FB-B84E-8FB5-CDE1FECF7F9E}"/>
                  </a:ext>
                </a:extLst>
              </p:cNvPr>
              <p:cNvSpPr>
                <a:spLocks/>
              </p:cNvSpPr>
              <p:nvPr>
                <p:custDataLst>
                  <p:tags r:id="rId227"/>
                </p:custDataLst>
              </p:nvPr>
            </p:nvSpPr>
            <p:spPr bwMode="auto">
              <a:xfrm>
                <a:off x="5864224" y="4135438"/>
                <a:ext cx="150813" cy="165100"/>
              </a:xfrm>
              <a:custGeom>
                <a:avLst/>
                <a:gdLst>
                  <a:gd name="T0" fmla="*/ 0 w 190"/>
                  <a:gd name="T1" fmla="*/ 41275 h 208"/>
                  <a:gd name="T2" fmla="*/ 0 w 190"/>
                  <a:gd name="T3" fmla="*/ 41275 h 208"/>
                  <a:gd name="T4" fmla="*/ 9525 w 190"/>
                  <a:gd name="T5" fmla="*/ 41275 h 208"/>
                  <a:gd name="T6" fmla="*/ 14288 w 190"/>
                  <a:gd name="T7" fmla="*/ 38100 h 208"/>
                  <a:gd name="T8" fmla="*/ 17463 w 190"/>
                  <a:gd name="T9" fmla="*/ 35719 h 208"/>
                  <a:gd name="T10" fmla="*/ 23813 w 190"/>
                  <a:gd name="T11" fmla="*/ 31750 h 208"/>
                  <a:gd name="T12" fmla="*/ 27781 w 190"/>
                  <a:gd name="T13" fmla="*/ 28575 h 208"/>
                  <a:gd name="T14" fmla="*/ 27781 w 190"/>
                  <a:gd name="T15" fmla="*/ 26194 h 208"/>
                  <a:gd name="T16" fmla="*/ 34131 w 190"/>
                  <a:gd name="T17" fmla="*/ 16669 h 208"/>
                  <a:gd name="T18" fmla="*/ 38100 w 190"/>
                  <a:gd name="T19" fmla="*/ 12700 h 208"/>
                  <a:gd name="T20" fmla="*/ 30956 w 190"/>
                  <a:gd name="T21" fmla="*/ 7144 h 208"/>
                  <a:gd name="T22" fmla="*/ 23813 w 190"/>
                  <a:gd name="T23" fmla="*/ 3175 h 208"/>
                  <a:gd name="T24" fmla="*/ 19844 w 190"/>
                  <a:gd name="T25" fmla="*/ 0 h 208"/>
                  <a:gd name="T26" fmla="*/ 14288 w 190"/>
                  <a:gd name="T27" fmla="*/ 7144 h 208"/>
                  <a:gd name="T28" fmla="*/ 17463 w 190"/>
                  <a:gd name="T29" fmla="*/ 9525 h 208"/>
                  <a:gd name="T30" fmla="*/ 19844 w 190"/>
                  <a:gd name="T31" fmla="*/ 12700 h 208"/>
                  <a:gd name="T32" fmla="*/ 19844 w 190"/>
                  <a:gd name="T33" fmla="*/ 16669 h 208"/>
                  <a:gd name="T34" fmla="*/ 19844 w 190"/>
                  <a:gd name="T35" fmla="*/ 19050 h 208"/>
                  <a:gd name="T36" fmla="*/ 19844 w 190"/>
                  <a:gd name="T37" fmla="*/ 22225 h 208"/>
                  <a:gd name="T38" fmla="*/ 17463 w 190"/>
                  <a:gd name="T39" fmla="*/ 22225 h 208"/>
                  <a:gd name="T40" fmla="*/ 14288 w 190"/>
                  <a:gd name="T41" fmla="*/ 26194 h 208"/>
                  <a:gd name="T42" fmla="*/ 9525 w 190"/>
                  <a:gd name="T43" fmla="*/ 28575 h 208"/>
                  <a:gd name="T44" fmla="*/ 7144 w 190"/>
                  <a:gd name="T45" fmla="*/ 31750 h 208"/>
                  <a:gd name="T46" fmla="*/ 3969 w 190"/>
                  <a:gd name="T47" fmla="*/ 35719 h 208"/>
                  <a:gd name="T48" fmla="*/ 0 w 190"/>
                  <a:gd name="T49" fmla="*/ 38100 h 208"/>
                  <a:gd name="T50" fmla="*/ 0 w 190"/>
                  <a:gd name="T51" fmla="*/ 41275 h 20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90"/>
                  <a:gd name="T79" fmla="*/ 0 h 208"/>
                  <a:gd name="T80" fmla="*/ 190 w 190"/>
                  <a:gd name="T81" fmla="*/ 208 h 20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90" h="208">
                    <a:moveTo>
                      <a:pt x="0" y="208"/>
                    </a:moveTo>
                    <a:lnTo>
                      <a:pt x="0" y="208"/>
                    </a:lnTo>
                    <a:lnTo>
                      <a:pt x="51" y="208"/>
                    </a:lnTo>
                    <a:lnTo>
                      <a:pt x="69" y="192"/>
                    </a:lnTo>
                    <a:lnTo>
                      <a:pt x="86" y="177"/>
                    </a:lnTo>
                    <a:lnTo>
                      <a:pt x="121" y="160"/>
                    </a:lnTo>
                    <a:lnTo>
                      <a:pt x="138" y="144"/>
                    </a:lnTo>
                    <a:lnTo>
                      <a:pt x="138" y="129"/>
                    </a:lnTo>
                    <a:lnTo>
                      <a:pt x="172" y="81"/>
                    </a:lnTo>
                    <a:lnTo>
                      <a:pt x="190" y="64"/>
                    </a:lnTo>
                    <a:lnTo>
                      <a:pt x="155" y="33"/>
                    </a:lnTo>
                    <a:lnTo>
                      <a:pt x="121" y="16"/>
                    </a:lnTo>
                    <a:lnTo>
                      <a:pt x="103" y="0"/>
                    </a:lnTo>
                    <a:lnTo>
                      <a:pt x="69" y="33"/>
                    </a:lnTo>
                    <a:lnTo>
                      <a:pt x="86" y="48"/>
                    </a:lnTo>
                    <a:lnTo>
                      <a:pt x="103" y="64"/>
                    </a:lnTo>
                    <a:lnTo>
                      <a:pt x="103" y="81"/>
                    </a:lnTo>
                    <a:lnTo>
                      <a:pt x="103" y="96"/>
                    </a:lnTo>
                    <a:lnTo>
                      <a:pt x="103" y="112"/>
                    </a:lnTo>
                    <a:lnTo>
                      <a:pt x="86" y="112"/>
                    </a:lnTo>
                    <a:lnTo>
                      <a:pt x="69" y="129"/>
                    </a:lnTo>
                    <a:lnTo>
                      <a:pt x="51" y="144"/>
                    </a:lnTo>
                    <a:lnTo>
                      <a:pt x="34" y="160"/>
                    </a:lnTo>
                    <a:lnTo>
                      <a:pt x="17" y="177"/>
                    </a:lnTo>
                    <a:lnTo>
                      <a:pt x="0" y="192"/>
                    </a:lnTo>
                    <a:lnTo>
                      <a:pt x="0" y="20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66" name="Freeform 201">
                <a:extLst>
                  <a:ext uri="{FF2B5EF4-FFF2-40B4-BE49-F238E27FC236}">
                    <a16:creationId xmlns:a16="http://schemas.microsoft.com/office/drawing/2014/main" id="{C4BB173B-F2E8-5F4F-8FC7-FCA2EC58B096}"/>
                  </a:ext>
                </a:extLst>
              </p:cNvPr>
              <p:cNvSpPr>
                <a:spLocks/>
              </p:cNvSpPr>
              <p:nvPr>
                <p:custDataLst>
                  <p:tags r:id="rId228"/>
                </p:custDataLst>
              </p:nvPr>
            </p:nvSpPr>
            <p:spPr bwMode="auto">
              <a:xfrm>
                <a:off x="6029324" y="3805238"/>
                <a:ext cx="317500" cy="228600"/>
              </a:xfrm>
              <a:custGeom>
                <a:avLst/>
                <a:gdLst>
                  <a:gd name="T0" fmla="*/ 76391 w 399"/>
                  <a:gd name="T1" fmla="*/ 9525 h 288"/>
                  <a:gd name="T2" fmla="*/ 76391 w 399"/>
                  <a:gd name="T3" fmla="*/ 9525 h 288"/>
                  <a:gd name="T4" fmla="*/ 73208 w 399"/>
                  <a:gd name="T5" fmla="*/ 9525 h 288"/>
                  <a:gd name="T6" fmla="*/ 66046 w 399"/>
                  <a:gd name="T7" fmla="*/ 13494 h 288"/>
                  <a:gd name="T8" fmla="*/ 58885 w 399"/>
                  <a:gd name="T9" fmla="*/ 15875 h 288"/>
                  <a:gd name="T10" fmla="*/ 58885 w 399"/>
                  <a:gd name="T11" fmla="*/ 22225 h 288"/>
                  <a:gd name="T12" fmla="*/ 55702 w 399"/>
                  <a:gd name="T13" fmla="*/ 28575 h 288"/>
                  <a:gd name="T14" fmla="*/ 52519 w 399"/>
                  <a:gd name="T15" fmla="*/ 28575 h 288"/>
                  <a:gd name="T16" fmla="*/ 52519 w 399"/>
                  <a:gd name="T17" fmla="*/ 31750 h 288"/>
                  <a:gd name="T18" fmla="*/ 48540 w 399"/>
                  <a:gd name="T19" fmla="*/ 34925 h 288"/>
                  <a:gd name="T20" fmla="*/ 48540 w 399"/>
                  <a:gd name="T21" fmla="*/ 41275 h 288"/>
                  <a:gd name="T22" fmla="*/ 35013 w 399"/>
                  <a:gd name="T23" fmla="*/ 44450 h 288"/>
                  <a:gd name="T24" fmla="*/ 31830 w 399"/>
                  <a:gd name="T25" fmla="*/ 47625 h 288"/>
                  <a:gd name="T26" fmla="*/ 31830 w 399"/>
                  <a:gd name="T27" fmla="*/ 53975 h 288"/>
                  <a:gd name="T28" fmla="*/ 11140 w 399"/>
                  <a:gd name="T29" fmla="*/ 57150 h 288"/>
                  <a:gd name="T30" fmla="*/ 3979 w 399"/>
                  <a:gd name="T31" fmla="*/ 53975 h 288"/>
                  <a:gd name="T32" fmla="*/ 7162 w 399"/>
                  <a:gd name="T33" fmla="*/ 47625 h 288"/>
                  <a:gd name="T34" fmla="*/ 7162 w 399"/>
                  <a:gd name="T35" fmla="*/ 44450 h 288"/>
                  <a:gd name="T36" fmla="*/ 0 w 399"/>
                  <a:gd name="T37" fmla="*/ 41275 h 288"/>
                  <a:gd name="T38" fmla="*/ 0 w 399"/>
                  <a:gd name="T39" fmla="*/ 28575 h 288"/>
                  <a:gd name="T40" fmla="*/ 3979 w 399"/>
                  <a:gd name="T41" fmla="*/ 22225 h 288"/>
                  <a:gd name="T42" fmla="*/ 3979 w 399"/>
                  <a:gd name="T43" fmla="*/ 19050 h 288"/>
                  <a:gd name="T44" fmla="*/ 14323 w 399"/>
                  <a:gd name="T45" fmla="*/ 19050 h 288"/>
                  <a:gd name="T46" fmla="*/ 14323 w 399"/>
                  <a:gd name="T47" fmla="*/ 15875 h 288"/>
                  <a:gd name="T48" fmla="*/ 21485 w 399"/>
                  <a:gd name="T49" fmla="*/ 15875 h 288"/>
                  <a:gd name="T50" fmla="*/ 24668 w 399"/>
                  <a:gd name="T51" fmla="*/ 9525 h 288"/>
                  <a:gd name="T52" fmla="*/ 27851 w 399"/>
                  <a:gd name="T53" fmla="*/ 9525 h 288"/>
                  <a:gd name="T54" fmla="*/ 27851 w 399"/>
                  <a:gd name="T55" fmla="*/ 6350 h 288"/>
                  <a:gd name="T56" fmla="*/ 42174 w 399"/>
                  <a:gd name="T57" fmla="*/ 9525 h 288"/>
                  <a:gd name="T58" fmla="*/ 48540 w 399"/>
                  <a:gd name="T59" fmla="*/ 9525 h 288"/>
                  <a:gd name="T60" fmla="*/ 48540 w 399"/>
                  <a:gd name="T61" fmla="*/ 6350 h 288"/>
                  <a:gd name="T62" fmla="*/ 52519 w 399"/>
                  <a:gd name="T63" fmla="*/ 6350 h 288"/>
                  <a:gd name="T64" fmla="*/ 55702 w 399"/>
                  <a:gd name="T65" fmla="*/ 0 h 288"/>
                  <a:gd name="T66" fmla="*/ 58885 w 399"/>
                  <a:gd name="T67" fmla="*/ 3969 h 288"/>
                  <a:gd name="T68" fmla="*/ 62863 w 399"/>
                  <a:gd name="T69" fmla="*/ 13494 h 288"/>
                  <a:gd name="T70" fmla="*/ 69229 w 399"/>
                  <a:gd name="T71" fmla="*/ 6350 h 288"/>
                  <a:gd name="T72" fmla="*/ 79574 w 399"/>
                  <a:gd name="T73" fmla="*/ 9525 h 288"/>
                  <a:gd name="T74" fmla="*/ 76391 w 399"/>
                  <a:gd name="T75" fmla="*/ 9525 h 28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99"/>
                  <a:gd name="T115" fmla="*/ 0 h 288"/>
                  <a:gd name="T116" fmla="*/ 399 w 399"/>
                  <a:gd name="T117" fmla="*/ 288 h 28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99" h="288">
                    <a:moveTo>
                      <a:pt x="382" y="48"/>
                    </a:moveTo>
                    <a:lnTo>
                      <a:pt x="382" y="48"/>
                    </a:lnTo>
                    <a:lnTo>
                      <a:pt x="365" y="48"/>
                    </a:lnTo>
                    <a:lnTo>
                      <a:pt x="330" y="65"/>
                    </a:lnTo>
                    <a:lnTo>
                      <a:pt x="296" y="80"/>
                    </a:lnTo>
                    <a:lnTo>
                      <a:pt x="296" y="113"/>
                    </a:lnTo>
                    <a:lnTo>
                      <a:pt x="278" y="144"/>
                    </a:lnTo>
                    <a:lnTo>
                      <a:pt x="261" y="144"/>
                    </a:lnTo>
                    <a:lnTo>
                      <a:pt x="261" y="161"/>
                    </a:lnTo>
                    <a:lnTo>
                      <a:pt x="244" y="176"/>
                    </a:lnTo>
                    <a:lnTo>
                      <a:pt x="244" y="209"/>
                    </a:lnTo>
                    <a:lnTo>
                      <a:pt x="175" y="224"/>
                    </a:lnTo>
                    <a:lnTo>
                      <a:pt x="157" y="240"/>
                    </a:lnTo>
                    <a:lnTo>
                      <a:pt x="157" y="272"/>
                    </a:lnTo>
                    <a:lnTo>
                      <a:pt x="54" y="288"/>
                    </a:lnTo>
                    <a:lnTo>
                      <a:pt x="19" y="272"/>
                    </a:lnTo>
                    <a:lnTo>
                      <a:pt x="36" y="240"/>
                    </a:lnTo>
                    <a:lnTo>
                      <a:pt x="36" y="224"/>
                    </a:lnTo>
                    <a:lnTo>
                      <a:pt x="0" y="209"/>
                    </a:lnTo>
                    <a:lnTo>
                      <a:pt x="0" y="144"/>
                    </a:lnTo>
                    <a:lnTo>
                      <a:pt x="19" y="113"/>
                    </a:lnTo>
                    <a:lnTo>
                      <a:pt x="19" y="96"/>
                    </a:lnTo>
                    <a:lnTo>
                      <a:pt x="71" y="96"/>
                    </a:lnTo>
                    <a:lnTo>
                      <a:pt x="71" y="80"/>
                    </a:lnTo>
                    <a:lnTo>
                      <a:pt x="105" y="80"/>
                    </a:lnTo>
                    <a:lnTo>
                      <a:pt x="123" y="48"/>
                    </a:lnTo>
                    <a:lnTo>
                      <a:pt x="140" y="48"/>
                    </a:lnTo>
                    <a:lnTo>
                      <a:pt x="140" y="32"/>
                    </a:lnTo>
                    <a:lnTo>
                      <a:pt x="209" y="48"/>
                    </a:lnTo>
                    <a:lnTo>
                      <a:pt x="244" y="48"/>
                    </a:lnTo>
                    <a:lnTo>
                      <a:pt x="244" y="32"/>
                    </a:lnTo>
                    <a:lnTo>
                      <a:pt x="261" y="32"/>
                    </a:lnTo>
                    <a:lnTo>
                      <a:pt x="278" y="0"/>
                    </a:lnTo>
                    <a:lnTo>
                      <a:pt x="296" y="17"/>
                    </a:lnTo>
                    <a:lnTo>
                      <a:pt x="313" y="65"/>
                    </a:lnTo>
                    <a:lnTo>
                      <a:pt x="347" y="32"/>
                    </a:lnTo>
                    <a:lnTo>
                      <a:pt x="399" y="48"/>
                    </a:lnTo>
                    <a:lnTo>
                      <a:pt x="382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67" name="Freeform 202">
                <a:extLst>
                  <a:ext uri="{FF2B5EF4-FFF2-40B4-BE49-F238E27FC236}">
                    <a16:creationId xmlns:a16="http://schemas.microsoft.com/office/drawing/2014/main" id="{A32DAE9D-9591-AE4D-A283-38B49E0FC3A2}"/>
                  </a:ext>
                </a:extLst>
              </p:cNvPr>
              <p:cNvSpPr>
                <a:spLocks/>
              </p:cNvSpPr>
              <p:nvPr>
                <p:custDataLst>
                  <p:tags r:id="rId229"/>
                </p:custDataLst>
              </p:nvPr>
            </p:nvSpPr>
            <p:spPr bwMode="auto">
              <a:xfrm>
                <a:off x="5575299" y="3678238"/>
                <a:ext cx="152400" cy="50800"/>
              </a:xfrm>
              <a:custGeom>
                <a:avLst/>
                <a:gdLst>
                  <a:gd name="T0" fmla="*/ 10319 w 192"/>
                  <a:gd name="T1" fmla="*/ 12902 h 63"/>
                  <a:gd name="T2" fmla="*/ 10319 w 192"/>
                  <a:gd name="T3" fmla="*/ 12902 h 63"/>
                  <a:gd name="T4" fmla="*/ 10319 w 192"/>
                  <a:gd name="T5" fmla="*/ 9676 h 63"/>
                  <a:gd name="T6" fmla="*/ 10319 w 192"/>
                  <a:gd name="T7" fmla="*/ 6451 h 63"/>
                  <a:gd name="T8" fmla="*/ 0 w 192"/>
                  <a:gd name="T9" fmla="*/ 0 h 63"/>
                  <a:gd name="T10" fmla="*/ 17463 w 192"/>
                  <a:gd name="T11" fmla="*/ 0 h 63"/>
                  <a:gd name="T12" fmla="*/ 23812 w 192"/>
                  <a:gd name="T13" fmla="*/ 3225 h 63"/>
                  <a:gd name="T14" fmla="*/ 31750 w 192"/>
                  <a:gd name="T15" fmla="*/ 3225 h 63"/>
                  <a:gd name="T16" fmla="*/ 38100 w 192"/>
                  <a:gd name="T17" fmla="*/ 9676 h 63"/>
                  <a:gd name="T18" fmla="*/ 34925 w 192"/>
                  <a:gd name="T19" fmla="*/ 9676 h 63"/>
                  <a:gd name="T20" fmla="*/ 38100 w 192"/>
                  <a:gd name="T21" fmla="*/ 12902 h 63"/>
                  <a:gd name="T22" fmla="*/ 31750 w 192"/>
                  <a:gd name="T23" fmla="*/ 12902 h 63"/>
                  <a:gd name="T24" fmla="*/ 27781 w 192"/>
                  <a:gd name="T25" fmla="*/ 12902 h 63"/>
                  <a:gd name="T26" fmla="*/ 20637 w 192"/>
                  <a:gd name="T27" fmla="*/ 12902 h 63"/>
                  <a:gd name="T28" fmla="*/ 10319 w 192"/>
                  <a:gd name="T29" fmla="*/ 12902 h 6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92"/>
                  <a:gd name="T46" fmla="*/ 0 h 63"/>
                  <a:gd name="T47" fmla="*/ 192 w 192"/>
                  <a:gd name="T48" fmla="*/ 63 h 6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92" h="63">
                    <a:moveTo>
                      <a:pt x="54" y="63"/>
                    </a:moveTo>
                    <a:lnTo>
                      <a:pt x="54" y="63"/>
                    </a:lnTo>
                    <a:lnTo>
                      <a:pt x="54" y="48"/>
                    </a:lnTo>
                    <a:lnTo>
                      <a:pt x="54" y="32"/>
                    </a:lnTo>
                    <a:lnTo>
                      <a:pt x="0" y="0"/>
                    </a:lnTo>
                    <a:lnTo>
                      <a:pt x="88" y="0"/>
                    </a:lnTo>
                    <a:lnTo>
                      <a:pt x="123" y="15"/>
                    </a:lnTo>
                    <a:lnTo>
                      <a:pt x="157" y="15"/>
                    </a:lnTo>
                    <a:lnTo>
                      <a:pt x="192" y="48"/>
                    </a:lnTo>
                    <a:lnTo>
                      <a:pt x="175" y="48"/>
                    </a:lnTo>
                    <a:lnTo>
                      <a:pt x="192" y="63"/>
                    </a:lnTo>
                    <a:lnTo>
                      <a:pt x="157" y="63"/>
                    </a:lnTo>
                    <a:lnTo>
                      <a:pt x="140" y="63"/>
                    </a:lnTo>
                    <a:lnTo>
                      <a:pt x="105" y="63"/>
                    </a:lnTo>
                    <a:lnTo>
                      <a:pt x="54" y="63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68" name="Freeform 203">
                <a:extLst>
                  <a:ext uri="{FF2B5EF4-FFF2-40B4-BE49-F238E27FC236}">
                    <a16:creationId xmlns:a16="http://schemas.microsoft.com/office/drawing/2014/main" id="{6DCCB57F-DBA1-5E4C-85D4-E5652075D2D9}"/>
                  </a:ext>
                </a:extLst>
              </p:cNvPr>
              <p:cNvSpPr>
                <a:spLocks/>
              </p:cNvSpPr>
              <p:nvPr>
                <p:custDataLst>
                  <p:tags r:id="rId230"/>
                </p:custDataLst>
              </p:nvPr>
            </p:nvSpPr>
            <p:spPr bwMode="auto">
              <a:xfrm>
                <a:off x="5272087" y="3716338"/>
                <a:ext cx="412750" cy="152400"/>
              </a:xfrm>
              <a:custGeom>
                <a:avLst/>
                <a:gdLst>
                  <a:gd name="T0" fmla="*/ 103188 w 520"/>
                  <a:gd name="T1" fmla="*/ 12766 h 191"/>
                  <a:gd name="T2" fmla="*/ 103188 w 520"/>
                  <a:gd name="T3" fmla="*/ 12766 h 191"/>
                  <a:gd name="T4" fmla="*/ 99219 w 520"/>
                  <a:gd name="T5" fmla="*/ 12766 h 191"/>
                  <a:gd name="T6" fmla="*/ 96044 w 520"/>
                  <a:gd name="T7" fmla="*/ 3192 h 191"/>
                  <a:gd name="T8" fmla="*/ 85725 w 520"/>
                  <a:gd name="T9" fmla="*/ 3192 h 191"/>
                  <a:gd name="T10" fmla="*/ 75406 w 520"/>
                  <a:gd name="T11" fmla="*/ 6383 h 191"/>
                  <a:gd name="T12" fmla="*/ 61912 w 520"/>
                  <a:gd name="T13" fmla="*/ 6383 h 191"/>
                  <a:gd name="T14" fmla="*/ 51594 w 520"/>
                  <a:gd name="T15" fmla="*/ 0 h 191"/>
                  <a:gd name="T16" fmla="*/ 41275 w 520"/>
                  <a:gd name="T17" fmla="*/ 0 h 191"/>
                  <a:gd name="T18" fmla="*/ 30956 w 520"/>
                  <a:gd name="T19" fmla="*/ 6383 h 191"/>
                  <a:gd name="T20" fmla="*/ 23812 w 520"/>
                  <a:gd name="T21" fmla="*/ 6383 h 191"/>
                  <a:gd name="T22" fmla="*/ 17462 w 520"/>
                  <a:gd name="T23" fmla="*/ 6383 h 191"/>
                  <a:gd name="T24" fmla="*/ 13494 w 520"/>
                  <a:gd name="T25" fmla="*/ 0 h 191"/>
                  <a:gd name="T26" fmla="*/ 7144 w 520"/>
                  <a:gd name="T27" fmla="*/ 0 h 191"/>
                  <a:gd name="T28" fmla="*/ 3175 w 520"/>
                  <a:gd name="T29" fmla="*/ 3192 h 191"/>
                  <a:gd name="T30" fmla="*/ 0 w 520"/>
                  <a:gd name="T31" fmla="*/ 9575 h 191"/>
                  <a:gd name="T32" fmla="*/ 3175 w 520"/>
                  <a:gd name="T33" fmla="*/ 9575 h 191"/>
                  <a:gd name="T34" fmla="*/ 3175 w 520"/>
                  <a:gd name="T35" fmla="*/ 12766 h 191"/>
                  <a:gd name="T36" fmla="*/ 10319 w 520"/>
                  <a:gd name="T37" fmla="*/ 6383 h 191"/>
                  <a:gd name="T38" fmla="*/ 17462 w 520"/>
                  <a:gd name="T39" fmla="*/ 6383 h 191"/>
                  <a:gd name="T40" fmla="*/ 20637 w 520"/>
                  <a:gd name="T41" fmla="*/ 9575 h 191"/>
                  <a:gd name="T42" fmla="*/ 17462 w 520"/>
                  <a:gd name="T43" fmla="*/ 9575 h 191"/>
                  <a:gd name="T44" fmla="*/ 17462 w 520"/>
                  <a:gd name="T45" fmla="*/ 12766 h 191"/>
                  <a:gd name="T46" fmla="*/ 7144 w 520"/>
                  <a:gd name="T47" fmla="*/ 12766 h 191"/>
                  <a:gd name="T48" fmla="*/ 3175 w 520"/>
                  <a:gd name="T49" fmla="*/ 12766 h 191"/>
                  <a:gd name="T50" fmla="*/ 3175 w 520"/>
                  <a:gd name="T51" fmla="*/ 19150 h 191"/>
                  <a:gd name="T52" fmla="*/ 7144 w 520"/>
                  <a:gd name="T53" fmla="*/ 15958 h 191"/>
                  <a:gd name="T54" fmla="*/ 7144 w 520"/>
                  <a:gd name="T55" fmla="*/ 22341 h 191"/>
                  <a:gd name="T56" fmla="*/ 3175 w 520"/>
                  <a:gd name="T57" fmla="*/ 22341 h 191"/>
                  <a:gd name="T58" fmla="*/ 3175 w 520"/>
                  <a:gd name="T59" fmla="*/ 25533 h 191"/>
                  <a:gd name="T60" fmla="*/ 7144 w 520"/>
                  <a:gd name="T61" fmla="*/ 25533 h 191"/>
                  <a:gd name="T62" fmla="*/ 7144 w 520"/>
                  <a:gd name="T63" fmla="*/ 28725 h 191"/>
                  <a:gd name="T64" fmla="*/ 10319 w 520"/>
                  <a:gd name="T65" fmla="*/ 31916 h 191"/>
                  <a:gd name="T66" fmla="*/ 7144 w 520"/>
                  <a:gd name="T67" fmla="*/ 31916 h 191"/>
                  <a:gd name="T68" fmla="*/ 13494 w 520"/>
                  <a:gd name="T69" fmla="*/ 31916 h 191"/>
                  <a:gd name="T70" fmla="*/ 13494 w 520"/>
                  <a:gd name="T71" fmla="*/ 35108 h 191"/>
                  <a:gd name="T72" fmla="*/ 20637 w 520"/>
                  <a:gd name="T73" fmla="*/ 38299 h 191"/>
                  <a:gd name="T74" fmla="*/ 27781 w 520"/>
                  <a:gd name="T75" fmla="*/ 35108 h 191"/>
                  <a:gd name="T76" fmla="*/ 30956 w 520"/>
                  <a:gd name="T77" fmla="*/ 35108 h 191"/>
                  <a:gd name="T78" fmla="*/ 38100 w 520"/>
                  <a:gd name="T79" fmla="*/ 38299 h 191"/>
                  <a:gd name="T80" fmla="*/ 41275 w 520"/>
                  <a:gd name="T81" fmla="*/ 38299 h 191"/>
                  <a:gd name="T82" fmla="*/ 48419 w 520"/>
                  <a:gd name="T83" fmla="*/ 35108 h 191"/>
                  <a:gd name="T84" fmla="*/ 54769 w 520"/>
                  <a:gd name="T85" fmla="*/ 35108 h 191"/>
                  <a:gd name="T86" fmla="*/ 54769 w 520"/>
                  <a:gd name="T87" fmla="*/ 31916 h 191"/>
                  <a:gd name="T88" fmla="*/ 54769 w 520"/>
                  <a:gd name="T89" fmla="*/ 38299 h 191"/>
                  <a:gd name="T90" fmla="*/ 57944 w 520"/>
                  <a:gd name="T91" fmla="*/ 38299 h 191"/>
                  <a:gd name="T92" fmla="*/ 57944 w 520"/>
                  <a:gd name="T93" fmla="*/ 35108 h 191"/>
                  <a:gd name="T94" fmla="*/ 68262 w 520"/>
                  <a:gd name="T95" fmla="*/ 31916 h 191"/>
                  <a:gd name="T96" fmla="*/ 72231 w 520"/>
                  <a:gd name="T97" fmla="*/ 35108 h 191"/>
                  <a:gd name="T98" fmla="*/ 82550 w 520"/>
                  <a:gd name="T99" fmla="*/ 31916 h 191"/>
                  <a:gd name="T100" fmla="*/ 92869 w 520"/>
                  <a:gd name="T101" fmla="*/ 31916 h 191"/>
                  <a:gd name="T102" fmla="*/ 92869 w 520"/>
                  <a:gd name="T103" fmla="*/ 28725 h 191"/>
                  <a:gd name="T104" fmla="*/ 103188 w 520"/>
                  <a:gd name="T105" fmla="*/ 31916 h 191"/>
                  <a:gd name="T106" fmla="*/ 99219 w 520"/>
                  <a:gd name="T107" fmla="*/ 15958 h 191"/>
                  <a:gd name="T108" fmla="*/ 103188 w 520"/>
                  <a:gd name="T109" fmla="*/ 12766 h 19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520"/>
                  <a:gd name="T166" fmla="*/ 0 h 191"/>
                  <a:gd name="T167" fmla="*/ 520 w 520"/>
                  <a:gd name="T168" fmla="*/ 191 h 19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520" h="191">
                    <a:moveTo>
                      <a:pt x="520" y="63"/>
                    </a:moveTo>
                    <a:lnTo>
                      <a:pt x="520" y="63"/>
                    </a:lnTo>
                    <a:lnTo>
                      <a:pt x="503" y="63"/>
                    </a:lnTo>
                    <a:lnTo>
                      <a:pt x="485" y="15"/>
                    </a:lnTo>
                    <a:lnTo>
                      <a:pt x="434" y="15"/>
                    </a:lnTo>
                    <a:lnTo>
                      <a:pt x="382" y="32"/>
                    </a:lnTo>
                    <a:lnTo>
                      <a:pt x="313" y="32"/>
                    </a:lnTo>
                    <a:lnTo>
                      <a:pt x="261" y="0"/>
                    </a:lnTo>
                    <a:lnTo>
                      <a:pt x="209" y="0"/>
                    </a:lnTo>
                    <a:lnTo>
                      <a:pt x="157" y="32"/>
                    </a:lnTo>
                    <a:lnTo>
                      <a:pt x="123" y="32"/>
                    </a:lnTo>
                    <a:lnTo>
                      <a:pt x="88" y="32"/>
                    </a:lnTo>
                    <a:lnTo>
                      <a:pt x="71" y="0"/>
                    </a:lnTo>
                    <a:lnTo>
                      <a:pt x="36" y="0"/>
                    </a:lnTo>
                    <a:lnTo>
                      <a:pt x="19" y="15"/>
                    </a:lnTo>
                    <a:lnTo>
                      <a:pt x="0" y="48"/>
                    </a:lnTo>
                    <a:lnTo>
                      <a:pt x="19" y="48"/>
                    </a:lnTo>
                    <a:lnTo>
                      <a:pt x="19" y="63"/>
                    </a:lnTo>
                    <a:lnTo>
                      <a:pt x="54" y="32"/>
                    </a:lnTo>
                    <a:lnTo>
                      <a:pt x="88" y="32"/>
                    </a:lnTo>
                    <a:lnTo>
                      <a:pt x="105" y="48"/>
                    </a:lnTo>
                    <a:lnTo>
                      <a:pt x="88" y="48"/>
                    </a:lnTo>
                    <a:lnTo>
                      <a:pt x="88" y="63"/>
                    </a:lnTo>
                    <a:lnTo>
                      <a:pt x="36" y="63"/>
                    </a:lnTo>
                    <a:lnTo>
                      <a:pt x="19" y="63"/>
                    </a:lnTo>
                    <a:lnTo>
                      <a:pt x="19" y="96"/>
                    </a:lnTo>
                    <a:lnTo>
                      <a:pt x="36" y="80"/>
                    </a:lnTo>
                    <a:lnTo>
                      <a:pt x="36" y="111"/>
                    </a:lnTo>
                    <a:lnTo>
                      <a:pt x="19" y="111"/>
                    </a:lnTo>
                    <a:lnTo>
                      <a:pt x="19" y="128"/>
                    </a:lnTo>
                    <a:lnTo>
                      <a:pt x="36" y="128"/>
                    </a:lnTo>
                    <a:lnTo>
                      <a:pt x="36" y="143"/>
                    </a:lnTo>
                    <a:lnTo>
                      <a:pt x="54" y="159"/>
                    </a:lnTo>
                    <a:lnTo>
                      <a:pt x="36" y="159"/>
                    </a:lnTo>
                    <a:lnTo>
                      <a:pt x="71" y="159"/>
                    </a:lnTo>
                    <a:lnTo>
                      <a:pt x="71" y="176"/>
                    </a:lnTo>
                    <a:lnTo>
                      <a:pt x="105" y="191"/>
                    </a:lnTo>
                    <a:lnTo>
                      <a:pt x="140" y="176"/>
                    </a:lnTo>
                    <a:lnTo>
                      <a:pt x="157" y="176"/>
                    </a:lnTo>
                    <a:lnTo>
                      <a:pt x="192" y="191"/>
                    </a:lnTo>
                    <a:lnTo>
                      <a:pt x="209" y="191"/>
                    </a:lnTo>
                    <a:lnTo>
                      <a:pt x="244" y="176"/>
                    </a:lnTo>
                    <a:lnTo>
                      <a:pt x="278" y="176"/>
                    </a:lnTo>
                    <a:lnTo>
                      <a:pt x="278" y="159"/>
                    </a:lnTo>
                    <a:lnTo>
                      <a:pt x="278" y="191"/>
                    </a:lnTo>
                    <a:lnTo>
                      <a:pt x="295" y="191"/>
                    </a:lnTo>
                    <a:lnTo>
                      <a:pt x="295" y="176"/>
                    </a:lnTo>
                    <a:lnTo>
                      <a:pt x="347" y="159"/>
                    </a:lnTo>
                    <a:lnTo>
                      <a:pt x="365" y="176"/>
                    </a:lnTo>
                    <a:lnTo>
                      <a:pt x="416" y="159"/>
                    </a:lnTo>
                    <a:lnTo>
                      <a:pt x="468" y="159"/>
                    </a:lnTo>
                    <a:lnTo>
                      <a:pt x="468" y="143"/>
                    </a:lnTo>
                    <a:lnTo>
                      <a:pt x="520" y="159"/>
                    </a:lnTo>
                    <a:lnTo>
                      <a:pt x="503" y="80"/>
                    </a:lnTo>
                    <a:lnTo>
                      <a:pt x="520" y="6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69" name="Freeform 204">
                <a:extLst>
                  <a:ext uri="{FF2B5EF4-FFF2-40B4-BE49-F238E27FC236}">
                    <a16:creationId xmlns:a16="http://schemas.microsoft.com/office/drawing/2014/main" id="{CF0E4F2A-595E-5848-B210-19A03FD5308B}"/>
                  </a:ext>
                </a:extLst>
              </p:cNvPr>
              <p:cNvSpPr>
                <a:spLocks/>
              </p:cNvSpPr>
              <p:nvPr>
                <p:custDataLst>
                  <p:tags r:id="rId231"/>
                </p:custDataLst>
              </p:nvPr>
            </p:nvSpPr>
            <p:spPr bwMode="auto">
              <a:xfrm>
                <a:off x="5467349" y="3933826"/>
                <a:ext cx="93663" cy="100013"/>
              </a:xfrm>
              <a:custGeom>
                <a:avLst/>
                <a:gdLst>
                  <a:gd name="T0" fmla="*/ 22825 w 119"/>
                  <a:gd name="T1" fmla="*/ 5513 h 127"/>
                  <a:gd name="T2" fmla="*/ 22825 w 119"/>
                  <a:gd name="T3" fmla="*/ 5513 h 127"/>
                  <a:gd name="T4" fmla="*/ 22825 w 119"/>
                  <a:gd name="T5" fmla="*/ 0 h 127"/>
                  <a:gd name="T6" fmla="*/ 19677 w 119"/>
                  <a:gd name="T7" fmla="*/ 0 h 127"/>
                  <a:gd name="T8" fmla="*/ 9445 w 119"/>
                  <a:gd name="T9" fmla="*/ 5513 h 127"/>
                  <a:gd name="T10" fmla="*/ 2361 w 119"/>
                  <a:gd name="T11" fmla="*/ 5513 h 127"/>
                  <a:gd name="T12" fmla="*/ 2361 w 119"/>
                  <a:gd name="T13" fmla="*/ 9450 h 127"/>
                  <a:gd name="T14" fmla="*/ 2361 w 119"/>
                  <a:gd name="T15" fmla="*/ 14963 h 127"/>
                  <a:gd name="T16" fmla="*/ 0 w 119"/>
                  <a:gd name="T17" fmla="*/ 24413 h 127"/>
                  <a:gd name="T18" fmla="*/ 6297 w 119"/>
                  <a:gd name="T19" fmla="*/ 24413 h 127"/>
                  <a:gd name="T20" fmla="*/ 9445 w 119"/>
                  <a:gd name="T21" fmla="*/ 21263 h 127"/>
                  <a:gd name="T22" fmla="*/ 12593 w 119"/>
                  <a:gd name="T23" fmla="*/ 21263 h 127"/>
                  <a:gd name="T24" fmla="*/ 16529 w 119"/>
                  <a:gd name="T25" fmla="*/ 14963 h 127"/>
                  <a:gd name="T26" fmla="*/ 12593 w 119"/>
                  <a:gd name="T27" fmla="*/ 11813 h 127"/>
                  <a:gd name="T28" fmla="*/ 22825 w 119"/>
                  <a:gd name="T29" fmla="*/ 5513 h 12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19"/>
                  <a:gd name="T46" fmla="*/ 0 h 127"/>
                  <a:gd name="T47" fmla="*/ 119 w 119"/>
                  <a:gd name="T48" fmla="*/ 127 h 12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19" h="127">
                    <a:moveTo>
                      <a:pt x="119" y="31"/>
                    </a:moveTo>
                    <a:lnTo>
                      <a:pt x="119" y="31"/>
                    </a:lnTo>
                    <a:lnTo>
                      <a:pt x="119" y="0"/>
                    </a:lnTo>
                    <a:lnTo>
                      <a:pt x="101" y="0"/>
                    </a:lnTo>
                    <a:lnTo>
                      <a:pt x="49" y="31"/>
                    </a:lnTo>
                    <a:lnTo>
                      <a:pt x="15" y="31"/>
                    </a:lnTo>
                    <a:lnTo>
                      <a:pt x="15" y="48"/>
                    </a:lnTo>
                    <a:lnTo>
                      <a:pt x="15" y="79"/>
                    </a:lnTo>
                    <a:lnTo>
                      <a:pt x="0" y="127"/>
                    </a:lnTo>
                    <a:lnTo>
                      <a:pt x="32" y="127"/>
                    </a:lnTo>
                    <a:lnTo>
                      <a:pt x="49" y="111"/>
                    </a:lnTo>
                    <a:lnTo>
                      <a:pt x="67" y="111"/>
                    </a:lnTo>
                    <a:lnTo>
                      <a:pt x="84" y="79"/>
                    </a:lnTo>
                    <a:lnTo>
                      <a:pt x="67" y="63"/>
                    </a:lnTo>
                    <a:lnTo>
                      <a:pt x="119" y="3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70" name="Freeform 205">
                <a:extLst>
                  <a:ext uri="{FF2B5EF4-FFF2-40B4-BE49-F238E27FC236}">
                    <a16:creationId xmlns:a16="http://schemas.microsoft.com/office/drawing/2014/main" id="{69CE542E-0580-8F43-A561-B1778A0CF74B}"/>
                  </a:ext>
                </a:extLst>
              </p:cNvPr>
              <p:cNvSpPr>
                <a:spLocks/>
              </p:cNvSpPr>
              <p:nvPr>
                <p:custDataLst>
                  <p:tags r:id="rId232"/>
                </p:custDataLst>
              </p:nvPr>
            </p:nvSpPr>
            <p:spPr bwMode="auto">
              <a:xfrm>
                <a:off x="5810249" y="4110038"/>
                <a:ext cx="136525" cy="63500"/>
              </a:xfrm>
              <a:custGeom>
                <a:avLst/>
                <a:gdLst>
                  <a:gd name="T0" fmla="*/ 26832 w 173"/>
                  <a:gd name="T1" fmla="*/ 13494 h 80"/>
                  <a:gd name="T2" fmla="*/ 26832 w 173"/>
                  <a:gd name="T3" fmla="*/ 13494 h 80"/>
                  <a:gd name="T4" fmla="*/ 33934 w 173"/>
                  <a:gd name="T5" fmla="*/ 6350 h 80"/>
                  <a:gd name="T6" fmla="*/ 33934 w 173"/>
                  <a:gd name="T7" fmla="*/ 3969 h 80"/>
                  <a:gd name="T8" fmla="*/ 30777 w 173"/>
                  <a:gd name="T9" fmla="*/ 0 h 80"/>
                  <a:gd name="T10" fmla="*/ 20518 w 173"/>
                  <a:gd name="T11" fmla="*/ 9525 h 80"/>
                  <a:gd name="T12" fmla="*/ 10259 w 173"/>
                  <a:gd name="T13" fmla="*/ 9525 h 80"/>
                  <a:gd name="T14" fmla="*/ 3157 w 173"/>
                  <a:gd name="T15" fmla="*/ 9525 h 80"/>
                  <a:gd name="T16" fmla="*/ 0 w 173"/>
                  <a:gd name="T17" fmla="*/ 13494 h 80"/>
                  <a:gd name="T18" fmla="*/ 3157 w 173"/>
                  <a:gd name="T19" fmla="*/ 15875 h 80"/>
                  <a:gd name="T20" fmla="*/ 6313 w 173"/>
                  <a:gd name="T21" fmla="*/ 15875 h 80"/>
                  <a:gd name="T22" fmla="*/ 10259 w 173"/>
                  <a:gd name="T23" fmla="*/ 15875 h 80"/>
                  <a:gd name="T24" fmla="*/ 13416 w 173"/>
                  <a:gd name="T25" fmla="*/ 15875 h 80"/>
                  <a:gd name="T26" fmla="*/ 16572 w 173"/>
                  <a:gd name="T27" fmla="*/ 15875 h 80"/>
                  <a:gd name="T28" fmla="*/ 20518 w 173"/>
                  <a:gd name="T29" fmla="*/ 15875 h 80"/>
                  <a:gd name="T30" fmla="*/ 20518 w 173"/>
                  <a:gd name="T31" fmla="*/ 13494 h 80"/>
                  <a:gd name="T32" fmla="*/ 23675 w 173"/>
                  <a:gd name="T33" fmla="*/ 13494 h 80"/>
                  <a:gd name="T34" fmla="*/ 26832 w 173"/>
                  <a:gd name="T35" fmla="*/ 13494 h 8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73"/>
                  <a:gd name="T55" fmla="*/ 0 h 80"/>
                  <a:gd name="T56" fmla="*/ 173 w 173"/>
                  <a:gd name="T57" fmla="*/ 80 h 80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73" h="80">
                    <a:moveTo>
                      <a:pt x="139" y="65"/>
                    </a:moveTo>
                    <a:lnTo>
                      <a:pt x="139" y="65"/>
                    </a:lnTo>
                    <a:lnTo>
                      <a:pt x="173" y="32"/>
                    </a:lnTo>
                    <a:lnTo>
                      <a:pt x="173" y="17"/>
                    </a:lnTo>
                    <a:lnTo>
                      <a:pt x="156" y="0"/>
                    </a:lnTo>
                    <a:lnTo>
                      <a:pt x="104" y="48"/>
                    </a:lnTo>
                    <a:lnTo>
                      <a:pt x="52" y="48"/>
                    </a:lnTo>
                    <a:lnTo>
                      <a:pt x="18" y="48"/>
                    </a:lnTo>
                    <a:lnTo>
                      <a:pt x="0" y="65"/>
                    </a:lnTo>
                    <a:lnTo>
                      <a:pt x="18" y="80"/>
                    </a:lnTo>
                    <a:lnTo>
                      <a:pt x="35" y="80"/>
                    </a:lnTo>
                    <a:lnTo>
                      <a:pt x="52" y="80"/>
                    </a:lnTo>
                    <a:lnTo>
                      <a:pt x="70" y="80"/>
                    </a:lnTo>
                    <a:lnTo>
                      <a:pt x="87" y="80"/>
                    </a:lnTo>
                    <a:lnTo>
                      <a:pt x="104" y="80"/>
                    </a:lnTo>
                    <a:lnTo>
                      <a:pt x="104" y="65"/>
                    </a:lnTo>
                    <a:lnTo>
                      <a:pt x="121" y="65"/>
                    </a:lnTo>
                    <a:lnTo>
                      <a:pt x="139" y="6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71" name="Freeform 206">
                <a:extLst>
                  <a:ext uri="{FF2B5EF4-FFF2-40B4-BE49-F238E27FC236}">
                    <a16:creationId xmlns:a16="http://schemas.microsoft.com/office/drawing/2014/main" id="{828225F1-1CFC-B74E-8C19-EF09738FECF5}"/>
                  </a:ext>
                </a:extLst>
              </p:cNvPr>
              <p:cNvSpPr>
                <a:spLocks/>
              </p:cNvSpPr>
              <p:nvPr>
                <p:custDataLst>
                  <p:tags r:id="rId233"/>
                </p:custDataLst>
              </p:nvPr>
            </p:nvSpPr>
            <p:spPr bwMode="auto">
              <a:xfrm>
                <a:off x="5932487" y="4097338"/>
                <a:ext cx="14288" cy="25400"/>
              </a:xfrm>
              <a:custGeom>
                <a:avLst/>
                <a:gdLst>
                  <a:gd name="T0" fmla="*/ 4202 w 17"/>
                  <a:gd name="T1" fmla="*/ 6158 h 33"/>
                  <a:gd name="T2" fmla="*/ 4202 w 17"/>
                  <a:gd name="T3" fmla="*/ 6158 h 33"/>
                  <a:gd name="T4" fmla="*/ 0 w 17"/>
                  <a:gd name="T5" fmla="*/ 3079 h 33"/>
                  <a:gd name="T6" fmla="*/ 0 w 17"/>
                  <a:gd name="T7" fmla="*/ 0 h 33"/>
                  <a:gd name="T8" fmla="*/ 4202 w 17"/>
                  <a:gd name="T9" fmla="*/ 0 h 33"/>
                  <a:gd name="T10" fmla="*/ 4202 w 17"/>
                  <a:gd name="T11" fmla="*/ 6158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7"/>
                  <a:gd name="T19" fmla="*/ 0 h 33"/>
                  <a:gd name="T20" fmla="*/ 17 w 17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7" h="33">
                    <a:moveTo>
                      <a:pt x="17" y="33"/>
                    </a:moveTo>
                    <a:lnTo>
                      <a:pt x="17" y="33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17" y="3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72" name="Freeform 207">
                <a:extLst>
                  <a:ext uri="{FF2B5EF4-FFF2-40B4-BE49-F238E27FC236}">
                    <a16:creationId xmlns:a16="http://schemas.microsoft.com/office/drawing/2014/main" id="{CE31E2E5-207D-F64C-AE70-5B4C282967E8}"/>
                  </a:ext>
                </a:extLst>
              </p:cNvPr>
              <p:cNvSpPr>
                <a:spLocks/>
              </p:cNvSpPr>
              <p:nvPr>
                <p:custDataLst>
                  <p:tags r:id="rId234"/>
                </p:custDataLst>
              </p:nvPr>
            </p:nvSpPr>
            <p:spPr bwMode="auto">
              <a:xfrm>
                <a:off x="5643562" y="4287838"/>
                <a:ext cx="220663" cy="101600"/>
              </a:xfrm>
              <a:custGeom>
                <a:avLst/>
                <a:gdLst>
                  <a:gd name="T0" fmla="*/ 0 w 279"/>
                  <a:gd name="T1" fmla="*/ 6301 h 129"/>
                  <a:gd name="T2" fmla="*/ 0 w 279"/>
                  <a:gd name="T3" fmla="*/ 6301 h 129"/>
                  <a:gd name="T4" fmla="*/ 3164 w 279"/>
                  <a:gd name="T5" fmla="*/ 3150 h 129"/>
                  <a:gd name="T6" fmla="*/ 13445 w 279"/>
                  <a:gd name="T7" fmla="*/ 11814 h 129"/>
                  <a:gd name="T8" fmla="*/ 16609 w 279"/>
                  <a:gd name="T9" fmla="*/ 18902 h 129"/>
                  <a:gd name="T10" fmla="*/ 41127 w 279"/>
                  <a:gd name="T11" fmla="*/ 3150 h 129"/>
                  <a:gd name="T12" fmla="*/ 54573 w 279"/>
                  <a:gd name="T13" fmla="*/ 0 h 129"/>
                  <a:gd name="T14" fmla="*/ 54573 w 279"/>
                  <a:gd name="T15" fmla="*/ 3150 h 129"/>
                  <a:gd name="T16" fmla="*/ 51409 w 279"/>
                  <a:gd name="T17" fmla="*/ 6301 h 129"/>
                  <a:gd name="T18" fmla="*/ 51409 w 279"/>
                  <a:gd name="T19" fmla="*/ 9451 h 129"/>
                  <a:gd name="T20" fmla="*/ 37964 w 279"/>
                  <a:gd name="T21" fmla="*/ 11814 h 129"/>
                  <a:gd name="T22" fmla="*/ 23727 w 279"/>
                  <a:gd name="T23" fmla="*/ 21265 h 129"/>
                  <a:gd name="T24" fmla="*/ 16609 w 279"/>
                  <a:gd name="T25" fmla="*/ 21265 h 129"/>
                  <a:gd name="T26" fmla="*/ 10282 w 279"/>
                  <a:gd name="T27" fmla="*/ 25203 h 129"/>
                  <a:gd name="T28" fmla="*/ 3164 w 279"/>
                  <a:gd name="T29" fmla="*/ 25203 h 129"/>
                  <a:gd name="T30" fmla="*/ 0 w 279"/>
                  <a:gd name="T31" fmla="*/ 6301 h 12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79"/>
                  <a:gd name="T49" fmla="*/ 0 h 129"/>
                  <a:gd name="T50" fmla="*/ 279 w 279"/>
                  <a:gd name="T51" fmla="*/ 129 h 12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79" h="129">
                    <a:moveTo>
                      <a:pt x="0" y="33"/>
                    </a:moveTo>
                    <a:lnTo>
                      <a:pt x="0" y="33"/>
                    </a:lnTo>
                    <a:lnTo>
                      <a:pt x="17" y="16"/>
                    </a:lnTo>
                    <a:lnTo>
                      <a:pt x="69" y="63"/>
                    </a:lnTo>
                    <a:lnTo>
                      <a:pt x="87" y="96"/>
                    </a:lnTo>
                    <a:lnTo>
                      <a:pt x="209" y="16"/>
                    </a:lnTo>
                    <a:lnTo>
                      <a:pt x="279" y="0"/>
                    </a:lnTo>
                    <a:lnTo>
                      <a:pt x="279" y="16"/>
                    </a:lnTo>
                    <a:lnTo>
                      <a:pt x="261" y="33"/>
                    </a:lnTo>
                    <a:lnTo>
                      <a:pt x="261" y="48"/>
                    </a:lnTo>
                    <a:lnTo>
                      <a:pt x="192" y="63"/>
                    </a:lnTo>
                    <a:lnTo>
                      <a:pt x="123" y="111"/>
                    </a:lnTo>
                    <a:lnTo>
                      <a:pt x="87" y="111"/>
                    </a:lnTo>
                    <a:lnTo>
                      <a:pt x="52" y="129"/>
                    </a:lnTo>
                    <a:lnTo>
                      <a:pt x="17" y="129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73" name="Freeform 208">
                <a:extLst>
                  <a:ext uri="{FF2B5EF4-FFF2-40B4-BE49-F238E27FC236}">
                    <a16:creationId xmlns:a16="http://schemas.microsoft.com/office/drawing/2014/main" id="{11BCADC5-2F4C-7740-AFF4-F83F5B5727F4}"/>
                  </a:ext>
                </a:extLst>
              </p:cNvPr>
              <p:cNvSpPr>
                <a:spLocks/>
              </p:cNvSpPr>
              <p:nvPr>
                <p:custDataLst>
                  <p:tags r:id="rId235"/>
                </p:custDataLst>
              </p:nvPr>
            </p:nvSpPr>
            <p:spPr bwMode="auto">
              <a:xfrm>
                <a:off x="4900613" y="3690938"/>
                <a:ext cx="12700" cy="52388"/>
              </a:xfrm>
              <a:custGeom>
                <a:avLst/>
                <a:gdLst>
                  <a:gd name="T0" fmla="*/ 0 w 18"/>
                  <a:gd name="T1" fmla="*/ 4030 h 65"/>
                  <a:gd name="T2" fmla="*/ 0 w 18"/>
                  <a:gd name="T3" fmla="*/ 4030 h 65"/>
                  <a:gd name="T4" fmla="*/ 0 w 18"/>
                  <a:gd name="T5" fmla="*/ 9672 h 65"/>
                  <a:gd name="T6" fmla="*/ 2822 w 18"/>
                  <a:gd name="T7" fmla="*/ 13701 h 65"/>
                  <a:gd name="T8" fmla="*/ 2822 w 18"/>
                  <a:gd name="T9" fmla="*/ 0 h 65"/>
                  <a:gd name="T10" fmla="*/ 0 w 18"/>
                  <a:gd name="T11" fmla="*/ 4030 h 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"/>
                  <a:gd name="T19" fmla="*/ 0 h 65"/>
                  <a:gd name="T20" fmla="*/ 18 w 18"/>
                  <a:gd name="T21" fmla="*/ 65 h 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" h="65">
                    <a:moveTo>
                      <a:pt x="0" y="17"/>
                    </a:moveTo>
                    <a:lnTo>
                      <a:pt x="0" y="17"/>
                    </a:lnTo>
                    <a:lnTo>
                      <a:pt x="0" y="48"/>
                    </a:lnTo>
                    <a:lnTo>
                      <a:pt x="18" y="65"/>
                    </a:lnTo>
                    <a:lnTo>
                      <a:pt x="18" y="0"/>
                    </a:lnTo>
                    <a:lnTo>
                      <a:pt x="0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74" name="Freeform 209">
                <a:extLst>
                  <a:ext uri="{FF2B5EF4-FFF2-40B4-BE49-F238E27FC236}">
                    <a16:creationId xmlns:a16="http://schemas.microsoft.com/office/drawing/2014/main" id="{B25EEED4-AEF1-6544-8224-08B4B1F4F9E9}"/>
                  </a:ext>
                </a:extLst>
              </p:cNvPr>
              <p:cNvSpPr>
                <a:spLocks/>
              </p:cNvSpPr>
              <p:nvPr>
                <p:custDataLst>
                  <p:tags r:id="rId236"/>
                </p:custDataLst>
              </p:nvPr>
            </p:nvSpPr>
            <p:spPr bwMode="auto">
              <a:xfrm>
                <a:off x="4886325" y="3743326"/>
                <a:ext cx="41275" cy="61913"/>
              </a:xfrm>
              <a:custGeom>
                <a:avLst/>
                <a:gdLst>
                  <a:gd name="T0" fmla="*/ 0 w 52"/>
                  <a:gd name="T1" fmla="*/ 0 h 79"/>
                  <a:gd name="T2" fmla="*/ 0 w 52"/>
                  <a:gd name="T3" fmla="*/ 0 h 79"/>
                  <a:gd name="T4" fmla="*/ 3969 w 52"/>
                  <a:gd name="T5" fmla="*/ 12539 h 79"/>
                  <a:gd name="T6" fmla="*/ 3969 w 52"/>
                  <a:gd name="T7" fmla="*/ 14890 h 79"/>
                  <a:gd name="T8" fmla="*/ 7144 w 52"/>
                  <a:gd name="T9" fmla="*/ 12539 h 79"/>
                  <a:gd name="T10" fmla="*/ 10319 w 52"/>
                  <a:gd name="T11" fmla="*/ 3135 h 79"/>
                  <a:gd name="T12" fmla="*/ 7144 w 52"/>
                  <a:gd name="T13" fmla="*/ 0 h 79"/>
                  <a:gd name="T14" fmla="*/ 0 w 52"/>
                  <a:gd name="T15" fmla="*/ 0 h 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2"/>
                  <a:gd name="T25" fmla="*/ 0 h 79"/>
                  <a:gd name="T26" fmla="*/ 52 w 52"/>
                  <a:gd name="T27" fmla="*/ 79 h 7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2" h="79">
                    <a:moveTo>
                      <a:pt x="0" y="0"/>
                    </a:moveTo>
                    <a:lnTo>
                      <a:pt x="0" y="0"/>
                    </a:lnTo>
                    <a:lnTo>
                      <a:pt x="17" y="64"/>
                    </a:lnTo>
                    <a:lnTo>
                      <a:pt x="17" y="79"/>
                    </a:lnTo>
                    <a:lnTo>
                      <a:pt x="35" y="64"/>
                    </a:lnTo>
                    <a:lnTo>
                      <a:pt x="52" y="16"/>
                    </a:lnTo>
                    <a:lnTo>
                      <a:pt x="35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75" name="Freeform 210">
                <a:extLst>
                  <a:ext uri="{FF2B5EF4-FFF2-40B4-BE49-F238E27FC236}">
                    <a16:creationId xmlns:a16="http://schemas.microsoft.com/office/drawing/2014/main" id="{9E04A626-D279-804F-AAD7-47EE63FFC9C5}"/>
                  </a:ext>
                </a:extLst>
              </p:cNvPr>
              <p:cNvSpPr>
                <a:spLocks/>
              </p:cNvSpPr>
              <p:nvPr>
                <p:custDataLst>
                  <p:tags r:id="rId237"/>
                </p:custDataLst>
              </p:nvPr>
            </p:nvSpPr>
            <p:spPr bwMode="auto">
              <a:xfrm>
                <a:off x="4983162" y="3819526"/>
                <a:ext cx="71438" cy="38100"/>
              </a:xfrm>
              <a:custGeom>
                <a:avLst/>
                <a:gdLst>
                  <a:gd name="T0" fmla="*/ 0 w 88"/>
                  <a:gd name="T1" fmla="*/ 0 h 48"/>
                  <a:gd name="T2" fmla="*/ 0 w 88"/>
                  <a:gd name="T3" fmla="*/ 0 h 48"/>
                  <a:gd name="T4" fmla="*/ 0 w 88"/>
                  <a:gd name="T5" fmla="*/ 2381 h 48"/>
                  <a:gd name="T6" fmla="*/ 14612 w 88"/>
                  <a:gd name="T7" fmla="*/ 9525 h 48"/>
                  <a:gd name="T8" fmla="*/ 18671 w 88"/>
                  <a:gd name="T9" fmla="*/ 0 h 48"/>
                  <a:gd name="T10" fmla="*/ 11365 w 88"/>
                  <a:gd name="T11" fmla="*/ 0 h 48"/>
                  <a:gd name="T12" fmla="*/ 4059 w 88"/>
                  <a:gd name="T13" fmla="*/ 0 h 48"/>
                  <a:gd name="T14" fmla="*/ 0 w 88"/>
                  <a:gd name="T15" fmla="*/ 0 h 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8"/>
                  <a:gd name="T25" fmla="*/ 0 h 48"/>
                  <a:gd name="T26" fmla="*/ 88 w 88"/>
                  <a:gd name="T27" fmla="*/ 48 h 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8" h="48">
                    <a:moveTo>
                      <a:pt x="0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69" y="48"/>
                    </a:lnTo>
                    <a:lnTo>
                      <a:pt x="88" y="0"/>
                    </a:lnTo>
                    <a:lnTo>
                      <a:pt x="52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76" name="Freeform 211">
                <a:extLst>
                  <a:ext uri="{FF2B5EF4-FFF2-40B4-BE49-F238E27FC236}">
                    <a16:creationId xmlns:a16="http://schemas.microsoft.com/office/drawing/2014/main" id="{1247BDCA-659F-B948-8D57-258D95AFFD32}"/>
                  </a:ext>
                </a:extLst>
              </p:cNvPr>
              <p:cNvSpPr>
                <a:spLocks/>
              </p:cNvSpPr>
              <p:nvPr>
                <p:custDataLst>
                  <p:tags r:id="rId238"/>
                </p:custDataLst>
              </p:nvPr>
            </p:nvSpPr>
            <p:spPr bwMode="auto">
              <a:xfrm>
                <a:off x="5176837" y="3819526"/>
                <a:ext cx="41275" cy="38100"/>
              </a:xfrm>
              <a:custGeom>
                <a:avLst/>
                <a:gdLst>
                  <a:gd name="T0" fmla="*/ 0 w 52"/>
                  <a:gd name="T1" fmla="*/ 2381 h 48"/>
                  <a:gd name="T2" fmla="*/ 0 w 52"/>
                  <a:gd name="T3" fmla="*/ 2381 h 48"/>
                  <a:gd name="T4" fmla="*/ 3969 w 52"/>
                  <a:gd name="T5" fmla="*/ 2381 h 48"/>
                  <a:gd name="T6" fmla="*/ 3969 w 52"/>
                  <a:gd name="T7" fmla="*/ 9525 h 48"/>
                  <a:gd name="T8" fmla="*/ 7144 w 52"/>
                  <a:gd name="T9" fmla="*/ 9525 h 48"/>
                  <a:gd name="T10" fmla="*/ 10319 w 52"/>
                  <a:gd name="T11" fmla="*/ 9525 h 48"/>
                  <a:gd name="T12" fmla="*/ 7144 w 52"/>
                  <a:gd name="T13" fmla="*/ 2381 h 48"/>
                  <a:gd name="T14" fmla="*/ 10319 w 52"/>
                  <a:gd name="T15" fmla="*/ 5556 h 48"/>
                  <a:gd name="T16" fmla="*/ 10319 w 52"/>
                  <a:gd name="T17" fmla="*/ 2381 h 48"/>
                  <a:gd name="T18" fmla="*/ 3969 w 52"/>
                  <a:gd name="T19" fmla="*/ 0 h 48"/>
                  <a:gd name="T20" fmla="*/ 0 w 52"/>
                  <a:gd name="T21" fmla="*/ 2381 h 4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2"/>
                  <a:gd name="T34" fmla="*/ 0 h 48"/>
                  <a:gd name="T35" fmla="*/ 52 w 52"/>
                  <a:gd name="T36" fmla="*/ 48 h 4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2" h="48">
                    <a:moveTo>
                      <a:pt x="0" y="15"/>
                    </a:moveTo>
                    <a:lnTo>
                      <a:pt x="0" y="15"/>
                    </a:lnTo>
                    <a:lnTo>
                      <a:pt x="17" y="15"/>
                    </a:lnTo>
                    <a:lnTo>
                      <a:pt x="17" y="48"/>
                    </a:lnTo>
                    <a:lnTo>
                      <a:pt x="34" y="48"/>
                    </a:lnTo>
                    <a:lnTo>
                      <a:pt x="52" y="48"/>
                    </a:lnTo>
                    <a:lnTo>
                      <a:pt x="34" y="15"/>
                    </a:lnTo>
                    <a:lnTo>
                      <a:pt x="52" y="31"/>
                    </a:lnTo>
                    <a:lnTo>
                      <a:pt x="52" y="15"/>
                    </a:lnTo>
                    <a:lnTo>
                      <a:pt x="17" y="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77" name="Freeform 212">
                <a:extLst>
                  <a:ext uri="{FF2B5EF4-FFF2-40B4-BE49-F238E27FC236}">
                    <a16:creationId xmlns:a16="http://schemas.microsoft.com/office/drawing/2014/main" id="{A062B0DF-BB8E-3E4D-9FBB-5B18BC547596}"/>
                  </a:ext>
                </a:extLst>
              </p:cNvPr>
              <p:cNvSpPr>
                <a:spLocks/>
              </p:cNvSpPr>
              <p:nvPr>
                <p:custDataLst>
                  <p:tags r:id="rId239"/>
                </p:custDataLst>
              </p:nvPr>
            </p:nvSpPr>
            <p:spPr bwMode="auto">
              <a:xfrm>
                <a:off x="5230812" y="3881438"/>
                <a:ext cx="55563" cy="14288"/>
              </a:xfrm>
              <a:custGeom>
                <a:avLst/>
                <a:gdLst>
                  <a:gd name="T0" fmla="*/ 0 w 71"/>
                  <a:gd name="T1" fmla="*/ 4202 h 17"/>
                  <a:gd name="T2" fmla="*/ 0 w 71"/>
                  <a:gd name="T3" fmla="*/ 4202 h 17"/>
                  <a:gd name="T4" fmla="*/ 7043 w 71"/>
                  <a:gd name="T5" fmla="*/ 4202 h 17"/>
                  <a:gd name="T6" fmla="*/ 13304 w 71"/>
                  <a:gd name="T7" fmla="*/ 4202 h 17"/>
                  <a:gd name="T8" fmla="*/ 10174 w 71"/>
                  <a:gd name="T9" fmla="*/ 4202 h 17"/>
                  <a:gd name="T10" fmla="*/ 0 w 71"/>
                  <a:gd name="T11" fmla="*/ 0 h 17"/>
                  <a:gd name="T12" fmla="*/ 0 w 71"/>
                  <a:gd name="T13" fmla="*/ 4202 h 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1"/>
                  <a:gd name="T22" fmla="*/ 0 h 17"/>
                  <a:gd name="T23" fmla="*/ 71 w 71"/>
                  <a:gd name="T24" fmla="*/ 17 h 1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1" h="17">
                    <a:moveTo>
                      <a:pt x="0" y="17"/>
                    </a:moveTo>
                    <a:lnTo>
                      <a:pt x="0" y="17"/>
                    </a:lnTo>
                    <a:lnTo>
                      <a:pt x="36" y="17"/>
                    </a:lnTo>
                    <a:lnTo>
                      <a:pt x="71" y="17"/>
                    </a:lnTo>
                    <a:lnTo>
                      <a:pt x="54" y="17"/>
                    </a:lnTo>
                    <a:lnTo>
                      <a:pt x="0" y="0"/>
                    </a:lnTo>
                    <a:lnTo>
                      <a:pt x="0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78" name="Freeform 213">
                <a:extLst>
                  <a:ext uri="{FF2B5EF4-FFF2-40B4-BE49-F238E27FC236}">
                    <a16:creationId xmlns:a16="http://schemas.microsoft.com/office/drawing/2014/main" id="{D8633B45-EC06-0B4E-93A8-0D2BF4DC22F5}"/>
                  </a:ext>
                </a:extLst>
              </p:cNvPr>
              <p:cNvSpPr>
                <a:spLocks/>
              </p:cNvSpPr>
              <p:nvPr>
                <p:custDataLst>
                  <p:tags r:id="rId240"/>
                </p:custDataLst>
              </p:nvPr>
            </p:nvSpPr>
            <p:spPr bwMode="auto">
              <a:xfrm>
                <a:off x="5410199" y="3881438"/>
                <a:ext cx="55563" cy="25400"/>
              </a:xfrm>
              <a:custGeom>
                <a:avLst/>
                <a:gdLst>
                  <a:gd name="T0" fmla="*/ 0 w 70"/>
                  <a:gd name="T1" fmla="*/ 3175 h 32"/>
                  <a:gd name="T2" fmla="*/ 0 w 70"/>
                  <a:gd name="T3" fmla="*/ 3175 h 32"/>
                  <a:gd name="T4" fmla="*/ 3175 w 70"/>
                  <a:gd name="T5" fmla="*/ 6350 h 32"/>
                  <a:gd name="T6" fmla="*/ 7144 w 70"/>
                  <a:gd name="T7" fmla="*/ 6350 h 32"/>
                  <a:gd name="T8" fmla="*/ 10319 w 70"/>
                  <a:gd name="T9" fmla="*/ 3175 h 32"/>
                  <a:gd name="T10" fmla="*/ 14288 w 70"/>
                  <a:gd name="T11" fmla="*/ 0 h 32"/>
                  <a:gd name="T12" fmla="*/ 0 w 70"/>
                  <a:gd name="T13" fmla="*/ 3175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0"/>
                  <a:gd name="T22" fmla="*/ 0 h 32"/>
                  <a:gd name="T23" fmla="*/ 70 w 70"/>
                  <a:gd name="T24" fmla="*/ 32 h 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0" h="32">
                    <a:moveTo>
                      <a:pt x="0" y="17"/>
                    </a:moveTo>
                    <a:lnTo>
                      <a:pt x="0" y="17"/>
                    </a:lnTo>
                    <a:lnTo>
                      <a:pt x="18" y="32"/>
                    </a:lnTo>
                    <a:lnTo>
                      <a:pt x="35" y="32"/>
                    </a:lnTo>
                    <a:lnTo>
                      <a:pt x="52" y="17"/>
                    </a:lnTo>
                    <a:lnTo>
                      <a:pt x="70" y="0"/>
                    </a:lnTo>
                    <a:lnTo>
                      <a:pt x="0" y="17"/>
                    </a:lnTo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79" name="Line 214">
                <a:extLst>
                  <a:ext uri="{FF2B5EF4-FFF2-40B4-BE49-F238E27FC236}">
                    <a16:creationId xmlns:a16="http://schemas.microsoft.com/office/drawing/2014/main" id="{E04E7EDE-ABA2-484D-AF51-30F94042558F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41"/>
                </p:custDataLst>
              </p:nvPr>
            </p:nvSpPr>
            <p:spPr bwMode="auto">
              <a:xfrm flipV="1">
                <a:off x="5322887" y="3862388"/>
                <a:ext cx="11113" cy="381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80" name="Freeform 215">
                <a:extLst>
                  <a:ext uri="{FF2B5EF4-FFF2-40B4-BE49-F238E27FC236}">
                    <a16:creationId xmlns:a16="http://schemas.microsoft.com/office/drawing/2014/main" id="{7269C365-B644-FE4D-A26F-2B8AC10F6AB3}"/>
                  </a:ext>
                </a:extLst>
              </p:cNvPr>
              <p:cNvSpPr>
                <a:spLocks/>
              </p:cNvSpPr>
              <p:nvPr>
                <p:custDataLst>
                  <p:tags r:id="rId242"/>
                </p:custDataLst>
              </p:nvPr>
            </p:nvSpPr>
            <p:spPr bwMode="auto">
              <a:xfrm>
                <a:off x="5686424" y="3767138"/>
                <a:ext cx="26988" cy="25400"/>
              </a:xfrm>
              <a:custGeom>
                <a:avLst/>
                <a:gdLst>
                  <a:gd name="T0" fmla="*/ 6169 w 35"/>
                  <a:gd name="T1" fmla="*/ 6158 h 33"/>
                  <a:gd name="T2" fmla="*/ 6169 w 35"/>
                  <a:gd name="T3" fmla="*/ 6158 h 33"/>
                  <a:gd name="T4" fmla="*/ 3084 w 35"/>
                  <a:gd name="T5" fmla="*/ 6158 h 33"/>
                  <a:gd name="T6" fmla="*/ 0 w 35"/>
                  <a:gd name="T7" fmla="*/ 0 h 33"/>
                  <a:gd name="T8" fmla="*/ 6169 w 35"/>
                  <a:gd name="T9" fmla="*/ 3079 h 33"/>
                  <a:gd name="T10" fmla="*/ 6169 w 35"/>
                  <a:gd name="T11" fmla="*/ 6158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5"/>
                  <a:gd name="T19" fmla="*/ 0 h 33"/>
                  <a:gd name="T20" fmla="*/ 35 w 35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5" h="33">
                    <a:moveTo>
                      <a:pt x="35" y="33"/>
                    </a:moveTo>
                    <a:lnTo>
                      <a:pt x="35" y="33"/>
                    </a:lnTo>
                    <a:lnTo>
                      <a:pt x="17" y="33"/>
                    </a:lnTo>
                    <a:lnTo>
                      <a:pt x="0" y="0"/>
                    </a:lnTo>
                    <a:lnTo>
                      <a:pt x="35" y="17"/>
                    </a:lnTo>
                    <a:lnTo>
                      <a:pt x="35" y="3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81" name="Freeform 216">
                <a:extLst>
                  <a:ext uri="{FF2B5EF4-FFF2-40B4-BE49-F238E27FC236}">
                    <a16:creationId xmlns:a16="http://schemas.microsoft.com/office/drawing/2014/main" id="{0DC6400C-20AF-2A4F-BEF4-14311900F760}"/>
                  </a:ext>
                </a:extLst>
              </p:cNvPr>
              <p:cNvSpPr>
                <a:spLocks/>
              </p:cNvSpPr>
              <p:nvPr>
                <p:custDataLst>
                  <p:tags r:id="rId243"/>
                </p:custDataLst>
              </p:nvPr>
            </p:nvSpPr>
            <p:spPr bwMode="auto">
              <a:xfrm>
                <a:off x="5478462" y="3843338"/>
                <a:ext cx="165100" cy="114300"/>
              </a:xfrm>
              <a:custGeom>
                <a:avLst/>
                <a:gdLst>
                  <a:gd name="T0" fmla="*/ 0 w 207"/>
                  <a:gd name="T1" fmla="*/ 28575 h 144"/>
                  <a:gd name="T2" fmla="*/ 0 w 207"/>
                  <a:gd name="T3" fmla="*/ 28575 h 144"/>
                  <a:gd name="T4" fmla="*/ 3988 w 207"/>
                  <a:gd name="T5" fmla="*/ 25400 h 144"/>
                  <a:gd name="T6" fmla="*/ 7178 w 207"/>
                  <a:gd name="T7" fmla="*/ 19050 h 144"/>
                  <a:gd name="T8" fmla="*/ 3988 w 207"/>
                  <a:gd name="T9" fmla="*/ 15875 h 144"/>
                  <a:gd name="T10" fmla="*/ 3988 w 207"/>
                  <a:gd name="T11" fmla="*/ 6350 h 144"/>
                  <a:gd name="T12" fmla="*/ 7178 w 207"/>
                  <a:gd name="T13" fmla="*/ 6350 h 144"/>
                  <a:gd name="T14" fmla="*/ 7178 w 207"/>
                  <a:gd name="T15" fmla="*/ 3969 h 144"/>
                  <a:gd name="T16" fmla="*/ 17547 w 207"/>
                  <a:gd name="T17" fmla="*/ 0 h 144"/>
                  <a:gd name="T18" fmla="*/ 20737 w 207"/>
                  <a:gd name="T19" fmla="*/ 3969 h 144"/>
                  <a:gd name="T20" fmla="*/ 31106 w 207"/>
                  <a:gd name="T21" fmla="*/ 0 h 144"/>
                  <a:gd name="T22" fmla="*/ 41474 w 207"/>
                  <a:gd name="T23" fmla="*/ 0 h 144"/>
                  <a:gd name="T24" fmla="*/ 35094 w 207"/>
                  <a:gd name="T25" fmla="*/ 3969 h 144"/>
                  <a:gd name="T26" fmla="*/ 31106 w 207"/>
                  <a:gd name="T27" fmla="*/ 15875 h 144"/>
                  <a:gd name="T28" fmla="*/ 20737 w 207"/>
                  <a:gd name="T29" fmla="*/ 22225 h 144"/>
                  <a:gd name="T30" fmla="*/ 17547 w 207"/>
                  <a:gd name="T31" fmla="*/ 22225 h 144"/>
                  <a:gd name="T32" fmla="*/ 7178 w 207"/>
                  <a:gd name="T33" fmla="*/ 28575 h 144"/>
                  <a:gd name="T34" fmla="*/ 0 w 207"/>
                  <a:gd name="T35" fmla="*/ 28575 h 14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07"/>
                  <a:gd name="T55" fmla="*/ 0 h 144"/>
                  <a:gd name="T56" fmla="*/ 207 w 207"/>
                  <a:gd name="T57" fmla="*/ 144 h 144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07" h="144">
                    <a:moveTo>
                      <a:pt x="0" y="144"/>
                    </a:moveTo>
                    <a:lnTo>
                      <a:pt x="0" y="144"/>
                    </a:lnTo>
                    <a:lnTo>
                      <a:pt x="17" y="128"/>
                    </a:lnTo>
                    <a:lnTo>
                      <a:pt x="34" y="96"/>
                    </a:lnTo>
                    <a:lnTo>
                      <a:pt x="17" y="80"/>
                    </a:lnTo>
                    <a:lnTo>
                      <a:pt x="17" y="32"/>
                    </a:lnTo>
                    <a:lnTo>
                      <a:pt x="34" y="32"/>
                    </a:lnTo>
                    <a:lnTo>
                      <a:pt x="34" y="17"/>
                    </a:lnTo>
                    <a:lnTo>
                      <a:pt x="86" y="0"/>
                    </a:lnTo>
                    <a:lnTo>
                      <a:pt x="104" y="17"/>
                    </a:lnTo>
                    <a:lnTo>
                      <a:pt x="155" y="0"/>
                    </a:lnTo>
                    <a:lnTo>
                      <a:pt x="207" y="0"/>
                    </a:lnTo>
                    <a:lnTo>
                      <a:pt x="173" y="17"/>
                    </a:lnTo>
                    <a:lnTo>
                      <a:pt x="155" y="80"/>
                    </a:lnTo>
                    <a:lnTo>
                      <a:pt x="104" y="113"/>
                    </a:lnTo>
                    <a:lnTo>
                      <a:pt x="86" y="113"/>
                    </a:lnTo>
                    <a:lnTo>
                      <a:pt x="34" y="144"/>
                    </a:lnTo>
                    <a:lnTo>
                      <a:pt x="0" y="14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82" name="Freeform 217">
                <a:extLst>
                  <a:ext uri="{FF2B5EF4-FFF2-40B4-BE49-F238E27FC236}">
                    <a16:creationId xmlns:a16="http://schemas.microsoft.com/office/drawing/2014/main" id="{9D2223E9-6D57-ED4F-80ED-21829E44FBAB}"/>
                  </a:ext>
                </a:extLst>
              </p:cNvPr>
              <p:cNvSpPr>
                <a:spLocks/>
              </p:cNvSpPr>
              <p:nvPr>
                <p:custDataLst>
                  <p:tags r:id="rId244"/>
                </p:custDataLst>
              </p:nvPr>
            </p:nvSpPr>
            <p:spPr bwMode="auto">
              <a:xfrm>
                <a:off x="5451474" y="3944938"/>
                <a:ext cx="41275" cy="88900"/>
              </a:xfrm>
              <a:custGeom>
                <a:avLst/>
                <a:gdLst>
                  <a:gd name="T0" fmla="*/ 7144 w 52"/>
                  <a:gd name="T1" fmla="*/ 3175 h 112"/>
                  <a:gd name="T2" fmla="*/ 7144 w 52"/>
                  <a:gd name="T3" fmla="*/ 3175 h 112"/>
                  <a:gd name="T4" fmla="*/ 7144 w 52"/>
                  <a:gd name="T5" fmla="*/ 7144 h 112"/>
                  <a:gd name="T6" fmla="*/ 7144 w 52"/>
                  <a:gd name="T7" fmla="*/ 12700 h 112"/>
                  <a:gd name="T8" fmla="*/ 3969 w 52"/>
                  <a:gd name="T9" fmla="*/ 22225 h 112"/>
                  <a:gd name="T10" fmla="*/ 0 w 52"/>
                  <a:gd name="T11" fmla="*/ 9525 h 112"/>
                  <a:gd name="T12" fmla="*/ 3969 w 52"/>
                  <a:gd name="T13" fmla="*/ 7144 h 112"/>
                  <a:gd name="T14" fmla="*/ 7144 w 52"/>
                  <a:gd name="T15" fmla="*/ 0 h 112"/>
                  <a:gd name="T16" fmla="*/ 10319 w 52"/>
                  <a:gd name="T17" fmla="*/ 0 h 112"/>
                  <a:gd name="T18" fmla="*/ 7144 w 52"/>
                  <a:gd name="T19" fmla="*/ 3175 h 11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2"/>
                  <a:gd name="T31" fmla="*/ 0 h 112"/>
                  <a:gd name="T32" fmla="*/ 52 w 52"/>
                  <a:gd name="T33" fmla="*/ 112 h 11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2" h="112">
                    <a:moveTo>
                      <a:pt x="35" y="16"/>
                    </a:moveTo>
                    <a:lnTo>
                      <a:pt x="35" y="16"/>
                    </a:lnTo>
                    <a:lnTo>
                      <a:pt x="35" y="33"/>
                    </a:lnTo>
                    <a:lnTo>
                      <a:pt x="35" y="64"/>
                    </a:lnTo>
                    <a:lnTo>
                      <a:pt x="18" y="112"/>
                    </a:lnTo>
                    <a:lnTo>
                      <a:pt x="0" y="48"/>
                    </a:lnTo>
                    <a:lnTo>
                      <a:pt x="18" y="33"/>
                    </a:lnTo>
                    <a:lnTo>
                      <a:pt x="35" y="0"/>
                    </a:lnTo>
                    <a:lnTo>
                      <a:pt x="52" y="0"/>
                    </a:lnTo>
                    <a:lnTo>
                      <a:pt x="35" y="1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83" name="Freeform 218">
                <a:extLst>
                  <a:ext uri="{FF2B5EF4-FFF2-40B4-BE49-F238E27FC236}">
                    <a16:creationId xmlns:a16="http://schemas.microsoft.com/office/drawing/2014/main" id="{EDCB46B1-899D-BD4B-9779-0701DAD4E6BC}"/>
                  </a:ext>
                </a:extLst>
              </p:cNvPr>
              <p:cNvSpPr>
                <a:spLocks/>
              </p:cNvSpPr>
              <p:nvPr>
                <p:custDataLst>
                  <p:tags r:id="rId245"/>
                </p:custDataLst>
              </p:nvPr>
            </p:nvSpPr>
            <p:spPr bwMode="auto">
              <a:xfrm>
                <a:off x="5561012" y="3830638"/>
                <a:ext cx="206375" cy="203200"/>
              </a:xfrm>
              <a:custGeom>
                <a:avLst/>
                <a:gdLst>
                  <a:gd name="T0" fmla="*/ 31076 w 259"/>
                  <a:gd name="T1" fmla="*/ 3175 h 256"/>
                  <a:gd name="T2" fmla="*/ 31076 w 259"/>
                  <a:gd name="T3" fmla="*/ 3175 h 256"/>
                  <a:gd name="T4" fmla="*/ 34263 w 259"/>
                  <a:gd name="T5" fmla="*/ 9525 h 256"/>
                  <a:gd name="T6" fmla="*/ 38247 w 259"/>
                  <a:gd name="T7" fmla="*/ 9525 h 256"/>
                  <a:gd name="T8" fmla="*/ 38247 w 259"/>
                  <a:gd name="T9" fmla="*/ 15875 h 256"/>
                  <a:gd name="T10" fmla="*/ 34263 w 259"/>
                  <a:gd name="T11" fmla="*/ 22225 h 256"/>
                  <a:gd name="T12" fmla="*/ 38247 w 259"/>
                  <a:gd name="T13" fmla="*/ 28575 h 256"/>
                  <a:gd name="T14" fmla="*/ 44622 w 259"/>
                  <a:gd name="T15" fmla="*/ 31750 h 256"/>
                  <a:gd name="T16" fmla="*/ 48606 w 259"/>
                  <a:gd name="T17" fmla="*/ 41275 h 256"/>
                  <a:gd name="T18" fmla="*/ 51793 w 259"/>
                  <a:gd name="T19" fmla="*/ 44450 h 256"/>
                  <a:gd name="T20" fmla="*/ 51793 w 259"/>
                  <a:gd name="T21" fmla="*/ 47625 h 256"/>
                  <a:gd name="T22" fmla="*/ 44622 w 259"/>
                  <a:gd name="T23" fmla="*/ 47625 h 256"/>
                  <a:gd name="T24" fmla="*/ 41434 w 259"/>
                  <a:gd name="T25" fmla="*/ 50800 h 256"/>
                  <a:gd name="T26" fmla="*/ 34263 w 259"/>
                  <a:gd name="T27" fmla="*/ 47625 h 256"/>
                  <a:gd name="T28" fmla="*/ 31076 w 259"/>
                  <a:gd name="T29" fmla="*/ 50800 h 256"/>
                  <a:gd name="T30" fmla="*/ 23904 w 259"/>
                  <a:gd name="T31" fmla="*/ 47625 h 256"/>
                  <a:gd name="T32" fmla="*/ 23904 w 259"/>
                  <a:gd name="T33" fmla="*/ 44450 h 256"/>
                  <a:gd name="T34" fmla="*/ 20717 w 259"/>
                  <a:gd name="T35" fmla="*/ 41275 h 256"/>
                  <a:gd name="T36" fmla="*/ 10359 w 259"/>
                  <a:gd name="T37" fmla="*/ 34925 h 256"/>
                  <a:gd name="T38" fmla="*/ 0 w 259"/>
                  <a:gd name="T39" fmla="*/ 31750 h 256"/>
                  <a:gd name="T40" fmla="*/ 0 w 259"/>
                  <a:gd name="T41" fmla="*/ 25400 h 256"/>
                  <a:gd name="T42" fmla="*/ 10359 w 259"/>
                  <a:gd name="T43" fmla="*/ 19050 h 256"/>
                  <a:gd name="T44" fmla="*/ 14343 w 259"/>
                  <a:gd name="T45" fmla="*/ 6350 h 256"/>
                  <a:gd name="T46" fmla="*/ 20717 w 259"/>
                  <a:gd name="T47" fmla="*/ 3175 h 256"/>
                  <a:gd name="T48" fmla="*/ 20717 w 259"/>
                  <a:gd name="T49" fmla="*/ 0 h 256"/>
                  <a:gd name="T50" fmla="*/ 31076 w 259"/>
                  <a:gd name="T51" fmla="*/ 3175 h 25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59"/>
                  <a:gd name="T79" fmla="*/ 0 h 256"/>
                  <a:gd name="T80" fmla="*/ 259 w 259"/>
                  <a:gd name="T81" fmla="*/ 256 h 25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59" h="256">
                    <a:moveTo>
                      <a:pt x="155" y="16"/>
                    </a:moveTo>
                    <a:lnTo>
                      <a:pt x="155" y="16"/>
                    </a:lnTo>
                    <a:lnTo>
                      <a:pt x="172" y="48"/>
                    </a:lnTo>
                    <a:lnTo>
                      <a:pt x="190" y="48"/>
                    </a:lnTo>
                    <a:lnTo>
                      <a:pt x="190" y="81"/>
                    </a:lnTo>
                    <a:lnTo>
                      <a:pt x="172" y="112"/>
                    </a:lnTo>
                    <a:lnTo>
                      <a:pt x="190" y="144"/>
                    </a:lnTo>
                    <a:lnTo>
                      <a:pt x="224" y="160"/>
                    </a:lnTo>
                    <a:lnTo>
                      <a:pt x="241" y="208"/>
                    </a:lnTo>
                    <a:lnTo>
                      <a:pt x="259" y="225"/>
                    </a:lnTo>
                    <a:lnTo>
                      <a:pt x="259" y="240"/>
                    </a:lnTo>
                    <a:lnTo>
                      <a:pt x="224" y="240"/>
                    </a:lnTo>
                    <a:lnTo>
                      <a:pt x="207" y="256"/>
                    </a:lnTo>
                    <a:lnTo>
                      <a:pt x="172" y="240"/>
                    </a:lnTo>
                    <a:lnTo>
                      <a:pt x="155" y="256"/>
                    </a:lnTo>
                    <a:lnTo>
                      <a:pt x="120" y="240"/>
                    </a:lnTo>
                    <a:lnTo>
                      <a:pt x="120" y="225"/>
                    </a:lnTo>
                    <a:lnTo>
                      <a:pt x="103" y="208"/>
                    </a:lnTo>
                    <a:lnTo>
                      <a:pt x="51" y="177"/>
                    </a:lnTo>
                    <a:lnTo>
                      <a:pt x="0" y="160"/>
                    </a:lnTo>
                    <a:lnTo>
                      <a:pt x="0" y="129"/>
                    </a:lnTo>
                    <a:lnTo>
                      <a:pt x="51" y="96"/>
                    </a:lnTo>
                    <a:lnTo>
                      <a:pt x="69" y="33"/>
                    </a:lnTo>
                    <a:lnTo>
                      <a:pt x="103" y="16"/>
                    </a:lnTo>
                    <a:lnTo>
                      <a:pt x="103" y="0"/>
                    </a:lnTo>
                    <a:lnTo>
                      <a:pt x="155" y="1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84" name="Freeform 219">
                <a:extLst>
                  <a:ext uri="{FF2B5EF4-FFF2-40B4-BE49-F238E27FC236}">
                    <a16:creationId xmlns:a16="http://schemas.microsoft.com/office/drawing/2014/main" id="{185914B7-22DB-864B-AD85-882A74A93489}"/>
                  </a:ext>
                </a:extLst>
              </p:cNvPr>
              <p:cNvSpPr>
                <a:spLocks/>
              </p:cNvSpPr>
              <p:nvPr>
                <p:custDataLst>
                  <p:tags r:id="rId246"/>
                </p:custDataLst>
              </p:nvPr>
            </p:nvSpPr>
            <p:spPr bwMode="auto">
              <a:xfrm>
                <a:off x="5478462" y="3906838"/>
                <a:ext cx="30163" cy="38100"/>
              </a:xfrm>
              <a:custGeom>
                <a:avLst/>
                <a:gdLst>
                  <a:gd name="T0" fmla="*/ 4189 w 36"/>
                  <a:gd name="T1" fmla="*/ 9525 h 48"/>
                  <a:gd name="T2" fmla="*/ 4189 w 36"/>
                  <a:gd name="T3" fmla="*/ 9525 h 48"/>
                  <a:gd name="T4" fmla="*/ 0 w 36"/>
                  <a:gd name="T5" fmla="*/ 9525 h 48"/>
                  <a:gd name="T6" fmla="*/ 4189 w 36"/>
                  <a:gd name="T7" fmla="*/ 0 h 48"/>
                  <a:gd name="T8" fmla="*/ 8379 w 36"/>
                  <a:gd name="T9" fmla="*/ 3175 h 48"/>
                  <a:gd name="T10" fmla="*/ 4189 w 36"/>
                  <a:gd name="T11" fmla="*/ 9525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6"/>
                  <a:gd name="T19" fmla="*/ 0 h 48"/>
                  <a:gd name="T20" fmla="*/ 36 w 36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6" h="48">
                    <a:moveTo>
                      <a:pt x="17" y="48"/>
                    </a:moveTo>
                    <a:lnTo>
                      <a:pt x="17" y="48"/>
                    </a:lnTo>
                    <a:lnTo>
                      <a:pt x="0" y="48"/>
                    </a:lnTo>
                    <a:lnTo>
                      <a:pt x="17" y="0"/>
                    </a:lnTo>
                    <a:lnTo>
                      <a:pt x="36" y="16"/>
                    </a:lnTo>
                    <a:lnTo>
                      <a:pt x="17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85" name="Freeform 220">
                <a:extLst>
                  <a:ext uri="{FF2B5EF4-FFF2-40B4-BE49-F238E27FC236}">
                    <a16:creationId xmlns:a16="http://schemas.microsoft.com/office/drawing/2014/main" id="{698657CF-6C8B-C145-A6DC-B3B0A588B1A8}"/>
                  </a:ext>
                </a:extLst>
              </p:cNvPr>
              <p:cNvSpPr>
                <a:spLocks/>
              </p:cNvSpPr>
              <p:nvPr>
                <p:custDataLst>
                  <p:tags r:id="rId247"/>
                </p:custDataLst>
              </p:nvPr>
            </p:nvSpPr>
            <p:spPr bwMode="auto">
              <a:xfrm>
                <a:off x="5726112" y="4021138"/>
                <a:ext cx="41275" cy="25400"/>
              </a:xfrm>
              <a:custGeom>
                <a:avLst/>
                <a:gdLst>
                  <a:gd name="T0" fmla="*/ 0 w 52"/>
                  <a:gd name="T1" fmla="*/ 3079 h 33"/>
                  <a:gd name="T2" fmla="*/ 0 w 52"/>
                  <a:gd name="T3" fmla="*/ 3079 h 33"/>
                  <a:gd name="T4" fmla="*/ 3969 w 52"/>
                  <a:gd name="T5" fmla="*/ 0 h 33"/>
                  <a:gd name="T6" fmla="*/ 10319 w 52"/>
                  <a:gd name="T7" fmla="*/ 0 h 33"/>
                  <a:gd name="T8" fmla="*/ 7144 w 52"/>
                  <a:gd name="T9" fmla="*/ 3079 h 33"/>
                  <a:gd name="T10" fmla="*/ 10319 w 52"/>
                  <a:gd name="T11" fmla="*/ 6158 h 33"/>
                  <a:gd name="T12" fmla="*/ 0 w 52"/>
                  <a:gd name="T13" fmla="*/ 3079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"/>
                  <a:gd name="T22" fmla="*/ 0 h 33"/>
                  <a:gd name="T23" fmla="*/ 52 w 52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" h="33">
                    <a:moveTo>
                      <a:pt x="0" y="16"/>
                    </a:moveTo>
                    <a:lnTo>
                      <a:pt x="0" y="16"/>
                    </a:lnTo>
                    <a:lnTo>
                      <a:pt x="17" y="0"/>
                    </a:lnTo>
                    <a:lnTo>
                      <a:pt x="52" y="0"/>
                    </a:lnTo>
                    <a:lnTo>
                      <a:pt x="34" y="16"/>
                    </a:lnTo>
                    <a:lnTo>
                      <a:pt x="52" y="33"/>
                    </a:lnTo>
                    <a:lnTo>
                      <a:pt x="0" y="1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86" name="Freeform 221">
                <a:extLst>
                  <a:ext uri="{FF2B5EF4-FFF2-40B4-BE49-F238E27FC236}">
                    <a16:creationId xmlns:a16="http://schemas.microsoft.com/office/drawing/2014/main" id="{62D7560F-CDCC-D74A-BFE7-52D6EE27AB04}"/>
                  </a:ext>
                </a:extLst>
              </p:cNvPr>
              <p:cNvSpPr>
                <a:spLocks/>
              </p:cNvSpPr>
              <p:nvPr>
                <p:custDataLst>
                  <p:tags r:id="rId248"/>
                </p:custDataLst>
              </p:nvPr>
            </p:nvSpPr>
            <p:spPr bwMode="auto">
              <a:xfrm>
                <a:off x="5221287" y="3271838"/>
                <a:ext cx="206375" cy="166688"/>
              </a:xfrm>
              <a:custGeom>
                <a:avLst/>
                <a:gdLst>
                  <a:gd name="T0" fmla="*/ 48606 w 259"/>
                  <a:gd name="T1" fmla="*/ 35890 h 209"/>
                  <a:gd name="T2" fmla="*/ 48606 w 259"/>
                  <a:gd name="T3" fmla="*/ 35890 h 209"/>
                  <a:gd name="T4" fmla="*/ 44622 w 259"/>
                  <a:gd name="T5" fmla="*/ 28712 h 209"/>
                  <a:gd name="T6" fmla="*/ 44622 w 259"/>
                  <a:gd name="T7" fmla="*/ 26319 h 209"/>
                  <a:gd name="T8" fmla="*/ 48606 w 259"/>
                  <a:gd name="T9" fmla="*/ 28712 h 209"/>
                  <a:gd name="T10" fmla="*/ 51793 w 259"/>
                  <a:gd name="T11" fmla="*/ 23129 h 209"/>
                  <a:gd name="T12" fmla="*/ 48606 w 259"/>
                  <a:gd name="T13" fmla="*/ 23129 h 209"/>
                  <a:gd name="T14" fmla="*/ 41434 w 259"/>
                  <a:gd name="T15" fmla="*/ 13558 h 209"/>
                  <a:gd name="T16" fmla="*/ 41434 w 259"/>
                  <a:gd name="T17" fmla="*/ 7178 h 209"/>
                  <a:gd name="T18" fmla="*/ 38247 w 259"/>
                  <a:gd name="T19" fmla="*/ 3988 h 209"/>
                  <a:gd name="T20" fmla="*/ 27889 w 259"/>
                  <a:gd name="T21" fmla="*/ 0 h 209"/>
                  <a:gd name="T22" fmla="*/ 20717 w 259"/>
                  <a:gd name="T23" fmla="*/ 7178 h 209"/>
                  <a:gd name="T24" fmla="*/ 20717 w 259"/>
                  <a:gd name="T25" fmla="*/ 9571 h 209"/>
                  <a:gd name="T26" fmla="*/ 14343 w 259"/>
                  <a:gd name="T27" fmla="*/ 13558 h 209"/>
                  <a:gd name="T28" fmla="*/ 14343 w 259"/>
                  <a:gd name="T29" fmla="*/ 19141 h 209"/>
                  <a:gd name="T30" fmla="*/ 10359 w 259"/>
                  <a:gd name="T31" fmla="*/ 19141 h 209"/>
                  <a:gd name="T32" fmla="*/ 3984 w 259"/>
                  <a:gd name="T33" fmla="*/ 23129 h 209"/>
                  <a:gd name="T34" fmla="*/ 0 w 259"/>
                  <a:gd name="T35" fmla="*/ 23129 h 209"/>
                  <a:gd name="T36" fmla="*/ 3984 w 259"/>
                  <a:gd name="T37" fmla="*/ 28712 h 209"/>
                  <a:gd name="T38" fmla="*/ 0 w 259"/>
                  <a:gd name="T39" fmla="*/ 35890 h 209"/>
                  <a:gd name="T40" fmla="*/ 0 w 259"/>
                  <a:gd name="T41" fmla="*/ 42270 h 209"/>
                  <a:gd name="T42" fmla="*/ 7171 w 259"/>
                  <a:gd name="T43" fmla="*/ 38282 h 209"/>
                  <a:gd name="T44" fmla="*/ 14343 w 259"/>
                  <a:gd name="T45" fmla="*/ 38282 h 209"/>
                  <a:gd name="T46" fmla="*/ 24701 w 259"/>
                  <a:gd name="T47" fmla="*/ 42270 h 209"/>
                  <a:gd name="T48" fmla="*/ 27889 w 259"/>
                  <a:gd name="T49" fmla="*/ 42270 h 209"/>
                  <a:gd name="T50" fmla="*/ 31076 w 259"/>
                  <a:gd name="T51" fmla="*/ 42270 h 209"/>
                  <a:gd name="T52" fmla="*/ 34263 w 259"/>
                  <a:gd name="T53" fmla="*/ 42270 h 209"/>
                  <a:gd name="T54" fmla="*/ 41434 w 259"/>
                  <a:gd name="T55" fmla="*/ 42270 h 209"/>
                  <a:gd name="T56" fmla="*/ 44622 w 259"/>
                  <a:gd name="T57" fmla="*/ 35890 h 209"/>
                  <a:gd name="T58" fmla="*/ 48606 w 259"/>
                  <a:gd name="T59" fmla="*/ 35890 h 20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259"/>
                  <a:gd name="T91" fmla="*/ 0 h 209"/>
                  <a:gd name="T92" fmla="*/ 259 w 259"/>
                  <a:gd name="T93" fmla="*/ 209 h 209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259" h="209">
                    <a:moveTo>
                      <a:pt x="241" y="177"/>
                    </a:moveTo>
                    <a:lnTo>
                      <a:pt x="241" y="177"/>
                    </a:lnTo>
                    <a:lnTo>
                      <a:pt x="224" y="144"/>
                    </a:lnTo>
                    <a:lnTo>
                      <a:pt x="224" y="129"/>
                    </a:lnTo>
                    <a:lnTo>
                      <a:pt x="241" y="144"/>
                    </a:lnTo>
                    <a:lnTo>
                      <a:pt x="259" y="113"/>
                    </a:lnTo>
                    <a:lnTo>
                      <a:pt x="241" y="113"/>
                    </a:lnTo>
                    <a:lnTo>
                      <a:pt x="207" y="66"/>
                    </a:lnTo>
                    <a:lnTo>
                      <a:pt x="207" y="33"/>
                    </a:lnTo>
                    <a:lnTo>
                      <a:pt x="190" y="18"/>
                    </a:lnTo>
                    <a:lnTo>
                      <a:pt x="138" y="0"/>
                    </a:lnTo>
                    <a:lnTo>
                      <a:pt x="103" y="33"/>
                    </a:lnTo>
                    <a:lnTo>
                      <a:pt x="103" y="48"/>
                    </a:lnTo>
                    <a:lnTo>
                      <a:pt x="69" y="66"/>
                    </a:lnTo>
                    <a:lnTo>
                      <a:pt x="69" y="96"/>
                    </a:lnTo>
                    <a:lnTo>
                      <a:pt x="51" y="96"/>
                    </a:lnTo>
                    <a:lnTo>
                      <a:pt x="17" y="113"/>
                    </a:lnTo>
                    <a:lnTo>
                      <a:pt x="0" y="113"/>
                    </a:lnTo>
                    <a:lnTo>
                      <a:pt x="17" y="144"/>
                    </a:lnTo>
                    <a:lnTo>
                      <a:pt x="0" y="177"/>
                    </a:lnTo>
                    <a:lnTo>
                      <a:pt x="0" y="209"/>
                    </a:lnTo>
                    <a:lnTo>
                      <a:pt x="34" y="192"/>
                    </a:lnTo>
                    <a:lnTo>
                      <a:pt x="69" y="192"/>
                    </a:lnTo>
                    <a:lnTo>
                      <a:pt x="121" y="209"/>
                    </a:lnTo>
                    <a:lnTo>
                      <a:pt x="138" y="209"/>
                    </a:lnTo>
                    <a:lnTo>
                      <a:pt x="155" y="209"/>
                    </a:lnTo>
                    <a:lnTo>
                      <a:pt x="172" y="209"/>
                    </a:lnTo>
                    <a:lnTo>
                      <a:pt x="207" y="209"/>
                    </a:lnTo>
                    <a:lnTo>
                      <a:pt x="224" y="177"/>
                    </a:lnTo>
                    <a:lnTo>
                      <a:pt x="241" y="177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87" name="Freeform 223">
                <a:extLst>
                  <a:ext uri="{FF2B5EF4-FFF2-40B4-BE49-F238E27FC236}">
                    <a16:creationId xmlns:a16="http://schemas.microsoft.com/office/drawing/2014/main" id="{23504FD1-AE79-334D-AC9E-A6307F3787CB}"/>
                  </a:ext>
                </a:extLst>
              </p:cNvPr>
              <p:cNvSpPr>
                <a:spLocks/>
              </p:cNvSpPr>
              <p:nvPr>
                <p:custDataLst>
                  <p:tags r:id="rId249"/>
                </p:custDataLst>
              </p:nvPr>
            </p:nvSpPr>
            <p:spPr bwMode="auto">
              <a:xfrm>
                <a:off x="5181599" y="3209926"/>
                <a:ext cx="150813" cy="87313"/>
              </a:xfrm>
              <a:custGeom>
                <a:avLst/>
                <a:gdLst>
                  <a:gd name="T0" fmla="*/ 17463 w 190"/>
                  <a:gd name="T1" fmla="*/ 0 h 111"/>
                  <a:gd name="T2" fmla="*/ 17463 w 190"/>
                  <a:gd name="T3" fmla="*/ 0 h 111"/>
                  <a:gd name="T4" fmla="*/ 17463 w 190"/>
                  <a:gd name="T5" fmla="*/ 9439 h 111"/>
                  <a:gd name="T6" fmla="*/ 14288 w 190"/>
                  <a:gd name="T7" fmla="*/ 9439 h 111"/>
                  <a:gd name="T8" fmla="*/ 10319 w 190"/>
                  <a:gd name="T9" fmla="*/ 9439 h 111"/>
                  <a:gd name="T10" fmla="*/ 7144 w 190"/>
                  <a:gd name="T11" fmla="*/ 2360 h 111"/>
                  <a:gd name="T12" fmla="*/ 3969 w 190"/>
                  <a:gd name="T13" fmla="*/ 5506 h 111"/>
                  <a:gd name="T14" fmla="*/ 0 w 190"/>
                  <a:gd name="T15" fmla="*/ 11799 h 111"/>
                  <a:gd name="T16" fmla="*/ 0 w 190"/>
                  <a:gd name="T17" fmla="*/ 18878 h 111"/>
                  <a:gd name="T18" fmla="*/ 3969 w 190"/>
                  <a:gd name="T19" fmla="*/ 14945 h 111"/>
                  <a:gd name="T20" fmla="*/ 17463 w 190"/>
                  <a:gd name="T21" fmla="*/ 14945 h 111"/>
                  <a:gd name="T22" fmla="*/ 19844 w 190"/>
                  <a:gd name="T23" fmla="*/ 14945 h 111"/>
                  <a:gd name="T24" fmla="*/ 30956 w 190"/>
                  <a:gd name="T25" fmla="*/ 21238 h 111"/>
                  <a:gd name="T26" fmla="*/ 38100 w 190"/>
                  <a:gd name="T27" fmla="*/ 14945 h 111"/>
                  <a:gd name="T28" fmla="*/ 34925 w 190"/>
                  <a:gd name="T29" fmla="*/ 9439 h 111"/>
                  <a:gd name="T30" fmla="*/ 34925 w 190"/>
                  <a:gd name="T31" fmla="*/ 5506 h 111"/>
                  <a:gd name="T32" fmla="*/ 34925 w 190"/>
                  <a:gd name="T33" fmla="*/ 2360 h 111"/>
                  <a:gd name="T34" fmla="*/ 27781 w 190"/>
                  <a:gd name="T35" fmla="*/ 2360 h 111"/>
                  <a:gd name="T36" fmla="*/ 19844 w 190"/>
                  <a:gd name="T37" fmla="*/ 0 h 111"/>
                  <a:gd name="T38" fmla="*/ 17463 w 190"/>
                  <a:gd name="T39" fmla="*/ 0 h 11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90"/>
                  <a:gd name="T61" fmla="*/ 0 h 111"/>
                  <a:gd name="T62" fmla="*/ 190 w 190"/>
                  <a:gd name="T63" fmla="*/ 111 h 11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90" h="111">
                    <a:moveTo>
                      <a:pt x="86" y="0"/>
                    </a:moveTo>
                    <a:lnTo>
                      <a:pt x="86" y="0"/>
                    </a:lnTo>
                    <a:lnTo>
                      <a:pt x="86" y="48"/>
                    </a:lnTo>
                    <a:lnTo>
                      <a:pt x="69" y="48"/>
                    </a:lnTo>
                    <a:lnTo>
                      <a:pt x="52" y="48"/>
                    </a:lnTo>
                    <a:lnTo>
                      <a:pt x="34" y="15"/>
                    </a:lnTo>
                    <a:lnTo>
                      <a:pt x="17" y="30"/>
                    </a:lnTo>
                    <a:lnTo>
                      <a:pt x="0" y="63"/>
                    </a:lnTo>
                    <a:lnTo>
                      <a:pt x="0" y="96"/>
                    </a:lnTo>
                    <a:lnTo>
                      <a:pt x="17" y="78"/>
                    </a:lnTo>
                    <a:lnTo>
                      <a:pt x="86" y="78"/>
                    </a:lnTo>
                    <a:lnTo>
                      <a:pt x="103" y="78"/>
                    </a:lnTo>
                    <a:lnTo>
                      <a:pt x="155" y="111"/>
                    </a:lnTo>
                    <a:lnTo>
                      <a:pt x="190" y="78"/>
                    </a:lnTo>
                    <a:lnTo>
                      <a:pt x="173" y="48"/>
                    </a:lnTo>
                    <a:lnTo>
                      <a:pt x="173" y="30"/>
                    </a:lnTo>
                    <a:lnTo>
                      <a:pt x="173" y="15"/>
                    </a:lnTo>
                    <a:lnTo>
                      <a:pt x="138" y="15"/>
                    </a:lnTo>
                    <a:lnTo>
                      <a:pt x="103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88" name="Freeform 224">
                <a:extLst>
                  <a:ext uri="{FF2B5EF4-FFF2-40B4-BE49-F238E27FC236}">
                    <a16:creationId xmlns:a16="http://schemas.microsoft.com/office/drawing/2014/main" id="{A024B2D4-91E2-D84B-9914-952543ECE923}"/>
                  </a:ext>
                </a:extLst>
              </p:cNvPr>
              <p:cNvSpPr>
                <a:spLocks/>
              </p:cNvSpPr>
              <p:nvPr>
                <p:custDataLst>
                  <p:tags r:id="rId250"/>
                </p:custDataLst>
              </p:nvPr>
            </p:nvSpPr>
            <p:spPr bwMode="auto">
              <a:xfrm>
                <a:off x="5180012" y="3271838"/>
                <a:ext cx="123825" cy="90488"/>
              </a:xfrm>
              <a:custGeom>
                <a:avLst/>
                <a:gdLst>
                  <a:gd name="T0" fmla="*/ 0 w 155"/>
                  <a:gd name="T1" fmla="*/ 9609 h 113"/>
                  <a:gd name="T2" fmla="*/ 0 w 155"/>
                  <a:gd name="T3" fmla="*/ 9609 h 113"/>
                  <a:gd name="T4" fmla="*/ 0 w 155"/>
                  <a:gd name="T5" fmla="*/ 7207 h 113"/>
                  <a:gd name="T6" fmla="*/ 0 w 155"/>
                  <a:gd name="T7" fmla="*/ 4004 h 113"/>
                  <a:gd name="T8" fmla="*/ 3994 w 155"/>
                  <a:gd name="T9" fmla="*/ 0 h 113"/>
                  <a:gd name="T10" fmla="*/ 17575 w 155"/>
                  <a:gd name="T11" fmla="*/ 0 h 113"/>
                  <a:gd name="T12" fmla="*/ 20771 w 155"/>
                  <a:gd name="T13" fmla="*/ 0 h 113"/>
                  <a:gd name="T14" fmla="*/ 31156 w 155"/>
                  <a:gd name="T15" fmla="*/ 7207 h 113"/>
                  <a:gd name="T16" fmla="*/ 31156 w 155"/>
                  <a:gd name="T17" fmla="*/ 9609 h 113"/>
                  <a:gd name="T18" fmla="*/ 24765 w 155"/>
                  <a:gd name="T19" fmla="*/ 13613 h 113"/>
                  <a:gd name="T20" fmla="*/ 24765 w 155"/>
                  <a:gd name="T21" fmla="*/ 19219 h 113"/>
                  <a:gd name="T22" fmla="*/ 20771 w 155"/>
                  <a:gd name="T23" fmla="*/ 19219 h 113"/>
                  <a:gd name="T24" fmla="*/ 14380 w 155"/>
                  <a:gd name="T25" fmla="*/ 23223 h 113"/>
                  <a:gd name="T26" fmla="*/ 10385 w 155"/>
                  <a:gd name="T27" fmla="*/ 23223 h 113"/>
                  <a:gd name="T28" fmla="*/ 7190 w 155"/>
                  <a:gd name="T29" fmla="*/ 19219 h 113"/>
                  <a:gd name="T30" fmla="*/ 7190 w 155"/>
                  <a:gd name="T31" fmla="*/ 9609 h 113"/>
                  <a:gd name="T32" fmla="*/ 0 w 155"/>
                  <a:gd name="T33" fmla="*/ 9609 h 11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55"/>
                  <a:gd name="T52" fmla="*/ 0 h 113"/>
                  <a:gd name="T53" fmla="*/ 155 w 155"/>
                  <a:gd name="T54" fmla="*/ 113 h 11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55" h="113">
                    <a:moveTo>
                      <a:pt x="0" y="48"/>
                    </a:moveTo>
                    <a:lnTo>
                      <a:pt x="0" y="48"/>
                    </a:lnTo>
                    <a:lnTo>
                      <a:pt x="0" y="33"/>
                    </a:lnTo>
                    <a:lnTo>
                      <a:pt x="0" y="18"/>
                    </a:lnTo>
                    <a:lnTo>
                      <a:pt x="17" y="0"/>
                    </a:lnTo>
                    <a:lnTo>
                      <a:pt x="86" y="0"/>
                    </a:lnTo>
                    <a:lnTo>
                      <a:pt x="103" y="0"/>
                    </a:lnTo>
                    <a:lnTo>
                      <a:pt x="155" y="33"/>
                    </a:lnTo>
                    <a:lnTo>
                      <a:pt x="155" y="48"/>
                    </a:lnTo>
                    <a:lnTo>
                      <a:pt x="121" y="66"/>
                    </a:lnTo>
                    <a:lnTo>
                      <a:pt x="121" y="96"/>
                    </a:lnTo>
                    <a:lnTo>
                      <a:pt x="103" y="96"/>
                    </a:lnTo>
                    <a:lnTo>
                      <a:pt x="69" y="113"/>
                    </a:lnTo>
                    <a:lnTo>
                      <a:pt x="52" y="113"/>
                    </a:lnTo>
                    <a:lnTo>
                      <a:pt x="34" y="96"/>
                    </a:lnTo>
                    <a:lnTo>
                      <a:pt x="34" y="48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89" name="Freeform 225">
                <a:extLst>
                  <a:ext uri="{FF2B5EF4-FFF2-40B4-BE49-F238E27FC236}">
                    <a16:creationId xmlns:a16="http://schemas.microsoft.com/office/drawing/2014/main" id="{5A95B6C4-8E78-BE47-9EFE-90D8B111140D}"/>
                  </a:ext>
                </a:extLst>
              </p:cNvPr>
              <p:cNvSpPr>
                <a:spLocks/>
              </p:cNvSpPr>
              <p:nvPr>
                <p:custDataLst>
                  <p:tags r:id="rId251"/>
                </p:custDataLst>
              </p:nvPr>
            </p:nvSpPr>
            <p:spPr bwMode="auto">
              <a:xfrm>
                <a:off x="5237162" y="3157538"/>
                <a:ext cx="95250" cy="63500"/>
              </a:xfrm>
              <a:custGeom>
                <a:avLst/>
                <a:gdLst>
                  <a:gd name="T0" fmla="*/ 3149 w 121"/>
                  <a:gd name="T1" fmla="*/ 12543 h 81"/>
                  <a:gd name="T2" fmla="*/ 3149 w 121"/>
                  <a:gd name="T3" fmla="*/ 12543 h 81"/>
                  <a:gd name="T4" fmla="*/ 0 w 121"/>
                  <a:gd name="T5" fmla="*/ 9407 h 81"/>
                  <a:gd name="T6" fmla="*/ 0 w 121"/>
                  <a:gd name="T7" fmla="*/ 3136 h 81"/>
                  <a:gd name="T8" fmla="*/ 3149 w 121"/>
                  <a:gd name="T9" fmla="*/ 0 h 81"/>
                  <a:gd name="T10" fmla="*/ 10233 w 121"/>
                  <a:gd name="T11" fmla="*/ 0 h 81"/>
                  <a:gd name="T12" fmla="*/ 23616 w 121"/>
                  <a:gd name="T13" fmla="*/ 0 h 81"/>
                  <a:gd name="T14" fmla="*/ 20467 w 121"/>
                  <a:gd name="T15" fmla="*/ 3136 h 81"/>
                  <a:gd name="T16" fmla="*/ 16531 w 121"/>
                  <a:gd name="T17" fmla="*/ 3136 h 81"/>
                  <a:gd name="T18" fmla="*/ 20467 w 121"/>
                  <a:gd name="T19" fmla="*/ 12543 h 81"/>
                  <a:gd name="T20" fmla="*/ 20467 w 121"/>
                  <a:gd name="T21" fmla="*/ 15679 h 81"/>
                  <a:gd name="T22" fmla="*/ 13382 w 121"/>
                  <a:gd name="T23" fmla="*/ 15679 h 81"/>
                  <a:gd name="T24" fmla="*/ 6298 w 121"/>
                  <a:gd name="T25" fmla="*/ 12543 h 81"/>
                  <a:gd name="T26" fmla="*/ 3149 w 121"/>
                  <a:gd name="T27" fmla="*/ 12543 h 8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21"/>
                  <a:gd name="T43" fmla="*/ 0 h 81"/>
                  <a:gd name="T44" fmla="*/ 121 w 121"/>
                  <a:gd name="T45" fmla="*/ 81 h 8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21" h="81">
                    <a:moveTo>
                      <a:pt x="17" y="66"/>
                    </a:moveTo>
                    <a:lnTo>
                      <a:pt x="17" y="66"/>
                    </a:lnTo>
                    <a:lnTo>
                      <a:pt x="0" y="48"/>
                    </a:lnTo>
                    <a:lnTo>
                      <a:pt x="0" y="18"/>
                    </a:lnTo>
                    <a:lnTo>
                      <a:pt x="17" y="0"/>
                    </a:lnTo>
                    <a:lnTo>
                      <a:pt x="52" y="0"/>
                    </a:lnTo>
                    <a:lnTo>
                      <a:pt x="121" y="0"/>
                    </a:lnTo>
                    <a:lnTo>
                      <a:pt x="104" y="18"/>
                    </a:lnTo>
                    <a:lnTo>
                      <a:pt x="86" y="18"/>
                    </a:lnTo>
                    <a:lnTo>
                      <a:pt x="104" y="66"/>
                    </a:lnTo>
                    <a:lnTo>
                      <a:pt x="104" y="81"/>
                    </a:lnTo>
                    <a:lnTo>
                      <a:pt x="69" y="81"/>
                    </a:lnTo>
                    <a:lnTo>
                      <a:pt x="34" y="66"/>
                    </a:lnTo>
                    <a:lnTo>
                      <a:pt x="17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90" name="Freeform 226">
                <a:extLst>
                  <a:ext uri="{FF2B5EF4-FFF2-40B4-BE49-F238E27FC236}">
                    <a16:creationId xmlns:a16="http://schemas.microsoft.com/office/drawing/2014/main" id="{6CAB364D-B598-A542-B5CF-7A8BEB821D3D}"/>
                  </a:ext>
                </a:extLst>
              </p:cNvPr>
              <p:cNvSpPr>
                <a:spLocks/>
              </p:cNvSpPr>
              <p:nvPr>
                <p:custDataLst>
                  <p:tags r:id="rId252"/>
                </p:custDataLst>
              </p:nvPr>
            </p:nvSpPr>
            <p:spPr bwMode="auto">
              <a:xfrm>
                <a:off x="5286374" y="3525838"/>
                <a:ext cx="82550" cy="88900"/>
              </a:xfrm>
              <a:custGeom>
                <a:avLst/>
                <a:gdLst>
                  <a:gd name="T0" fmla="*/ 0 w 104"/>
                  <a:gd name="T1" fmla="*/ 3204 h 111"/>
                  <a:gd name="T2" fmla="*/ 0 w 104"/>
                  <a:gd name="T3" fmla="*/ 3204 h 111"/>
                  <a:gd name="T4" fmla="*/ 3969 w 104"/>
                  <a:gd name="T5" fmla="*/ 3204 h 111"/>
                  <a:gd name="T6" fmla="*/ 10319 w 104"/>
                  <a:gd name="T7" fmla="*/ 12814 h 111"/>
                  <a:gd name="T8" fmla="*/ 10319 w 104"/>
                  <a:gd name="T9" fmla="*/ 22425 h 111"/>
                  <a:gd name="T10" fmla="*/ 14288 w 104"/>
                  <a:gd name="T11" fmla="*/ 16018 h 111"/>
                  <a:gd name="T12" fmla="*/ 20638 w 104"/>
                  <a:gd name="T13" fmla="*/ 16018 h 111"/>
                  <a:gd name="T14" fmla="*/ 20638 w 104"/>
                  <a:gd name="T15" fmla="*/ 12814 h 111"/>
                  <a:gd name="T16" fmla="*/ 17463 w 104"/>
                  <a:gd name="T17" fmla="*/ 6407 h 111"/>
                  <a:gd name="T18" fmla="*/ 17463 w 104"/>
                  <a:gd name="T19" fmla="*/ 3204 h 111"/>
                  <a:gd name="T20" fmla="*/ 7144 w 104"/>
                  <a:gd name="T21" fmla="*/ 0 h 111"/>
                  <a:gd name="T22" fmla="*/ 0 w 104"/>
                  <a:gd name="T23" fmla="*/ 3204 h 11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04"/>
                  <a:gd name="T37" fmla="*/ 0 h 111"/>
                  <a:gd name="T38" fmla="*/ 104 w 104"/>
                  <a:gd name="T39" fmla="*/ 111 h 11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04" h="111">
                    <a:moveTo>
                      <a:pt x="0" y="15"/>
                    </a:moveTo>
                    <a:lnTo>
                      <a:pt x="0" y="15"/>
                    </a:lnTo>
                    <a:lnTo>
                      <a:pt x="17" y="15"/>
                    </a:lnTo>
                    <a:lnTo>
                      <a:pt x="52" y="63"/>
                    </a:lnTo>
                    <a:lnTo>
                      <a:pt x="52" y="111"/>
                    </a:lnTo>
                    <a:lnTo>
                      <a:pt x="69" y="80"/>
                    </a:lnTo>
                    <a:lnTo>
                      <a:pt x="104" y="80"/>
                    </a:lnTo>
                    <a:lnTo>
                      <a:pt x="104" y="63"/>
                    </a:lnTo>
                    <a:lnTo>
                      <a:pt x="86" y="32"/>
                    </a:lnTo>
                    <a:lnTo>
                      <a:pt x="86" y="15"/>
                    </a:lnTo>
                    <a:lnTo>
                      <a:pt x="35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91" name="Freeform 227">
                <a:extLst>
                  <a:ext uri="{FF2B5EF4-FFF2-40B4-BE49-F238E27FC236}">
                    <a16:creationId xmlns:a16="http://schemas.microsoft.com/office/drawing/2014/main" id="{2F2CE77D-748D-DD46-A9D4-C26757308A4A}"/>
                  </a:ext>
                </a:extLst>
              </p:cNvPr>
              <p:cNvSpPr>
                <a:spLocks/>
              </p:cNvSpPr>
              <p:nvPr>
                <p:custDataLst>
                  <p:tags r:id="rId253"/>
                </p:custDataLst>
              </p:nvPr>
            </p:nvSpPr>
            <p:spPr bwMode="auto">
              <a:xfrm>
                <a:off x="5148262" y="3538538"/>
                <a:ext cx="207963" cy="139700"/>
              </a:xfrm>
              <a:custGeom>
                <a:avLst/>
                <a:gdLst>
                  <a:gd name="T0" fmla="*/ 7171 w 261"/>
                  <a:gd name="T1" fmla="*/ 25257 h 177"/>
                  <a:gd name="T2" fmla="*/ 7171 w 261"/>
                  <a:gd name="T3" fmla="*/ 25257 h 177"/>
                  <a:gd name="T4" fmla="*/ 14342 w 261"/>
                  <a:gd name="T5" fmla="*/ 25257 h 177"/>
                  <a:gd name="T6" fmla="*/ 14342 w 261"/>
                  <a:gd name="T7" fmla="*/ 28414 h 177"/>
                  <a:gd name="T8" fmla="*/ 17529 w 261"/>
                  <a:gd name="T9" fmla="*/ 31571 h 177"/>
                  <a:gd name="T10" fmla="*/ 20717 w 261"/>
                  <a:gd name="T11" fmla="*/ 31571 h 177"/>
                  <a:gd name="T12" fmla="*/ 31075 w 261"/>
                  <a:gd name="T13" fmla="*/ 34728 h 177"/>
                  <a:gd name="T14" fmla="*/ 38246 w 261"/>
                  <a:gd name="T15" fmla="*/ 28414 h 177"/>
                  <a:gd name="T16" fmla="*/ 48604 w 261"/>
                  <a:gd name="T17" fmla="*/ 31571 h 177"/>
                  <a:gd name="T18" fmla="*/ 48604 w 261"/>
                  <a:gd name="T19" fmla="*/ 28414 h 177"/>
                  <a:gd name="T20" fmla="*/ 52588 w 261"/>
                  <a:gd name="T21" fmla="*/ 25257 h 177"/>
                  <a:gd name="T22" fmla="*/ 52588 w 261"/>
                  <a:gd name="T23" fmla="*/ 22099 h 177"/>
                  <a:gd name="T24" fmla="*/ 45417 w 261"/>
                  <a:gd name="T25" fmla="*/ 22099 h 177"/>
                  <a:gd name="T26" fmla="*/ 45417 w 261"/>
                  <a:gd name="T27" fmla="*/ 18942 h 177"/>
                  <a:gd name="T28" fmla="*/ 45417 w 261"/>
                  <a:gd name="T29" fmla="*/ 9471 h 177"/>
                  <a:gd name="T30" fmla="*/ 38246 w 261"/>
                  <a:gd name="T31" fmla="*/ 0 h 177"/>
                  <a:gd name="T32" fmla="*/ 35059 w 261"/>
                  <a:gd name="T33" fmla="*/ 0 h 177"/>
                  <a:gd name="T34" fmla="*/ 27888 w 261"/>
                  <a:gd name="T35" fmla="*/ 3157 h 177"/>
                  <a:gd name="T36" fmla="*/ 24701 w 261"/>
                  <a:gd name="T37" fmla="*/ 3157 h 177"/>
                  <a:gd name="T38" fmla="*/ 14342 w 261"/>
                  <a:gd name="T39" fmla="*/ 3157 h 177"/>
                  <a:gd name="T40" fmla="*/ 10358 w 261"/>
                  <a:gd name="T41" fmla="*/ 3157 h 177"/>
                  <a:gd name="T42" fmla="*/ 7171 w 261"/>
                  <a:gd name="T43" fmla="*/ 15785 h 177"/>
                  <a:gd name="T44" fmla="*/ 0 w 261"/>
                  <a:gd name="T45" fmla="*/ 15785 h 177"/>
                  <a:gd name="T46" fmla="*/ 7171 w 261"/>
                  <a:gd name="T47" fmla="*/ 25257 h 17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61"/>
                  <a:gd name="T73" fmla="*/ 0 h 177"/>
                  <a:gd name="T74" fmla="*/ 261 w 261"/>
                  <a:gd name="T75" fmla="*/ 177 h 17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61" h="177">
                    <a:moveTo>
                      <a:pt x="35" y="129"/>
                    </a:moveTo>
                    <a:lnTo>
                      <a:pt x="35" y="129"/>
                    </a:lnTo>
                    <a:lnTo>
                      <a:pt x="69" y="129"/>
                    </a:lnTo>
                    <a:lnTo>
                      <a:pt x="69" y="144"/>
                    </a:lnTo>
                    <a:lnTo>
                      <a:pt x="87" y="161"/>
                    </a:lnTo>
                    <a:lnTo>
                      <a:pt x="104" y="161"/>
                    </a:lnTo>
                    <a:lnTo>
                      <a:pt x="156" y="177"/>
                    </a:lnTo>
                    <a:lnTo>
                      <a:pt x="190" y="144"/>
                    </a:lnTo>
                    <a:lnTo>
                      <a:pt x="244" y="161"/>
                    </a:lnTo>
                    <a:lnTo>
                      <a:pt x="244" y="144"/>
                    </a:lnTo>
                    <a:lnTo>
                      <a:pt x="261" y="129"/>
                    </a:lnTo>
                    <a:lnTo>
                      <a:pt x="261" y="113"/>
                    </a:lnTo>
                    <a:lnTo>
                      <a:pt x="227" y="113"/>
                    </a:lnTo>
                    <a:lnTo>
                      <a:pt x="227" y="96"/>
                    </a:lnTo>
                    <a:lnTo>
                      <a:pt x="227" y="48"/>
                    </a:lnTo>
                    <a:lnTo>
                      <a:pt x="190" y="0"/>
                    </a:lnTo>
                    <a:lnTo>
                      <a:pt x="173" y="0"/>
                    </a:lnTo>
                    <a:lnTo>
                      <a:pt x="139" y="17"/>
                    </a:lnTo>
                    <a:lnTo>
                      <a:pt x="121" y="17"/>
                    </a:lnTo>
                    <a:lnTo>
                      <a:pt x="69" y="17"/>
                    </a:lnTo>
                    <a:lnTo>
                      <a:pt x="52" y="17"/>
                    </a:lnTo>
                    <a:lnTo>
                      <a:pt x="35" y="81"/>
                    </a:lnTo>
                    <a:lnTo>
                      <a:pt x="0" y="81"/>
                    </a:lnTo>
                    <a:lnTo>
                      <a:pt x="35" y="129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92" name="Freeform 228">
                <a:extLst>
                  <a:ext uri="{FF2B5EF4-FFF2-40B4-BE49-F238E27FC236}">
                    <a16:creationId xmlns:a16="http://schemas.microsoft.com/office/drawing/2014/main" id="{3522FAB7-2B8B-FA46-A71A-027186ECD1D0}"/>
                  </a:ext>
                </a:extLst>
              </p:cNvPr>
              <p:cNvSpPr>
                <a:spLocks/>
              </p:cNvSpPr>
              <p:nvPr>
                <p:custDataLst>
                  <p:tags r:id="rId254"/>
                </p:custDataLst>
              </p:nvPr>
            </p:nvSpPr>
            <p:spPr bwMode="auto">
              <a:xfrm>
                <a:off x="5148262" y="3729038"/>
                <a:ext cx="138113" cy="101600"/>
              </a:xfrm>
              <a:custGeom>
                <a:avLst/>
                <a:gdLst>
                  <a:gd name="T0" fmla="*/ 6314 w 175"/>
                  <a:gd name="T1" fmla="*/ 3175 h 128"/>
                  <a:gd name="T2" fmla="*/ 6314 w 175"/>
                  <a:gd name="T3" fmla="*/ 3175 h 128"/>
                  <a:gd name="T4" fmla="*/ 17363 w 175"/>
                  <a:gd name="T5" fmla="*/ 0 h 128"/>
                  <a:gd name="T6" fmla="*/ 23677 w 175"/>
                  <a:gd name="T7" fmla="*/ 0 h 128"/>
                  <a:gd name="T8" fmla="*/ 30779 w 175"/>
                  <a:gd name="T9" fmla="*/ 3175 h 128"/>
                  <a:gd name="T10" fmla="*/ 33936 w 175"/>
                  <a:gd name="T11" fmla="*/ 0 h 128"/>
                  <a:gd name="T12" fmla="*/ 30779 w 175"/>
                  <a:gd name="T13" fmla="*/ 6350 h 128"/>
                  <a:gd name="T14" fmla="*/ 23677 w 175"/>
                  <a:gd name="T15" fmla="*/ 3175 h 128"/>
                  <a:gd name="T16" fmla="*/ 20520 w 175"/>
                  <a:gd name="T17" fmla="*/ 6350 h 128"/>
                  <a:gd name="T18" fmla="*/ 20520 w 175"/>
                  <a:gd name="T19" fmla="*/ 9525 h 128"/>
                  <a:gd name="T20" fmla="*/ 17363 w 175"/>
                  <a:gd name="T21" fmla="*/ 9525 h 128"/>
                  <a:gd name="T22" fmla="*/ 13417 w 175"/>
                  <a:gd name="T23" fmla="*/ 6350 h 128"/>
                  <a:gd name="T24" fmla="*/ 13417 w 175"/>
                  <a:gd name="T25" fmla="*/ 9525 h 128"/>
                  <a:gd name="T26" fmla="*/ 17363 w 175"/>
                  <a:gd name="T27" fmla="*/ 15875 h 128"/>
                  <a:gd name="T28" fmla="*/ 23677 w 175"/>
                  <a:gd name="T29" fmla="*/ 22225 h 128"/>
                  <a:gd name="T30" fmla="*/ 20520 w 175"/>
                  <a:gd name="T31" fmla="*/ 22225 h 128"/>
                  <a:gd name="T32" fmla="*/ 20520 w 175"/>
                  <a:gd name="T33" fmla="*/ 25400 h 128"/>
                  <a:gd name="T34" fmla="*/ 13417 w 175"/>
                  <a:gd name="T35" fmla="*/ 22225 h 128"/>
                  <a:gd name="T36" fmla="*/ 6314 w 175"/>
                  <a:gd name="T37" fmla="*/ 22225 h 128"/>
                  <a:gd name="T38" fmla="*/ 0 w 175"/>
                  <a:gd name="T39" fmla="*/ 12700 h 128"/>
                  <a:gd name="T40" fmla="*/ 6314 w 175"/>
                  <a:gd name="T41" fmla="*/ 6350 h 128"/>
                  <a:gd name="T42" fmla="*/ 6314 w 175"/>
                  <a:gd name="T43" fmla="*/ 3175 h 128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75"/>
                  <a:gd name="T67" fmla="*/ 0 h 128"/>
                  <a:gd name="T68" fmla="*/ 175 w 175"/>
                  <a:gd name="T69" fmla="*/ 128 h 128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75" h="128">
                    <a:moveTo>
                      <a:pt x="35" y="17"/>
                    </a:moveTo>
                    <a:lnTo>
                      <a:pt x="35" y="17"/>
                    </a:lnTo>
                    <a:lnTo>
                      <a:pt x="89" y="0"/>
                    </a:lnTo>
                    <a:lnTo>
                      <a:pt x="123" y="0"/>
                    </a:lnTo>
                    <a:lnTo>
                      <a:pt x="158" y="17"/>
                    </a:lnTo>
                    <a:lnTo>
                      <a:pt x="175" y="0"/>
                    </a:lnTo>
                    <a:lnTo>
                      <a:pt x="158" y="33"/>
                    </a:lnTo>
                    <a:lnTo>
                      <a:pt x="123" y="17"/>
                    </a:lnTo>
                    <a:lnTo>
                      <a:pt x="106" y="33"/>
                    </a:lnTo>
                    <a:lnTo>
                      <a:pt x="106" y="48"/>
                    </a:lnTo>
                    <a:lnTo>
                      <a:pt x="89" y="48"/>
                    </a:lnTo>
                    <a:lnTo>
                      <a:pt x="69" y="33"/>
                    </a:lnTo>
                    <a:lnTo>
                      <a:pt x="69" y="48"/>
                    </a:lnTo>
                    <a:lnTo>
                      <a:pt x="89" y="81"/>
                    </a:lnTo>
                    <a:lnTo>
                      <a:pt x="123" y="113"/>
                    </a:lnTo>
                    <a:lnTo>
                      <a:pt x="106" y="113"/>
                    </a:lnTo>
                    <a:lnTo>
                      <a:pt x="106" y="128"/>
                    </a:lnTo>
                    <a:lnTo>
                      <a:pt x="69" y="113"/>
                    </a:lnTo>
                    <a:lnTo>
                      <a:pt x="35" y="113"/>
                    </a:lnTo>
                    <a:lnTo>
                      <a:pt x="0" y="65"/>
                    </a:lnTo>
                    <a:lnTo>
                      <a:pt x="35" y="33"/>
                    </a:lnTo>
                    <a:lnTo>
                      <a:pt x="35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93" name="Freeform 229">
                <a:extLst>
                  <a:ext uri="{FF2B5EF4-FFF2-40B4-BE49-F238E27FC236}">
                    <a16:creationId xmlns:a16="http://schemas.microsoft.com/office/drawing/2014/main" id="{66E630F2-C153-F049-9E09-D6B8A932C4A3}"/>
                  </a:ext>
                </a:extLst>
              </p:cNvPr>
              <p:cNvSpPr>
                <a:spLocks/>
              </p:cNvSpPr>
              <p:nvPr>
                <p:custDataLst>
                  <p:tags r:id="rId255"/>
                </p:custDataLst>
              </p:nvPr>
            </p:nvSpPr>
            <p:spPr bwMode="auto">
              <a:xfrm>
                <a:off x="5205412" y="3652838"/>
                <a:ext cx="136525" cy="90488"/>
              </a:xfrm>
              <a:custGeom>
                <a:avLst/>
                <a:gdLst>
                  <a:gd name="T0" fmla="*/ 33934 w 173"/>
                  <a:gd name="T1" fmla="*/ 4004 h 113"/>
                  <a:gd name="T2" fmla="*/ 33934 w 173"/>
                  <a:gd name="T3" fmla="*/ 4004 h 113"/>
                  <a:gd name="T4" fmla="*/ 33934 w 173"/>
                  <a:gd name="T5" fmla="*/ 7207 h 113"/>
                  <a:gd name="T6" fmla="*/ 30777 w 173"/>
                  <a:gd name="T7" fmla="*/ 7207 h 113"/>
                  <a:gd name="T8" fmla="*/ 26832 w 173"/>
                  <a:gd name="T9" fmla="*/ 13613 h 113"/>
                  <a:gd name="T10" fmla="*/ 30777 w 173"/>
                  <a:gd name="T11" fmla="*/ 16816 h 113"/>
                  <a:gd name="T12" fmla="*/ 23675 w 173"/>
                  <a:gd name="T13" fmla="*/ 16816 h 113"/>
                  <a:gd name="T14" fmla="*/ 20518 w 173"/>
                  <a:gd name="T15" fmla="*/ 19219 h 113"/>
                  <a:gd name="T16" fmla="*/ 16572 w 173"/>
                  <a:gd name="T17" fmla="*/ 23223 h 113"/>
                  <a:gd name="T18" fmla="*/ 10259 w 173"/>
                  <a:gd name="T19" fmla="*/ 19219 h 113"/>
                  <a:gd name="T20" fmla="*/ 3157 w 173"/>
                  <a:gd name="T21" fmla="*/ 19219 h 113"/>
                  <a:gd name="T22" fmla="*/ 3157 w 173"/>
                  <a:gd name="T23" fmla="*/ 16816 h 113"/>
                  <a:gd name="T24" fmla="*/ 0 w 173"/>
                  <a:gd name="T25" fmla="*/ 13613 h 113"/>
                  <a:gd name="T26" fmla="*/ 3157 w 173"/>
                  <a:gd name="T27" fmla="*/ 9609 h 113"/>
                  <a:gd name="T28" fmla="*/ 0 w 173"/>
                  <a:gd name="T29" fmla="*/ 4004 h 113"/>
                  <a:gd name="T30" fmla="*/ 0 w 173"/>
                  <a:gd name="T31" fmla="*/ 0 h 113"/>
                  <a:gd name="T32" fmla="*/ 3157 w 173"/>
                  <a:gd name="T33" fmla="*/ 4004 h 113"/>
                  <a:gd name="T34" fmla="*/ 6313 w 173"/>
                  <a:gd name="T35" fmla="*/ 4004 h 113"/>
                  <a:gd name="T36" fmla="*/ 16572 w 173"/>
                  <a:gd name="T37" fmla="*/ 7207 h 113"/>
                  <a:gd name="T38" fmla="*/ 23675 w 173"/>
                  <a:gd name="T39" fmla="*/ 0 h 113"/>
                  <a:gd name="T40" fmla="*/ 33934 w 173"/>
                  <a:gd name="T41" fmla="*/ 4004 h 11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73"/>
                  <a:gd name="T64" fmla="*/ 0 h 113"/>
                  <a:gd name="T65" fmla="*/ 173 w 173"/>
                  <a:gd name="T66" fmla="*/ 113 h 11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73" h="113">
                    <a:moveTo>
                      <a:pt x="173" y="17"/>
                    </a:moveTo>
                    <a:lnTo>
                      <a:pt x="173" y="17"/>
                    </a:lnTo>
                    <a:lnTo>
                      <a:pt x="173" y="33"/>
                    </a:lnTo>
                    <a:lnTo>
                      <a:pt x="156" y="33"/>
                    </a:lnTo>
                    <a:lnTo>
                      <a:pt x="139" y="65"/>
                    </a:lnTo>
                    <a:lnTo>
                      <a:pt x="156" y="81"/>
                    </a:lnTo>
                    <a:lnTo>
                      <a:pt x="121" y="81"/>
                    </a:lnTo>
                    <a:lnTo>
                      <a:pt x="104" y="96"/>
                    </a:lnTo>
                    <a:lnTo>
                      <a:pt x="87" y="113"/>
                    </a:lnTo>
                    <a:lnTo>
                      <a:pt x="52" y="96"/>
                    </a:lnTo>
                    <a:lnTo>
                      <a:pt x="18" y="96"/>
                    </a:lnTo>
                    <a:lnTo>
                      <a:pt x="18" y="81"/>
                    </a:lnTo>
                    <a:lnTo>
                      <a:pt x="0" y="65"/>
                    </a:lnTo>
                    <a:lnTo>
                      <a:pt x="18" y="48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18" y="17"/>
                    </a:lnTo>
                    <a:lnTo>
                      <a:pt x="35" y="17"/>
                    </a:lnTo>
                    <a:lnTo>
                      <a:pt x="87" y="33"/>
                    </a:lnTo>
                    <a:lnTo>
                      <a:pt x="121" y="0"/>
                    </a:lnTo>
                    <a:lnTo>
                      <a:pt x="173" y="17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94" name="Freeform 230">
                <a:extLst>
                  <a:ext uri="{FF2B5EF4-FFF2-40B4-BE49-F238E27FC236}">
                    <a16:creationId xmlns:a16="http://schemas.microsoft.com/office/drawing/2014/main" id="{9FA279DB-CB33-9D4D-A607-F063C34468E6}"/>
                  </a:ext>
                </a:extLst>
              </p:cNvPr>
              <p:cNvSpPr>
                <a:spLocks/>
              </p:cNvSpPr>
              <p:nvPr>
                <p:custDataLst>
                  <p:tags r:id="rId256"/>
                </p:custDataLst>
              </p:nvPr>
            </p:nvSpPr>
            <p:spPr bwMode="auto">
              <a:xfrm>
                <a:off x="5024437" y="3324226"/>
                <a:ext cx="206375" cy="190500"/>
              </a:xfrm>
              <a:custGeom>
                <a:avLst/>
                <a:gdLst>
                  <a:gd name="T0" fmla="*/ 44622 w 259"/>
                  <a:gd name="T1" fmla="*/ 47824 h 239"/>
                  <a:gd name="T2" fmla="*/ 44622 w 259"/>
                  <a:gd name="T3" fmla="*/ 47824 h 239"/>
                  <a:gd name="T4" fmla="*/ 48606 w 259"/>
                  <a:gd name="T5" fmla="*/ 41448 h 239"/>
                  <a:gd name="T6" fmla="*/ 51793 w 259"/>
                  <a:gd name="T7" fmla="*/ 38259 h 239"/>
                  <a:gd name="T8" fmla="*/ 48606 w 259"/>
                  <a:gd name="T9" fmla="*/ 28695 h 239"/>
                  <a:gd name="T10" fmla="*/ 48606 w 259"/>
                  <a:gd name="T11" fmla="*/ 22318 h 239"/>
                  <a:gd name="T12" fmla="*/ 51793 w 259"/>
                  <a:gd name="T13" fmla="*/ 15941 h 239"/>
                  <a:gd name="T14" fmla="*/ 48606 w 259"/>
                  <a:gd name="T15" fmla="*/ 9565 h 239"/>
                  <a:gd name="T16" fmla="*/ 44622 w 259"/>
                  <a:gd name="T17" fmla="*/ 6377 h 239"/>
                  <a:gd name="T18" fmla="*/ 38247 w 259"/>
                  <a:gd name="T19" fmla="*/ 6377 h 239"/>
                  <a:gd name="T20" fmla="*/ 27889 w 259"/>
                  <a:gd name="T21" fmla="*/ 3188 h 239"/>
                  <a:gd name="T22" fmla="*/ 27889 w 259"/>
                  <a:gd name="T23" fmla="*/ 6377 h 239"/>
                  <a:gd name="T24" fmla="*/ 24701 w 259"/>
                  <a:gd name="T25" fmla="*/ 6377 h 239"/>
                  <a:gd name="T26" fmla="*/ 20717 w 259"/>
                  <a:gd name="T27" fmla="*/ 0 h 239"/>
                  <a:gd name="T28" fmla="*/ 0 w 259"/>
                  <a:gd name="T29" fmla="*/ 9565 h 239"/>
                  <a:gd name="T30" fmla="*/ 3984 w 259"/>
                  <a:gd name="T31" fmla="*/ 35071 h 239"/>
                  <a:gd name="T32" fmla="*/ 3984 w 259"/>
                  <a:gd name="T33" fmla="*/ 31883 h 239"/>
                  <a:gd name="T34" fmla="*/ 7171 w 259"/>
                  <a:gd name="T35" fmla="*/ 35071 h 239"/>
                  <a:gd name="T36" fmla="*/ 14343 w 259"/>
                  <a:gd name="T37" fmla="*/ 38259 h 239"/>
                  <a:gd name="T38" fmla="*/ 17530 w 259"/>
                  <a:gd name="T39" fmla="*/ 38259 h 239"/>
                  <a:gd name="T40" fmla="*/ 24701 w 259"/>
                  <a:gd name="T41" fmla="*/ 44636 h 239"/>
                  <a:gd name="T42" fmla="*/ 27889 w 259"/>
                  <a:gd name="T43" fmla="*/ 44636 h 239"/>
                  <a:gd name="T44" fmla="*/ 31076 w 259"/>
                  <a:gd name="T45" fmla="*/ 47824 h 239"/>
                  <a:gd name="T46" fmla="*/ 38247 w 259"/>
                  <a:gd name="T47" fmla="*/ 44636 h 239"/>
                  <a:gd name="T48" fmla="*/ 44622 w 259"/>
                  <a:gd name="T49" fmla="*/ 47824 h 23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59"/>
                  <a:gd name="T76" fmla="*/ 0 h 239"/>
                  <a:gd name="T77" fmla="*/ 259 w 259"/>
                  <a:gd name="T78" fmla="*/ 239 h 23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59" h="239">
                    <a:moveTo>
                      <a:pt x="224" y="239"/>
                    </a:moveTo>
                    <a:lnTo>
                      <a:pt x="224" y="239"/>
                    </a:lnTo>
                    <a:lnTo>
                      <a:pt x="242" y="207"/>
                    </a:lnTo>
                    <a:lnTo>
                      <a:pt x="259" y="191"/>
                    </a:lnTo>
                    <a:lnTo>
                      <a:pt x="242" y="143"/>
                    </a:lnTo>
                    <a:lnTo>
                      <a:pt x="242" y="111"/>
                    </a:lnTo>
                    <a:lnTo>
                      <a:pt x="259" y="78"/>
                    </a:lnTo>
                    <a:lnTo>
                      <a:pt x="242" y="47"/>
                    </a:lnTo>
                    <a:lnTo>
                      <a:pt x="224" y="30"/>
                    </a:lnTo>
                    <a:lnTo>
                      <a:pt x="190" y="30"/>
                    </a:lnTo>
                    <a:lnTo>
                      <a:pt x="138" y="15"/>
                    </a:lnTo>
                    <a:lnTo>
                      <a:pt x="138" y="30"/>
                    </a:lnTo>
                    <a:lnTo>
                      <a:pt x="121" y="30"/>
                    </a:lnTo>
                    <a:lnTo>
                      <a:pt x="103" y="0"/>
                    </a:lnTo>
                    <a:lnTo>
                      <a:pt x="0" y="47"/>
                    </a:lnTo>
                    <a:lnTo>
                      <a:pt x="17" y="174"/>
                    </a:lnTo>
                    <a:lnTo>
                      <a:pt x="17" y="159"/>
                    </a:lnTo>
                    <a:lnTo>
                      <a:pt x="34" y="174"/>
                    </a:lnTo>
                    <a:lnTo>
                      <a:pt x="69" y="191"/>
                    </a:lnTo>
                    <a:lnTo>
                      <a:pt x="86" y="191"/>
                    </a:lnTo>
                    <a:lnTo>
                      <a:pt x="121" y="222"/>
                    </a:lnTo>
                    <a:lnTo>
                      <a:pt x="138" y="222"/>
                    </a:lnTo>
                    <a:lnTo>
                      <a:pt x="155" y="239"/>
                    </a:lnTo>
                    <a:lnTo>
                      <a:pt x="190" y="222"/>
                    </a:lnTo>
                    <a:lnTo>
                      <a:pt x="224" y="239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95" name="Freeform 231">
                <a:extLst>
                  <a:ext uri="{FF2B5EF4-FFF2-40B4-BE49-F238E27FC236}">
                    <a16:creationId xmlns:a16="http://schemas.microsoft.com/office/drawing/2014/main" id="{E8CD409A-ADCD-5149-B1A4-69A005FFB200}"/>
                  </a:ext>
                </a:extLst>
              </p:cNvPr>
              <p:cNvSpPr>
                <a:spLocks/>
              </p:cNvSpPr>
              <p:nvPr>
                <p:custDataLst>
                  <p:tags r:id="rId257"/>
                </p:custDataLst>
              </p:nvPr>
            </p:nvSpPr>
            <p:spPr bwMode="auto">
              <a:xfrm>
                <a:off x="5135562" y="3705226"/>
                <a:ext cx="41275" cy="76200"/>
              </a:xfrm>
              <a:custGeom>
                <a:avLst/>
                <a:gdLst>
                  <a:gd name="T0" fmla="*/ 0 w 52"/>
                  <a:gd name="T1" fmla="*/ 0 h 96"/>
                  <a:gd name="T2" fmla="*/ 0 w 52"/>
                  <a:gd name="T3" fmla="*/ 0 h 96"/>
                  <a:gd name="T4" fmla="*/ 3969 w 52"/>
                  <a:gd name="T5" fmla="*/ 0 h 96"/>
                  <a:gd name="T6" fmla="*/ 7144 w 52"/>
                  <a:gd name="T7" fmla="*/ 3175 h 96"/>
                  <a:gd name="T8" fmla="*/ 7144 w 52"/>
                  <a:gd name="T9" fmla="*/ 5556 h 96"/>
                  <a:gd name="T10" fmla="*/ 10319 w 52"/>
                  <a:gd name="T11" fmla="*/ 9525 h 96"/>
                  <a:gd name="T12" fmla="*/ 10319 w 52"/>
                  <a:gd name="T13" fmla="*/ 12700 h 96"/>
                  <a:gd name="T14" fmla="*/ 3969 w 52"/>
                  <a:gd name="T15" fmla="*/ 19050 h 96"/>
                  <a:gd name="T16" fmla="*/ 0 w 52"/>
                  <a:gd name="T17" fmla="*/ 15875 h 96"/>
                  <a:gd name="T18" fmla="*/ 0 w 52"/>
                  <a:gd name="T19" fmla="*/ 5556 h 96"/>
                  <a:gd name="T20" fmla="*/ 0 w 52"/>
                  <a:gd name="T21" fmla="*/ 3175 h 96"/>
                  <a:gd name="T22" fmla="*/ 0 w 52"/>
                  <a:gd name="T23" fmla="*/ 0 h 9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2"/>
                  <a:gd name="T37" fmla="*/ 0 h 96"/>
                  <a:gd name="T38" fmla="*/ 52 w 52"/>
                  <a:gd name="T39" fmla="*/ 96 h 9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2" h="96">
                    <a:moveTo>
                      <a:pt x="0" y="0"/>
                    </a:moveTo>
                    <a:lnTo>
                      <a:pt x="0" y="0"/>
                    </a:lnTo>
                    <a:lnTo>
                      <a:pt x="17" y="0"/>
                    </a:lnTo>
                    <a:lnTo>
                      <a:pt x="34" y="16"/>
                    </a:lnTo>
                    <a:lnTo>
                      <a:pt x="34" y="31"/>
                    </a:lnTo>
                    <a:lnTo>
                      <a:pt x="52" y="48"/>
                    </a:lnTo>
                    <a:lnTo>
                      <a:pt x="52" y="64"/>
                    </a:lnTo>
                    <a:lnTo>
                      <a:pt x="17" y="96"/>
                    </a:lnTo>
                    <a:lnTo>
                      <a:pt x="0" y="79"/>
                    </a:lnTo>
                    <a:lnTo>
                      <a:pt x="0" y="31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96" name="Freeform 232">
                <a:extLst>
                  <a:ext uri="{FF2B5EF4-FFF2-40B4-BE49-F238E27FC236}">
                    <a16:creationId xmlns:a16="http://schemas.microsoft.com/office/drawing/2014/main" id="{89787A8D-208B-2045-A570-31C95CF0DE37}"/>
                  </a:ext>
                </a:extLst>
              </p:cNvPr>
              <p:cNvSpPr>
                <a:spLocks/>
              </p:cNvSpPr>
              <p:nvPr>
                <p:custDataLst>
                  <p:tags r:id="rId258"/>
                </p:custDataLst>
              </p:nvPr>
            </p:nvSpPr>
            <p:spPr bwMode="auto">
              <a:xfrm>
                <a:off x="5065712" y="3525838"/>
                <a:ext cx="139700" cy="88900"/>
              </a:xfrm>
              <a:custGeom>
                <a:avLst/>
                <a:gdLst>
                  <a:gd name="T0" fmla="*/ 14452 w 174"/>
                  <a:gd name="T1" fmla="*/ 22425 h 111"/>
                  <a:gd name="T2" fmla="*/ 14452 w 174"/>
                  <a:gd name="T3" fmla="*/ 22425 h 111"/>
                  <a:gd name="T4" fmla="*/ 20875 w 174"/>
                  <a:gd name="T5" fmla="*/ 19222 h 111"/>
                  <a:gd name="T6" fmla="*/ 28903 w 174"/>
                  <a:gd name="T7" fmla="*/ 19222 h 111"/>
                  <a:gd name="T8" fmla="*/ 32115 w 174"/>
                  <a:gd name="T9" fmla="*/ 6407 h 111"/>
                  <a:gd name="T10" fmla="*/ 36129 w 174"/>
                  <a:gd name="T11" fmla="*/ 6407 h 111"/>
                  <a:gd name="T12" fmla="*/ 32115 w 174"/>
                  <a:gd name="T13" fmla="*/ 3204 h 111"/>
                  <a:gd name="T14" fmla="*/ 24889 w 174"/>
                  <a:gd name="T15" fmla="*/ 0 h 111"/>
                  <a:gd name="T16" fmla="*/ 10437 w 174"/>
                  <a:gd name="T17" fmla="*/ 6407 h 111"/>
                  <a:gd name="T18" fmla="*/ 4014 w 174"/>
                  <a:gd name="T19" fmla="*/ 6407 h 111"/>
                  <a:gd name="T20" fmla="*/ 0 w 174"/>
                  <a:gd name="T21" fmla="*/ 12814 h 111"/>
                  <a:gd name="T22" fmla="*/ 0 w 174"/>
                  <a:gd name="T23" fmla="*/ 16018 h 111"/>
                  <a:gd name="T24" fmla="*/ 10437 w 174"/>
                  <a:gd name="T25" fmla="*/ 22425 h 111"/>
                  <a:gd name="T26" fmla="*/ 14452 w 174"/>
                  <a:gd name="T27" fmla="*/ 22425 h 1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74"/>
                  <a:gd name="T43" fmla="*/ 0 h 111"/>
                  <a:gd name="T44" fmla="*/ 174 w 174"/>
                  <a:gd name="T45" fmla="*/ 111 h 1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74" h="111">
                    <a:moveTo>
                      <a:pt x="69" y="111"/>
                    </a:moveTo>
                    <a:lnTo>
                      <a:pt x="69" y="111"/>
                    </a:lnTo>
                    <a:lnTo>
                      <a:pt x="103" y="96"/>
                    </a:lnTo>
                    <a:lnTo>
                      <a:pt x="140" y="96"/>
                    </a:lnTo>
                    <a:lnTo>
                      <a:pt x="157" y="32"/>
                    </a:lnTo>
                    <a:lnTo>
                      <a:pt x="174" y="32"/>
                    </a:lnTo>
                    <a:lnTo>
                      <a:pt x="157" y="15"/>
                    </a:lnTo>
                    <a:lnTo>
                      <a:pt x="121" y="0"/>
                    </a:lnTo>
                    <a:lnTo>
                      <a:pt x="51" y="32"/>
                    </a:lnTo>
                    <a:lnTo>
                      <a:pt x="17" y="32"/>
                    </a:lnTo>
                    <a:lnTo>
                      <a:pt x="0" y="63"/>
                    </a:lnTo>
                    <a:lnTo>
                      <a:pt x="0" y="80"/>
                    </a:lnTo>
                    <a:lnTo>
                      <a:pt x="51" y="111"/>
                    </a:lnTo>
                    <a:lnTo>
                      <a:pt x="69" y="11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97" name="Freeform 233">
                <a:extLst>
                  <a:ext uri="{FF2B5EF4-FFF2-40B4-BE49-F238E27FC236}">
                    <a16:creationId xmlns:a16="http://schemas.microsoft.com/office/drawing/2014/main" id="{B7212220-A080-D744-B5AB-61232C6F3017}"/>
                  </a:ext>
                </a:extLst>
              </p:cNvPr>
              <p:cNvSpPr>
                <a:spLocks/>
              </p:cNvSpPr>
              <p:nvPr>
                <p:custDataLst>
                  <p:tags r:id="rId259"/>
                </p:custDataLst>
              </p:nvPr>
            </p:nvSpPr>
            <p:spPr bwMode="auto">
              <a:xfrm>
                <a:off x="5054599" y="3614738"/>
                <a:ext cx="80963" cy="76200"/>
              </a:xfrm>
              <a:custGeom>
                <a:avLst/>
                <a:gdLst>
                  <a:gd name="T0" fmla="*/ 16348 w 104"/>
                  <a:gd name="T1" fmla="*/ 19050 h 96"/>
                  <a:gd name="T2" fmla="*/ 16348 w 104"/>
                  <a:gd name="T3" fmla="*/ 19050 h 96"/>
                  <a:gd name="T4" fmla="*/ 13234 w 104"/>
                  <a:gd name="T5" fmla="*/ 19050 h 96"/>
                  <a:gd name="T6" fmla="*/ 16348 w 104"/>
                  <a:gd name="T7" fmla="*/ 16669 h 96"/>
                  <a:gd name="T8" fmla="*/ 19462 w 104"/>
                  <a:gd name="T9" fmla="*/ 16669 h 96"/>
                  <a:gd name="T10" fmla="*/ 19462 w 104"/>
                  <a:gd name="T11" fmla="*/ 13494 h 96"/>
                  <a:gd name="T12" fmla="*/ 19462 w 104"/>
                  <a:gd name="T13" fmla="*/ 9525 h 96"/>
                  <a:gd name="T14" fmla="*/ 19462 w 104"/>
                  <a:gd name="T15" fmla="*/ 7144 h 96"/>
                  <a:gd name="T16" fmla="*/ 16348 w 104"/>
                  <a:gd name="T17" fmla="*/ 7144 h 96"/>
                  <a:gd name="T18" fmla="*/ 16348 w 104"/>
                  <a:gd name="T19" fmla="*/ 3969 h 96"/>
                  <a:gd name="T20" fmla="*/ 6228 w 104"/>
                  <a:gd name="T21" fmla="*/ 0 h 96"/>
                  <a:gd name="T22" fmla="*/ 3114 w 104"/>
                  <a:gd name="T23" fmla="*/ 3969 h 96"/>
                  <a:gd name="T24" fmla="*/ 3114 w 104"/>
                  <a:gd name="T25" fmla="*/ 0 h 96"/>
                  <a:gd name="T26" fmla="*/ 0 w 104"/>
                  <a:gd name="T27" fmla="*/ 3969 h 96"/>
                  <a:gd name="T28" fmla="*/ 3114 w 104"/>
                  <a:gd name="T29" fmla="*/ 7144 h 96"/>
                  <a:gd name="T30" fmla="*/ 10120 w 104"/>
                  <a:gd name="T31" fmla="*/ 16669 h 96"/>
                  <a:gd name="T32" fmla="*/ 16348 w 104"/>
                  <a:gd name="T33" fmla="*/ 19050 h 9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04"/>
                  <a:gd name="T52" fmla="*/ 0 h 96"/>
                  <a:gd name="T53" fmla="*/ 104 w 104"/>
                  <a:gd name="T54" fmla="*/ 96 h 9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04" h="96">
                    <a:moveTo>
                      <a:pt x="87" y="96"/>
                    </a:moveTo>
                    <a:lnTo>
                      <a:pt x="87" y="96"/>
                    </a:lnTo>
                    <a:lnTo>
                      <a:pt x="69" y="96"/>
                    </a:lnTo>
                    <a:lnTo>
                      <a:pt x="87" y="81"/>
                    </a:lnTo>
                    <a:lnTo>
                      <a:pt x="104" y="81"/>
                    </a:lnTo>
                    <a:lnTo>
                      <a:pt x="104" y="65"/>
                    </a:lnTo>
                    <a:lnTo>
                      <a:pt x="104" y="48"/>
                    </a:lnTo>
                    <a:lnTo>
                      <a:pt x="104" y="33"/>
                    </a:lnTo>
                    <a:lnTo>
                      <a:pt x="87" y="33"/>
                    </a:lnTo>
                    <a:lnTo>
                      <a:pt x="87" y="17"/>
                    </a:lnTo>
                    <a:lnTo>
                      <a:pt x="35" y="0"/>
                    </a:lnTo>
                    <a:lnTo>
                      <a:pt x="18" y="17"/>
                    </a:lnTo>
                    <a:lnTo>
                      <a:pt x="18" y="0"/>
                    </a:lnTo>
                    <a:lnTo>
                      <a:pt x="0" y="17"/>
                    </a:lnTo>
                    <a:lnTo>
                      <a:pt x="18" y="33"/>
                    </a:lnTo>
                    <a:lnTo>
                      <a:pt x="52" y="81"/>
                    </a:lnTo>
                    <a:lnTo>
                      <a:pt x="87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98" name="Freeform 234">
                <a:extLst>
                  <a:ext uri="{FF2B5EF4-FFF2-40B4-BE49-F238E27FC236}">
                    <a16:creationId xmlns:a16="http://schemas.microsoft.com/office/drawing/2014/main" id="{2CA4AB35-2226-CF4A-AD17-7D29C6C158CF}"/>
                  </a:ext>
                </a:extLst>
              </p:cNvPr>
              <p:cNvSpPr>
                <a:spLocks/>
              </p:cNvSpPr>
              <p:nvPr>
                <p:custDataLst>
                  <p:tags r:id="rId260"/>
                </p:custDataLst>
              </p:nvPr>
            </p:nvSpPr>
            <p:spPr bwMode="auto">
              <a:xfrm>
                <a:off x="5122862" y="3602038"/>
                <a:ext cx="95250" cy="114300"/>
              </a:xfrm>
              <a:custGeom>
                <a:avLst/>
                <a:gdLst>
                  <a:gd name="T0" fmla="*/ 3149 w 121"/>
                  <a:gd name="T1" fmla="*/ 9525 h 144"/>
                  <a:gd name="T2" fmla="*/ 3149 w 121"/>
                  <a:gd name="T3" fmla="*/ 9525 h 144"/>
                  <a:gd name="T4" fmla="*/ 3149 w 121"/>
                  <a:gd name="T5" fmla="*/ 6350 h 144"/>
                  <a:gd name="T6" fmla="*/ 0 w 121"/>
                  <a:gd name="T7" fmla="*/ 2381 h 144"/>
                  <a:gd name="T8" fmla="*/ 6298 w 121"/>
                  <a:gd name="T9" fmla="*/ 0 h 144"/>
                  <a:gd name="T10" fmla="*/ 13382 w 121"/>
                  <a:gd name="T11" fmla="*/ 9525 h 144"/>
                  <a:gd name="T12" fmla="*/ 19680 w 121"/>
                  <a:gd name="T13" fmla="*/ 9525 h 144"/>
                  <a:gd name="T14" fmla="*/ 19680 w 121"/>
                  <a:gd name="T15" fmla="*/ 11906 h 144"/>
                  <a:gd name="T16" fmla="*/ 19680 w 121"/>
                  <a:gd name="T17" fmla="*/ 15875 h 144"/>
                  <a:gd name="T18" fmla="*/ 23616 w 121"/>
                  <a:gd name="T19" fmla="*/ 21431 h 144"/>
                  <a:gd name="T20" fmla="*/ 19680 w 121"/>
                  <a:gd name="T21" fmla="*/ 25400 h 144"/>
                  <a:gd name="T22" fmla="*/ 13382 w 121"/>
                  <a:gd name="T23" fmla="*/ 25400 h 144"/>
                  <a:gd name="T24" fmla="*/ 9446 w 121"/>
                  <a:gd name="T25" fmla="*/ 28575 h 144"/>
                  <a:gd name="T26" fmla="*/ 6298 w 121"/>
                  <a:gd name="T27" fmla="*/ 25400 h 144"/>
                  <a:gd name="T28" fmla="*/ 6298 w 121"/>
                  <a:gd name="T29" fmla="*/ 21431 h 144"/>
                  <a:gd name="T30" fmla="*/ 3149 w 121"/>
                  <a:gd name="T31" fmla="*/ 19050 h 144"/>
                  <a:gd name="T32" fmla="*/ 3149 w 121"/>
                  <a:gd name="T33" fmla="*/ 15875 h 144"/>
                  <a:gd name="T34" fmla="*/ 3149 w 121"/>
                  <a:gd name="T35" fmla="*/ 11906 h 144"/>
                  <a:gd name="T36" fmla="*/ 3149 w 121"/>
                  <a:gd name="T37" fmla="*/ 9525 h 14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21"/>
                  <a:gd name="T58" fmla="*/ 0 h 144"/>
                  <a:gd name="T59" fmla="*/ 121 w 121"/>
                  <a:gd name="T60" fmla="*/ 144 h 14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21" h="144">
                    <a:moveTo>
                      <a:pt x="17" y="48"/>
                    </a:moveTo>
                    <a:lnTo>
                      <a:pt x="17" y="48"/>
                    </a:lnTo>
                    <a:lnTo>
                      <a:pt x="17" y="32"/>
                    </a:lnTo>
                    <a:lnTo>
                      <a:pt x="0" y="15"/>
                    </a:lnTo>
                    <a:lnTo>
                      <a:pt x="34" y="0"/>
                    </a:lnTo>
                    <a:lnTo>
                      <a:pt x="69" y="48"/>
                    </a:lnTo>
                    <a:lnTo>
                      <a:pt x="103" y="48"/>
                    </a:lnTo>
                    <a:lnTo>
                      <a:pt x="103" y="63"/>
                    </a:lnTo>
                    <a:lnTo>
                      <a:pt x="103" y="80"/>
                    </a:lnTo>
                    <a:lnTo>
                      <a:pt x="121" y="111"/>
                    </a:lnTo>
                    <a:lnTo>
                      <a:pt x="103" y="128"/>
                    </a:lnTo>
                    <a:lnTo>
                      <a:pt x="69" y="128"/>
                    </a:lnTo>
                    <a:lnTo>
                      <a:pt x="51" y="144"/>
                    </a:lnTo>
                    <a:lnTo>
                      <a:pt x="34" y="128"/>
                    </a:lnTo>
                    <a:lnTo>
                      <a:pt x="34" y="111"/>
                    </a:lnTo>
                    <a:lnTo>
                      <a:pt x="17" y="96"/>
                    </a:lnTo>
                    <a:lnTo>
                      <a:pt x="17" y="80"/>
                    </a:lnTo>
                    <a:lnTo>
                      <a:pt x="17" y="63"/>
                    </a:lnTo>
                    <a:lnTo>
                      <a:pt x="17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199" name="Freeform 235">
                <a:extLst>
                  <a:ext uri="{FF2B5EF4-FFF2-40B4-BE49-F238E27FC236}">
                    <a16:creationId xmlns:a16="http://schemas.microsoft.com/office/drawing/2014/main" id="{9F2D2EC3-1A03-104C-B540-2DD93A5DBFFE}"/>
                  </a:ext>
                </a:extLst>
              </p:cNvPr>
              <p:cNvSpPr>
                <a:spLocks/>
              </p:cNvSpPr>
              <p:nvPr>
                <p:custDataLst>
                  <p:tags r:id="rId261"/>
                </p:custDataLst>
              </p:nvPr>
            </p:nvSpPr>
            <p:spPr bwMode="auto">
              <a:xfrm>
                <a:off x="5164137" y="3705226"/>
                <a:ext cx="53975" cy="38100"/>
              </a:xfrm>
              <a:custGeom>
                <a:avLst/>
                <a:gdLst>
                  <a:gd name="T0" fmla="*/ 3084 w 70"/>
                  <a:gd name="T1" fmla="*/ 9525 h 48"/>
                  <a:gd name="T2" fmla="*/ 3084 w 70"/>
                  <a:gd name="T3" fmla="*/ 9525 h 48"/>
                  <a:gd name="T4" fmla="*/ 0 w 70"/>
                  <a:gd name="T5" fmla="*/ 5556 h 48"/>
                  <a:gd name="T6" fmla="*/ 0 w 70"/>
                  <a:gd name="T7" fmla="*/ 3175 h 48"/>
                  <a:gd name="T8" fmla="*/ 3084 w 70"/>
                  <a:gd name="T9" fmla="*/ 0 h 48"/>
                  <a:gd name="T10" fmla="*/ 9253 w 70"/>
                  <a:gd name="T11" fmla="*/ 0 h 48"/>
                  <a:gd name="T12" fmla="*/ 13108 w 70"/>
                  <a:gd name="T13" fmla="*/ 3175 h 48"/>
                  <a:gd name="T14" fmla="*/ 13108 w 70"/>
                  <a:gd name="T15" fmla="*/ 5556 h 48"/>
                  <a:gd name="T16" fmla="*/ 3084 w 70"/>
                  <a:gd name="T17" fmla="*/ 9525 h 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0"/>
                  <a:gd name="T28" fmla="*/ 0 h 48"/>
                  <a:gd name="T29" fmla="*/ 70 w 70"/>
                  <a:gd name="T30" fmla="*/ 48 h 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0" h="48">
                    <a:moveTo>
                      <a:pt x="18" y="48"/>
                    </a:moveTo>
                    <a:lnTo>
                      <a:pt x="18" y="48"/>
                    </a:lnTo>
                    <a:lnTo>
                      <a:pt x="0" y="31"/>
                    </a:lnTo>
                    <a:lnTo>
                      <a:pt x="0" y="16"/>
                    </a:lnTo>
                    <a:lnTo>
                      <a:pt x="18" y="0"/>
                    </a:lnTo>
                    <a:lnTo>
                      <a:pt x="52" y="0"/>
                    </a:lnTo>
                    <a:lnTo>
                      <a:pt x="70" y="16"/>
                    </a:lnTo>
                    <a:lnTo>
                      <a:pt x="70" y="31"/>
                    </a:lnTo>
                    <a:lnTo>
                      <a:pt x="18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00" name="Freeform 236">
                <a:extLst>
                  <a:ext uri="{FF2B5EF4-FFF2-40B4-BE49-F238E27FC236}">
                    <a16:creationId xmlns:a16="http://schemas.microsoft.com/office/drawing/2014/main" id="{4112F2CC-0249-2745-99FE-7587D0ABA88A}"/>
                  </a:ext>
                </a:extLst>
              </p:cNvPr>
              <p:cNvSpPr>
                <a:spLocks/>
              </p:cNvSpPr>
              <p:nvPr>
                <p:custDataLst>
                  <p:tags r:id="rId262"/>
                </p:custDataLst>
              </p:nvPr>
            </p:nvSpPr>
            <p:spPr bwMode="auto">
              <a:xfrm>
                <a:off x="4972049" y="3449638"/>
                <a:ext cx="149225" cy="76200"/>
              </a:xfrm>
              <a:custGeom>
                <a:avLst/>
                <a:gdLst>
                  <a:gd name="T0" fmla="*/ 37306 w 188"/>
                  <a:gd name="T1" fmla="*/ 11906 h 96"/>
                  <a:gd name="T2" fmla="*/ 37306 w 188"/>
                  <a:gd name="T3" fmla="*/ 11906 h 96"/>
                  <a:gd name="T4" fmla="*/ 30956 w 188"/>
                  <a:gd name="T5" fmla="*/ 6350 h 96"/>
                  <a:gd name="T6" fmla="*/ 26988 w 188"/>
                  <a:gd name="T7" fmla="*/ 6350 h 96"/>
                  <a:gd name="T8" fmla="*/ 19844 w 188"/>
                  <a:gd name="T9" fmla="*/ 2381 h 96"/>
                  <a:gd name="T10" fmla="*/ 17463 w 188"/>
                  <a:gd name="T11" fmla="*/ 0 h 96"/>
                  <a:gd name="T12" fmla="*/ 17463 w 188"/>
                  <a:gd name="T13" fmla="*/ 2381 h 96"/>
                  <a:gd name="T14" fmla="*/ 14288 w 188"/>
                  <a:gd name="T15" fmla="*/ 0 h 96"/>
                  <a:gd name="T16" fmla="*/ 7144 w 188"/>
                  <a:gd name="T17" fmla="*/ 2381 h 96"/>
                  <a:gd name="T18" fmla="*/ 0 w 188"/>
                  <a:gd name="T19" fmla="*/ 6350 h 96"/>
                  <a:gd name="T20" fmla="*/ 3969 w 188"/>
                  <a:gd name="T21" fmla="*/ 11906 h 96"/>
                  <a:gd name="T22" fmla="*/ 9525 w 188"/>
                  <a:gd name="T23" fmla="*/ 19050 h 96"/>
                  <a:gd name="T24" fmla="*/ 17463 w 188"/>
                  <a:gd name="T25" fmla="*/ 19050 h 96"/>
                  <a:gd name="T26" fmla="*/ 17463 w 188"/>
                  <a:gd name="T27" fmla="*/ 15875 h 96"/>
                  <a:gd name="T28" fmla="*/ 26988 w 188"/>
                  <a:gd name="T29" fmla="*/ 19050 h 96"/>
                  <a:gd name="T30" fmla="*/ 37306 w 188"/>
                  <a:gd name="T31" fmla="*/ 11906 h 9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88"/>
                  <a:gd name="T49" fmla="*/ 0 h 96"/>
                  <a:gd name="T50" fmla="*/ 188 w 188"/>
                  <a:gd name="T51" fmla="*/ 96 h 9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88" h="96">
                    <a:moveTo>
                      <a:pt x="188" y="63"/>
                    </a:moveTo>
                    <a:lnTo>
                      <a:pt x="188" y="63"/>
                    </a:lnTo>
                    <a:lnTo>
                      <a:pt x="153" y="32"/>
                    </a:lnTo>
                    <a:lnTo>
                      <a:pt x="136" y="32"/>
                    </a:lnTo>
                    <a:lnTo>
                      <a:pt x="103" y="15"/>
                    </a:lnTo>
                    <a:lnTo>
                      <a:pt x="86" y="0"/>
                    </a:lnTo>
                    <a:lnTo>
                      <a:pt x="86" y="15"/>
                    </a:lnTo>
                    <a:lnTo>
                      <a:pt x="69" y="0"/>
                    </a:lnTo>
                    <a:lnTo>
                      <a:pt x="34" y="15"/>
                    </a:lnTo>
                    <a:lnTo>
                      <a:pt x="0" y="32"/>
                    </a:lnTo>
                    <a:lnTo>
                      <a:pt x="17" y="63"/>
                    </a:lnTo>
                    <a:lnTo>
                      <a:pt x="51" y="96"/>
                    </a:lnTo>
                    <a:lnTo>
                      <a:pt x="86" y="96"/>
                    </a:lnTo>
                    <a:lnTo>
                      <a:pt x="86" y="80"/>
                    </a:lnTo>
                    <a:lnTo>
                      <a:pt x="136" y="96"/>
                    </a:lnTo>
                    <a:lnTo>
                      <a:pt x="188" y="6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01" name="Freeform 237">
                <a:extLst>
                  <a:ext uri="{FF2B5EF4-FFF2-40B4-BE49-F238E27FC236}">
                    <a16:creationId xmlns:a16="http://schemas.microsoft.com/office/drawing/2014/main" id="{A8BA1CF0-6C3C-3B48-AB15-8BB56C7978E0}"/>
                  </a:ext>
                </a:extLst>
              </p:cNvPr>
              <p:cNvSpPr>
                <a:spLocks/>
              </p:cNvSpPr>
              <p:nvPr>
                <p:custDataLst>
                  <p:tags r:id="rId263"/>
                </p:custDataLst>
              </p:nvPr>
            </p:nvSpPr>
            <p:spPr bwMode="auto">
              <a:xfrm>
                <a:off x="5079999" y="3500438"/>
                <a:ext cx="125413" cy="52388"/>
              </a:xfrm>
              <a:custGeom>
                <a:avLst/>
                <a:gdLst>
                  <a:gd name="T0" fmla="*/ 0 w 157"/>
                  <a:gd name="T1" fmla="*/ 7254 h 65"/>
                  <a:gd name="T2" fmla="*/ 0 w 157"/>
                  <a:gd name="T3" fmla="*/ 7254 h 65"/>
                  <a:gd name="T4" fmla="*/ 0 w 157"/>
                  <a:gd name="T5" fmla="*/ 13701 h 65"/>
                  <a:gd name="T6" fmla="*/ 7189 w 157"/>
                  <a:gd name="T7" fmla="*/ 13701 h 65"/>
                  <a:gd name="T8" fmla="*/ 21568 w 157"/>
                  <a:gd name="T9" fmla="*/ 7254 h 65"/>
                  <a:gd name="T10" fmla="*/ 27958 w 157"/>
                  <a:gd name="T11" fmla="*/ 9672 h 65"/>
                  <a:gd name="T12" fmla="*/ 31952 w 157"/>
                  <a:gd name="T13" fmla="*/ 4030 h 65"/>
                  <a:gd name="T14" fmla="*/ 24763 w 157"/>
                  <a:gd name="T15" fmla="*/ 0 h 65"/>
                  <a:gd name="T16" fmla="*/ 17574 w 157"/>
                  <a:gd name="T17" fmla="*/ 4030 h 65"/>
                  <a:gd name="T18" fmla="*/ 14379 w 157"/>
                  <a:gd name="T19" fmla="*/ 0 h 65"/>
                  <a:gd name="T20" fmla="*/ 11183 w 157"/>
                  <a:gd name="T21" fmla="*/ 0 h 65"/>
                  <a:gd name="T22" fmla="*/ 0 w 157"/>
                  <a:gd name="T23" fmla="*/ 7254 h 6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57"/>
                  <a:gd name="T37" fmla="*/ 0 h 65"/>
                  <a:gd name="T38" fmla="*/ 157 w 157"/>
                  <a:gd name="T39" fmla="*/ 65 h 6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57" h="65">
                    <a:moveTo>
                      <a:pt x="0" y="33"/>
                    </a:moveTo>
                    <a:lnTo>
                      <a:pt x="0" y="33"/>
                    </a:lnTo>
                    <a:lnTo>
                      <a:pt x="0" y="65"/>
                    </a:lnTo>
                    <a:lnTo>
                      <a:pt x="34" y="65"/>
                    </a:lnTo>
                    <a:lnTo>
                      <a:pt x="105" y="33"/>
                    </a:lnTo>
                    <a:lnTo>
                      <a:pt x="140" y="48"/>
                    </a:lnTo>
                    <a:lnTo>
                      <a:pt x="157" y="17"/>
                    </a:lnTo>
                    <a:lnTo>
                      <a:pt x="123" y="0"/>
                    </a:lnTo>
                    <a:lnTo>
                      <a:pt x="88" y="17"/>
                    </a:lnTo>
                    <a:lnTo>
                      <a:pt x="71" y="0"/>
                    </a:lnTo>
                    <a:lnTo>
                      <a:pt x="54" y="0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02" name="Freeform 238">
                <a:extLst>
                  <a:ext uri="{FF2B5EF4-FFF2-40B4-BE49-F238E27FC236}">
                    <a16:creationId xmlns:a16="http://schemas.microsoft.com/office/drawing/2014/main" id="{93908F7A-0F99-4C44-B5F1-B74D3673F38F}"/>
                  </a:ext>
                </a:extLst>
              </p:cNvPr>
              <p:cNvSpPr>
                <a:spLocks/>
              </p:cNvSpPr>
              <p:nvPr>
                <p:custDataLst>
                  <p:tags r:id="rId264"/>
                </p:custDataLst>
              </p:nvPr>
            </p:nvSpPr>
            <p:spPr bwMode="auto">
              <a:xfrm>
                <a:off x="5013324" y="3590926"/>
                <a:ext cx="122238" cy="114300"/>
              </a:xfrm>
              <a:custGeom>
                <a:avLst/>
                <a:gdLst>
                  <a:gd name="T0" fmla="*/ 13321 w 156"/>
                  <a:gd name="T1" fmla="*/ 0 h 144"/>
                  <a:gd name="T2" fmla="*/ 13321 w 156"/>
                  <a:gd name="T3" fmla="*/ 0 h 144"/>
                  <a:gd name="T4" fmla="*/ 23507 w 156"/>
                  <a:gd name="T5" fmla="*/ 5556 h 144"/>
                  <a:gd name="T6" fmla="*/ 26642 w 156"/>
                  <a:gd name="T7" fmla="*/ 5556 h 144"/>
                  <a:gd name="T8" fmla="*/ 29776 w 156"/>
                  <a:gd name="T9" fmla="*/ 9525 h 144"/>
                  <a:gd name="T10" fmla="*/ 29776 w 156"/>
                  <a:gd name="T11" fmla="*/ 12700 h 144"/>
                  <a:gd name="T12" fmla="*/ 26642 w 156"/>
                  <a:gd name="T13" fmla="*/ 12700 h 144"/>
                  <a:gd name="T14" fmla="*/ 26642 w 156"/>
                  <a:gd name="T15" fmla="*/ 9525 h 144"/>
                  <a:gd name="T16" fmla="*/ 16455 w 156"/>
                  <a:gd name="T17" fmla="*/ 5556 h 144"/>
                  <a:gd name="T18" fmla="*/ 13321 w 156"/>
                  <a:gd name="T19" fmla="*/ 9525 h 144"/>
                  <a:gd name="T20" fmla="*/ 13321 w 156"/>
                  <a:gd name="T21" fmla="*/ 5556 h 144"/>
                  <a:gd name="T22" fmla="*/ 10186 w 156"/>
                  <a:gd name="T23" fmla="*/ 9525 h 144"/>
                  <a:gd name="T24" fmla="*/ 13321 w 156"/>
                  <a:gd name="T25" fmla="*/ 12700 h 144"/>
                  <a:gd name="T26" fmla="*/ 19589 w 156"/>
                  <a:gd name="T27" fmla="*/ 22225 h 144"/>
                  <a:gd name="T28" fmla="*/ 26642 w 156"/>
                  <a:gd name="T29" fmla="*/ 24606 h 144"/>
                  <a:gd name="T30" fmla="*/ 23507 w 156"/>
                  <a:gd name="T31" fmla="*/ 28575 h 144"/>
                  <a:gd name="T32" fmla="*/ 16455 w 156"/>
                  <a:gd name="T33" fmla="*/ 22225 h 144"/>
                  <a:gd name="T34" fmla="*/ 13321 w 156"/>
                  <a:gd name="T35" fmla="*/ 22225 h 144"/>
                  <a:gd name="T36" fmla="*/ 6269 w 156"/>
                  <a:gd name="T37" fmla="*/ 15081 h 144"/>
                  <a:gd name="T38" fmla="*/ 10186 w 156"/>
                  <a:gd name="T39" fmla="*/ 15081 h 144"/>
                  <a:gd name="T40" fmla="*/ 6269 w 156"/>
                  <a:gd name="T41" fmla="*/ 15081 h 144"/>
                  <a:gd name="T42" fmla="*/ 6269 w 156"/>
                  <a:gd name="T43" fmla="*/ 9525 h 144"/>
                  <a:gd name="T44" fmla="*/ 3134 w 156"/>
                  <a:gd name="T45" fmla="*/ 9525 h 144"/>
                  <a:gd name="T46" fmla="*/ 0 w 156"/>
                  <a:gd name="T47" fmla="*/ 12700 h 144"/>
                  <a:gd name="T48" fmla="*/ 0 w 156"/>
                  <a:gd name="T49" fmla="*/ 9525 h 144"/>
                  <a:gd name="T50" fmla="*/ 0 w 156"/>
                  <a:gd name="T51" fmla="*/ 5556 h 144"/>
                  <a:gd name="T52" fmla="*/ 3134 w 156"/>
                  <a:gd name="T53" fmla="*/ 5556 h 144"/>
                  <a:gd name="T54" fmla="*/ 6269 w 156"/>
                  <a:gd name="T55" fmla="*/ 5556 h 144"/>
                  <a:gd name="T56" fmla="*/ 10186 w 156"/>
                  <a:gd name="T57" fmla="*/ 0 h 144"/>
                  <a:gd name="T58" fmla="*/ 13321 w 156"/>
                  <a:gd name="T59" fmla="*/ 0 h 144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56"/>
                  <a:gd name="T91" fmla="*/ 0 h 144"/>
                  <a:gd name="T92" fmla="*/ 156 w 156"/>
                  <a:gd name="T93" fmla="*/ 144 h 144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56" h="144">
                    <a:moveTo>
                      <a:pt x="70" y="0"/>
                    </a:moveTo>
                    <a:lnTo>
                      <a:pt x="70" y="0"/>
                    </a:lnTo>
                    <a:lnTo>
                      <a:pt x="121" y="31"/>
                    </a:lnTo>
                    <a:lnTo>
                      <a:pt x="139" y="31"/>
                    </a:lnTo>
                    <a:lnTo>
                      <a:pt x="156" y="48"/>
                    </a:lnTo>
                    <a:lnTo>
                      <a:pt x="156" y="64"/>
                    </a:lnTo>
                    <a:lnTo>
                      <a:pt x="139" y="64"/>
                    </a:lnTo>
                    <a:lnTo>
                      <a:pt x="139" y="48"/>
                    </a:lnTo>
                    <a:lnTo>
                      <a:pt x="87" y="31"/>
                    </a:lnTo>
                    <a:lnTo>
                      <a:pt x="70" y="48"/>
                    </a:lnTo>
                    <a:lnTo>
                      <a:pt x="70" y="31"/>
                    </a:lnTo>
                    <a:lnTo>
                      <a:pt x="52" y="48"/>
                    </a:lnTo>
                    <a:lnTo>
                      <a:pt x="70" y="64"/>
                    </a:lnTo>
                    <a:lnTo>
                      <a:pt x="104" y="112"/>
                    </a:lnTo>
                    <a:lnTo>
                      <a:pt x="139" y="127"/>
                    </a:lnTo>
                    <a:lnTo>
                      <a:pt x="121" y="144"/>
                    </a:lnTo>
                    <a:lnTo>
                      <a:pt x="87" y="112"/>
                    </a:lnTo>
                    <a:lnTo>
                      <a:pt x="70" y="112"/>
                    </a:lnTo>
                    <a:lnTo>
                      <a:pt x="35" y="79"/>
                    </a:lnTo>
                    <a:lnTo>
                      <a:pt x="52" y="79"/>
                    </a:lnTo>
                    <a:lnTo>
                      <a:pt x="35" y="79"/>
                    </a:lnTo>
                    <a:lnTo>
                      <a:pt x="35" y="48"/>
                    </a:lnTo>
                    <a:lnTo>
                      <a:pt x="18" y="48"/>
                    </a:lnTo>
                    <a:lnTo>
                      <a:pt x="0" y="64"/>
                    </a:lnTo>
                    <a:lnTo>
                      <a:pt x="0" y="48"/>
                    </a:lnTo>
                    <a:lnTo>
                      <a:pt x="0" y="31"/>
                    </a:lnTo>
                    <a:lnTo>
                      <a:pt x="18" y="31"/>
                    </a:lnTo>
                    <a:lnTo>
                      <a:pt x="35" y="31"/>
                    </a:lnTo>
                    <a:lnTo>
                      <a:pt x="52" y="0"/>
                    </a:lnTo>
                    <a:lnTo>
                      <a:pt x="7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03" name="Freeform 239">
                <a:extLst>
                  <a:ext uri="{FF2B5EF4-FFF2-40B4-BE49-F238E27FC236}">
                    <a16:creationId xmlns:a16="http://schemas.microsoft.com/office/drawing/2014/main" id="{5B486F7A-97D1-FB4A-9602-606E8DB91FAD}"/>
                  </a:ext>
                </a:extLst>
              </p:cNvPr>
              <p:cNvSpPr>
                <a:spLocks/>
              </p:cNvSpPr>
              <p:nvPr>
                <p:custDataLst>
                  <p:tags r:id="rId265"/>
                </p:custDataLst>
              </p:nvPr>
            </p:nvSpPr>
            <p:spPr bwMode="auto">
              <a:xfrm>
                <a:off x="5106987" y="3678238"/>
                <a:ext cx="41275" cy="38100"/>
              </a:xfrm>
              <a:custGeom>
                <a:avLst/>
                <a:gdLst>
                  <a:gd name="T0" fmla="*/ 0 w 52"/>
                  <a:gd name="T1" fmla="*/ 6350 h 48"/>
                  <a:gd name="T2" fmla="*/ 0 w 52"/>
                  <a:gd name="T3" fmla="*/ 6350 h 48"/>
                  <a:gd name="T4" fmla="*/ 7144 w 52"/>
                  <a:gd name="T5" fmla="*/ 9525 h 48"/>
                  <a:gd name="T6" fmla="*/ 7144 w 52"/>
                  <a:gd name="T7" fmla="*/ 6350 h 48"/>
                  <a:gd name="T8" fmla="*/ 10319 w 52"/>
                  <a:gd name="T9" fmla="*/ 6350 h 48"/>
                  <a:gd name="T10" fmla="*/ 10319 w 52"/>
                  <a:gd name="T11" fmla="*/ 2381 h 48"/>
                  <a:gd name="T12" fmla="*/ 7144 w 52"/>
                  <a:gd name="T13" fmla="*/ 0 h 48"/>
                  <a:gd name="T14" fmla="*/ 3969 w 52"/>
                  <a:gd name="T15" fmla="*/ 0 h 48"/>
                  <a:gd name="T16" fmla="*/ 0 w 52"/>
                  <a:gd name="T17" fmla="*/ 2381 h 48"/>
                  <a:gd name="T18" fmla="*/ 3969 w 52"/>
                  <a:gd name="T19" fmla="*/ 2381 h 48"/>
                  <a:gd name="T20" fmla="*/ 0 w 52"/>
                  <a:gd name="T21" fmla="*/ 6350 h 4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2"/>
                  <a:gd name="T34" fmla="*/ 0 h 48"/>
                  <a:gd name="T35" fmla="*/ 52 w 52"/>
                  <a:gd name="T36" fmla="*/ 48 h 4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2" h="48">
                    <a:moveTo>
                      <a:pt x="0" y="32"/>
                    </a:moveTo>
                    <a:lnTo>
                      <a:pt x="0" y="32"/>
                    </a:lnTo>
                    <a:lnTo>
                      <a:pt x="35" y="48"/>
                    </a:lnTo>
                    <a:lnTo>
                      <a:pt x="35" y="32"/>
                    </a:lnTo>
                    <a:lnTo>
                      <a:pt x="52" y="32"/>
                    </a:lnTo>
                    <a:lnTo>
                      <a:pt x="52" y="15"/>
                    </a:lnTo>
                    <a:lnTo>
                      <a:pt x="35" y="0"/>
                    </a:lnTo>
                    <a:lnTo>
                      <a:pt x="18" y="0"/>
                    </a:lnTo>
                    <a:lnTo>
                      <a:pt x="0" y="15"/>
                    </a:lnTo>
                    <a:lnTo>
                      <a:pt x="18" y="15"/>
                    </a:lnTo>
                    <a:lnTo>
                      <a:pt x="0" y="32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04" name="Freeform 240">
                <a:extLst>
                  <a:ext uri="{FF2B5EF4-FFF2-40B4-BE49-F238E27FC236}">
                    <a16:creationId xmlns:a16="http://schemas.microsoft.com/office/drawing/2014/main" id="{ADDB87FE-BDDB-754D-BCCB-10AA28AC395D}"/>
                  </a:ext>
                </a:extLst>
              </p:cNvPr>
              <p:cNvSpPr>
                <a:spLocks/>
              </p:cNvSpPr>
              <p:nvPr>
                <p:custDataLst>
                  <p:tags r:id="rId266"/>
                </p:custDataLst>
              </p:nvPr>
            </p:nvSpPr>
            <p:spPr bwMode="auto">
              <a:xfrm>
                <a:off x="4541838" y="3309938"/>
                <a:ext cx="57150" cy="52388"/>
              </a:xfrm>
              <a:custGeom>
                <a:avLst/>
                <a:gdLst>
                  <a:gd name="T0" fmla="*/ 11269 w 71"/>
                  <a:gd name="T1" fmla="*/ 13701 h 65"/>
                  <a:gd name="T2" fmla="*/ 11269 w 71"/>
                  <a:gd name="T3" fmla="*/ 9672 h 65"/>
                  <a:gd name="T4" fmla="*/ 4025 w 71"/>
                  <a:gd name="T5" fmla="*/ 9672 h 65"/>
                  <a:gd name="T6" fmla="*/ 0 w 71"/>
                  <a:gd name="T7" fmla="*/ 7254 h 65"/>
                  <a:gd name="T8" fmla="*/ 4025 w 71"/>
                  <a:gd name="T9" fmla="*/ 0 h 65"/>
                  <a:gd name="T10" fmla="*/ 11269 w 71"/>
                  <a:gd name="T11" fmla="*/ 4030 h 65"/>
                  <a:gd name="T12" fmla="*/ 14489 w 71"/>
                  <a:gd name="T13" fmla="*/ 9672 h 65"/>
                  <a:gd name="T14" fmla="*/ 11269 w 71"/>
                  <a:gd name="T15" fmla="*/ 13701 h 6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1"/>
                  <a:gd name="T25" fmla="*/ 0 h 65"/>
                  <a:gd name="T26" fmla="*/ 71 w 71"/>
                  <a:gd name="T27" fmla="*/ 65 h 6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1" h="65">
                    <a:moveTo>
                      <a:pt x="54" y="65"/>
                    </a:moveTo>
                    <a:lnTo>
                      <a:pt x="54" y="48"/>
                    </a:lnTo>
                    <a:lnTo>
                      <a:pt x="18" y="48"/>
                    </a:lnTo>
                    <a:lnTo>
                      <a:pt x="0" y="33"/>
                    </a:lnTo>
                    <a:lnTo>
                      <a:pt x="18" y="0"/>
                    </a:lnTo>
                    <a:lnTo>
                      <a:pt x="54" y="18"/>
                    </a:lnTo>
                    <a:lnTo>
                      <a:pt x="71" y="48"/>
                    </a:lnTo>
                    <a:lnTo>
                      <a:pt x="54" y="6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05" name="Freeform 241">
                <a:extLst>
                  <a:ext uri="{FF2B5EF4-FFF2-40B4-BE49-F238E27FC236}">
                    <a16:creationId xmlns:a16="http://schemas.microsoft.com/office/drawing/2014/main" id="{B7855027-C751-B24B-8EB7-650ABAC12B2F}"/>
                  </a:ext>
                </a:extLst>
              </p:cNvPr>
              <p:cNvSpPr>
                <a:spLocks/>
              </p:cNvSpPr>
              <p:nvPr>
                <p:custDataLst>
                  <p:tags r:id="rId267"/>
                </p:custDataLst>
              </p:nvPr>
            </p:nvSpPr>
            <p:spPr bwMode="auto">
              <a:xfrm>
                <a:off x="4489450" y="3309938"/>
                <a:ext cx="93663" cy="128588"/>
              </a:xfrm>
              <a:custGeom>
                <a:avLst/>
                <a:gdLst>
                  <a:gd name="T0" fmla="*/ 16529 w 119"/>
                  <a:gd name="T1" fmla="*/ 0 h 161"/>
                  <a:gd name="T2" fmla="*/ 13380 w 119"/>
                  <a:gd name="T3" fmla="*/ 7188 h 161"/>
                  <a:gd name="T4" fmla="*/ 16529 w 119"/>
                  <a:gd name="T5" fmla="*/ 9584 h 161"/>
                  <a:gd name="T6" fmla="*/ 22825 w 119"/>
                  <a:gd name="T7" fmla="*/ 9584 h 161"/>
                  <a:gd name="T8" fmla="*/ 22825 w 119"/>
                  <a:gd name="T9" fmla="*/ 13578 h 161"/>
                  <a:gd name="T10" fmla="*/ 22825 w 119"/>
                  <a:gd name="T11" fmla="*/ 19168 h 161"/>
                  <a:gd name="T12" fmla="*/ 19677 w 119"/>
                  <a:gd name="T13" fmla="*/ 28753 h 161"/>
                  <a:gd name="T14" fmla="*/ 3148 w 119"/>
                  <a:gd name="T15" fmla="*/ 32746 h 161"/>
                  <a:gd name="T16" fmla="*/ 0 w 119"/>
                  <a:gd name="T17" fmla="*/ 28753 h 161"/>
                  <a:gd name="T18" fmla="*/ 3148 w 119"/>
                  <a:gd name="T19" fmla="*/ 28753 h 161"/>
                  <a:gd name="T20" fmla="*/ 6297 w 119"/>
                  <a:gd name="T21" fmla="*/ 19168 h 161"/>
                  <a:gd name="T22" fmla="*/ 3148 w 119"/>
                  <a:gd name="T23" fmla="*/ 16772 h 161"/>
                  <a:gd name="T24" fmla="*/ 6297 w 119"/>
                  <a:gd name="T25" fmla="*/ 13578 h 161"/>
                  <a:gd name="T26" fmla="*/ 3148 w 119"/>
                  <a:gd name="T27" fmla="*/ 13578 h 161"/>
                  <a:gd name="T28" fmla="*/ 3148 w 119"/>
                  <a:gd name="T29" fmla="*/ 9584 h 161"/>
                  <a:gd name="T30" fmla="*/ 10232 w 119"/>
                  <a:gd name="T31" fmla="*/ 9584 h 161"/>
                  <a:gd name="T32" fmla="*/ 13380 w 119"/>
                  <a:gd name="T33" fmla="*/ 7188 h 161"/>
                  <a:gd name="T34" fmla="*/ 10232 w 119"/>
                  <a:gd name="T35" fmla="*/ 7188 h 161"/>
                  <a:gd name="T36" fmla="*/ 10232 w 119"/>
                  <a:gd name="T37" fmla="*/ 3993 h 161"/>
                  <a:gd name="T38" fmla="*/ 16529 w 119"/>
                  <a:gd name="T39" fmla="*/ 0 h 16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19"/>
                  <a:gd name="T61" fmla="*/ 0 h 161"/>
                  <a:gd name="T62" fmla="*/ 119 w 119"/>
                  <a:gd name="T63" fmla="*/ 161 h 16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19" h="161">
                    <a:moveTo>
                      <a:pt x="86" y="0"/>
                    </a:moveTo>
                    <a:lnTo>
                      <a:pt x="69" y="33"/>
                    </a:lnTo>
                    <a:lnTo>
                      <a:pt x="86" y="48"/>
                    </a:lnTo>
                    <a:lnTo>
                      <a:pt x="119" y="48"/>
                    </a:lnTo>
                    <a:lnTo>
                      <a:pt x="119" y="65"/>
                    </a:lnTo>
                    <a:lnTo>
                      <a:pt x="119" y="96"/>
                    </a:lnTo>
                    <a:lnTo>
                      <a:pt x="102" y="144"/>
                    </a:lnTo>
                    <a:lnTo>
                      <a:pt x="17" y="161"/>
                    </a:lnTo>
                    <a:lnTo>
                      <a:pt x="0" y="144"/>
                    </a:lnTo>
                    <a:lnTo>
                      <a:pt x="17" y="144"/>
                    </a:lnTo>
                    <a:lnTo>
                      <a:pt x="35" y="96"/>
                    </a:lnTo>
                    <a:lnTo>
                      <a:pt x="17" y="81"/>
                    </a:lnTo>
                    <a:lnTo>
                      <a:pt x="35" y="65"/>
                    </a:lnTo>
                    <a:lnTo>
                      <a:pt x="17" y="65"/>
                    </a:lnTo>
                    <a:lnTo>
                      <a:pt x="17" y="48"/>
                    </a:lnTo>
                    <a:lnTo>
                      <a:pt x="52" y="48"/>
                    </a:lnTo>
                    <a:lnTo>
                      <a:pt x="69" y="33"/>
                    </a:lnTo>
                    <a:lnTo>
                      <a:pt x="52" y="33"/>
                    </a:lnTo>
                    <a:lnTo>
                      <a:pt x="52" y="18"/>
                    </a:lnTo>
                    <a:lnTo>
                      <a:pt x="86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06" name="Freeform 242">
                <a:extLst>
                  <a:ext uri="{FF2B5EF4-FFF2-40B4-BE49-F238E27FC236}">
                    <a16:creationId xmlns:a16="http://schemas.microsoft.com/office/drawing/2014/main" id="{F6B7EC69-EAA6-4C47-B7C9-52C1F980A8AB}"/>
                  </a:ext>
                </a:extLst>
              </p:cNvPr>
              <p:cNvSpPr>
                <a:spLocks/>
              </p:cNvSpPr>
              <p:nvPr>
                <p:custDataLst>
                  <p:tags r:id="rId268"/>
                </p:custDataLst>
              </p:nvPr>
            </p:nvSpPr>
            <p:spPr bwMode="auto">
              <a:xfrm>
                <a:off x="4516438" y="3667126"/>
                <a:ext cx="260350" cy="201613"/>
              </a:xfrm>
              <a:custGeom>
                <a:avLst/>
                <a:gdLst>
                  <a:gd name="T0" fmla="*/ 3969 w 328"/>
                  <a:gd name="T1" fmla="*/ 12650 h 255"/>
                  <a:gd name="T2" fmla="*/ 3969 w 328"/>
                  <a:gd name="T3" fmla="*/ 12650 h 255"/>
                  <a:gd name="T4" fmla="*/ 16669 w 328"/>
                  <a:gd name="T5" fmla="*/ 12650 h 255"/>
                  <a:gd name="T6" fmla="*/ 16669 w 328"/>
                  <a:gd name="T7" fmla="*/ 15022 h 255"/>
                  <a:gd name="T8" fmla="*/ 14288 w 328"/>
                  <a:gd name="T9" fmla="*/ 18975 h 255"/>
                  <a:gd name="T10" fmla="*/ 14288 w 328"/>
                  <a:gd name="T11" fmla="*/ 24510 h 255"/>
                  <a:gd name="T12" fmla="*/ 9525 w 328"/>
                  <a:gd name="T13" fmla="*/ 28463 h 255"/>
                  <a:gd name="T14" fmla="*/ 14288 w 328"/>
                  <a:gd name="T15" fmla="*/ 37951 h 255"/>
                  <a:gd name="T16" fmla="*/ 9525 w 328"/>
                  <a:gd name="T17" fmla="*/ 43485 h 255"/>
                  <a:gd name="T18" fmla="*/ 19844 w 328"/>
                  <a:gd name="T19" fmla="*/ 49810 h 255"/>
                  <a:gd name="T20" fmla="*/ 23812 w 328"/>
                  <a:gd name="T21" fmla="*/ 47438 h 255"/>
                  <a:gd name="T22" fmla="*/ 37306 w 328"/>
                  <a:gd name="T23" fmla="*/ 47438 h 255"/>
                  <a:gd name="T24" fmla="*/ 51594 w 328"/>
                  <a:gd name="T25" fmla="*/ 33997 h 255"/>
                  <a:gd name="T26" fmla="*/ 47625 w 328"/>
                  <a:gd name="T27" fmla="*/ 28463 h 255"/>
                  <a:gd name="T28" fmla="*/ 54769 w 328"/>
                  <a:gd name="T29" fmla="*/ 18975 h 255"/>
                  <a:gd name="T30" fmla="*/ 65088 w 328"/>
                  <a:gd name="T31" fmla="*/ 12650 h 255"/>
                  <a:gd name="T32" fmla="*/ 65088 w 328"/>
                  <a:gd name="T33" fmla="*/ 9488 h 255"/>
                  <a:gd name="T34" fmla="*/ 47625 w 328"/>
                  <a:gd name="T35" fmla="*/ 5534 h 255"/>
                  <a:gd name="T36" fmla="*/ 40481 w 328"/>
                  <a:gd name="T37" fmla="*/ 3163 h 255"/>
                  <a:gd name="T38" fmla="*/ 37306 w 328"/>
                  <a:gd name="T39" fmla="*/ 3163 h 255"/>
                  <a:gd name="T40" fmla="*/ 30956 w 328"/>
                  <a:gd name="T41" fmla="*/ 3163 h 255"/>
                  <a:gd name="T42" fmla="*/ 27781 w 328"/>
                  <a:gd name="T43" fmla="*/ 3163 h 255"/>
                  <a:gd name="T44" fmla="*/ 7144 w 328"/>
                  <a:gd name="T45" fmla="*/ 0 h 255"/>
                  <a:gd name="T46" fmla="*/ 3969 w 328"/>
                  <a:gd name="T47" fmla="*/ 3163 h 255"/>
                  <a:gd name="T48" fmla="*/ 0 w 328"/>
                  <a:gd name="T49" fmla="*/ 3163 h 255"/>
                  <a:gd name="T50" fmla="*/ 0 w 328"/>
                  <a:gd name="T51" fmla="*/ 5534 h 255"/>
                  <a:gd name="T52" fmla="*/ 3969 w 328"/>
                  <a:gd name="T53" fmla="*/ 12650 h 25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28"/>
                  <a:gd name="T82" fmla="*/ 0 h 255"/>
                  <a:gd name="T83" fmla="*/ 328 w 328"/>
                  <a:gd name="T84" fmla="*/ 255 h 255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28" h="255">
                    <a:moveTo>
                      <a:pt x="17" y="64"/>
                    </a:moveTo>
                    <a:lnTo>
                      <a:pt x="17" y="64"/>
                    </a:lnTo>
                    <a:lnTo>
                      <a:pt x="86" y="64"/>
                    </a:lnTo>
                    <a:lnTo>
                      <a:pt x="86" y="79"/>
                    </a:lnTo>
                    <a:lnTo>
                      <a:pt x="69" y="96"/>
                    </a:lnTo>
                    <a:lnTo>
                      <a:pt x="69" y="127"/>
                    </a:lnTo>
                    <a:lnTo>
                      <a:pt x="51" y="144"/>
                    </a:lnTo>
                    <a:lnTo>
                      <a:pt x="69" y="192"/>
                    </a:lnTo>
                    <a:lnTo>
                      <a:pt x="51" y="223"/>
                    </a:lnTo>
                    <a:lnTo>
                      <a:pt x="103" y="255"/>
                    </a:lnTo>
                    <a:lnTo>
                      <a:pt x="121" y="240"/>
                    </a:lnTo>
                    <a:lnTo>
                      <a:pt x="190" y="240"/>
                    </a:lnTo>
                    <a:lnTo>
                      <a:pt x="259" y="175"/>
                    </a:lnTo>
                    <a:lnTo>
                      <a:pt x="241" y="144"/>
                    </a:lnTo>
                    <a:lnTo>
                      <a:pt x="276" y="96"/>
                    </a:lnTo>
                    <a:lnTo>
                      <a:pt x="328" y="64"/>
                    </a:lnTo>
                    <a:lnTo>
                      <a:pt x="328" y="48"/>
                    </a:lnTo>
                    <a:lnTo>
                      <a:pt x="241" y="31"/>
                    </a:lnTo>
                    <a:lnTo>
                      <a:pt x="207" y="16"/>
                    </a:lnTo>
                    <a:lnTo>
                      <a:pt x="190" y="16"/>
                    </a:lnTo>
                    <a:lnTo>
                      <a:pt x="155" y="16"/>
                    </a:lnTo>
                    <a:lnTo>
                      <a:pt x="138" y="16"/>
                    </a:lnTo>
                    <a:lnTo>
                      <a:pt x="34" y="0"/>
                    </a:lnTo>
                    <a:lnTo>
                      <a:pt x="17" y="16"/>
                    </a:lnTo>
                    <a:lnTo>
                      <a:pt x="0" y="16"/>
                    </a:lnTo>
                    <a:lnTo>
                      <a:pt x="0" y="31"/>
                    </a:lnTo>
                    <a:lnTo>
                      <a:pt x="17" y="64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07" name="Freeform 243">
                <a:extLst>
                  <a:ext uri="{FF2B5EF4-FFF2-40B4-BE49-F238E27FC236}">
                    <a16:creationId xmlns:a16="http://schemas.microsoft.com/office/drawing/2014/main" id="{D1933F3F-1683-8548-940D-CD5A0CC7805F}"/>
                  </a:ext>
                </a:extLst>
              </p:cNvPr>
              <p:cNvSpPr>
                <a:spLocks/>
              </p:cNvSpPr>
              <p:nvPr>
                <p:custDataLst>
                  <p:tags r:id="rId269"/>
                </p:custDataLst>
              </p:nvPr>
            </p:nvSpPr>
            <p:spPr bwMode="auto">
              <a:xfrm>
                <a:off x="4516438" y="3716338"/>
                <a:ext cx="66675" cy="127000"/>
              </a:xfrm>
              <a:custGeom>
                <a:avLst/>
                <a:gdLst>
                  <a:gd name="T0" fmla="*/ 9525 w 84"/>
                  <a:gd name="T1" fmla="*/ 31950 h 159"/>
                  <a:gd name="T2" fmla="*/ 9525 w 84"/>
                  <a:gd name="T3" fmla="*/ 31950 h 159"/>
                  <a:gd name="T4" fmla="*/ 13494 w 84"/>
                  <a:gd name="T5" fmla="*/ 25560 h 159"/>
                  <a:gd name="T6" fmla="*/ 9525 w 84"/>
                  <a:gd name="T7" fmla="*/ 15975 h 159"/>
                  <a:gd name="T8" fmla="*/ 13494 w 84"/>
                  <a:gd name="T9" fmla="*/ 12780 h 159"/>
                  <a:gd name="T10" fmla="*/ 13494 w 84"/>
                  <a:gd name="T11" fmla="*/ 6390 h 159"/>
                  <a:gd name="T12" fmla="*/ 16669 w 84"/>
                  <a:gd name="T13" fmla="*/ 3195 h 159"/>
                  <a:gd name="T14" fmla="*/ 16669 w 84"/>
                  <a:gd name="T15" fmla="*/ 0 h 159"/>
                  <a:gd name="T16" fmla="*/ 3969 w 84"/>
                  <a:gd name="T17" fmla="*/ 0 h 159"/>
                  <a:gd name="T18" fmla="*/ 3969 w 84"/>
                  <a:gd name="T19" fmla="*/ 6390 h 159"/>
                  <a:gd name="T20" fmla="*/ 0 w 84"/>
                  <a:gd name="T21" fmla="*/ 22365 h 159"/>
                  <a:gd name="T22" fmla="*/ 3969 w 84"/>
                  <a:gd name="T23" fmla="*/ 22365 h 159"/>
                  <a:gd name="T24" fmla="*/ 0 w 84"/>
                  <a:gd name="T25" fmla="*/ 31950 h 159"/>
                  <a:gd name="T26" fmla="*/ 9525 w 84"/>
                  <a:gd name="T27" fmla="*/ 31950 h 15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4"/>
                  <a:gd name="T43" fmla="*/ 0 h 159"/>
                  <a:gd name="T44" fmla="*/ 84 w 84"/>
                  <a:gd name="T45" fmla="*/ 159 h 15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4" h="159">
                    <a:moveTo>
                      <a:pt x="50" y="159"/>
                    </a:moveTo>
                    <a:lnTo>
                      <a:pt x="50" y="159"/>
                    </a:lnTo>
                    <a:lnTo>
                      <a:pt x="67" y="128"/>
                    </a:lnTo>
                    <a:lnTo>
                      <a:pt x="50" y="80"/>
                    </a:lnTo>
                    <a:lnTo>
                      <a:pt x="67" y="63"/>
                    </a:lnTo>
                    <a:lnTo>
                      <a:pt x="67" y="32"/>
                    </a:lnTo>
                    <a:lnTo>
                      <a:pt x="84" y="15"/>
                    </a:lnTo>
                    <a:lnTo>
                      <a:pt x="84" y="0"/>
                    </a:lnTo>
                    <a:lnTo>
                      <a:pt x="17" y="0"/>
                    </a:lnTo>
                    <a:lnTo>
                      <a:pt x="17" y="32"/>
                    </a:lnTo>
                    <a:lnTo>
                      <a:pt x="0" y="111"/>
                    </a:lnTo>
                    <a:lnTo>
                      <a:pt x="17" y="111"/>
                    </a:lnTo>
                    <a:lnTo>
                      <a:pt x="0" y="159"/>
                    </a:lnTo>
                    <a:lnTo>
                      <a:pt x="50" y="159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08" name="Freeform 244">
                <a:extLst>
                  <a:ext uri="{FF2B5EF4-FFF2-40B4-BE49-F238E27FC236}">
                    <a16:creationId xmlns:a16="http://schemas.microsoft.com/office/drawing/2014/main" id="{26F3C77F-1B07-4740-88C0-C547C6415985}"/>
                  </a:ext>
                </a:extLst>
              </p:cNvPr>
              <p:cNvSpPr>
                <a:spLocks/>
              </p:cNvSpPr>
              <p:nvPr>
                <p:custDataLst>
                  <p:tags r:id="rId270"/>
                </p:custDataLst>
              </p:nvPr>
            </p:nvSpPr>
            <p:spPr bwMode="auto">
              <a:xfrm>
                <a:off x="4570413" y="3195638"/>
                <a:ext cx="179388" cy="292100"/>
              </a:xfrm>
              <a:custGeom>
                <a:avLst/>
                <a:gdLst>
                  <a:gd name="T0" fmla="*/ 7208 w 224"/>
                  <a:gd name="T1" fmla="*/ 72827 h 369"/>
                  <a:gd name="T2" fmla="*/ 10411 w 224"/>
                  <a:gd name="T3" fmla="*/ 69661 h 369"/>
                  <a:gd name="T4" fmla="*/ 17618 w 224"/>
                  <a:gd name="T5" fmla="*/ 72827 h 369"/>
                  <a:gd name="T6" fmla="*/ 17618 w 224"/>
                  <a:gd name="T7" fmla="*/ 69661 h 369"/>
                  <a:gd name="T8" fmla="*/ 20822 w 224"/>
                  <a:gd name="T9" fmla="*/ 66494 h 369"/>
                  <a:gd name="T10" fmla="*/ 24826 w 224"/>
                  <a:gd name="T11" fmla="*/ 69661 h 369"/>
                  <a:gd name="T12" fmla="*/ 28029 w 224"/>
                  <a:gd name="T13" fmla="*/ 66494 h 369"/>
                  <a:gd name="T14" fmla="*/ 41644 w 224"/>
                  <a:gd name="T15" fmla="*/ 66494 h 369"/>
                  <a:gd name="T16" fmla="*/ 45648 w 224"/>
                  <a:gd name="T17" fmla="*/ 63328 h 369"/>
                  <a:gd name="T18" fmla="*/ 38440 w 224"/>
                  <a:gd name="T19" fmla="*/ 63328 h 369"/>
                  <a:gd name="T20" fmla="*/ 45648 w 224"/>
                  <a:gd name="T21" fmla="*/ 53829 h 369"/>
                  <a:gd name="T22" fmla="*/ 41644 w 224"/>
                  <a:gd name="T23" fmla="*/ 50662 h 369"/>
                  <a:gd name="T24" fmla="*/ 38440 w 224"/>
                  <a:gd name="T25" fmla="*/ 50662 h 369"/>
                  <a:gd name="T26" fmla="*/ 35237 w 224"/>
                  <a:gd name="T27" fmla="*/ 50662 h 369"/>
                  <a:gd name="T28" fmla="*/ 38440 w 224"/>
                  <a:gd name="T29" fmla="*/ 47496 h 369"/>
                  <a:gd name="T30" fmla="*/ 38440 w 224"/>
                  <a:gd name="T31" fmla="*/ 44330 h 369"/>
                  <a:gd name="T32" fmla="*/ 35237 w 224"/>
                  <a:gd name="T33" fmla="*/ 37997 h 369"/>
                  <a:gd name="T34" fmla="*/ 31233 w 224"/>
                  <a:gd name="T35" fmla="*/ 34830 h 369"/>
                  <a:gd name="T36" fmla="*/ 24826 w 224"/>
                  <a:gd name="T37" fmla="*/ 25331 h 369"/>
                  <a:gd name="T38" fmla="*/ 17618 w 224"/>
                  <a:gd name="T39" fmla="*/ 22165 h 369"/>
                  <a:gd name="T40" fmla="*/ 28029 w 224"/>
                  <a:gd name="T41" fmla="*/ 9499 h 369"/>
                  <a:gd name="T42" fmla="*/ 24826 w 224"/>
                  <a:gd name="T43" fmla="*/ 6333 h 369"/>
                  <a:gd name="T44" fmla="*/ 14415 w 224"/>
                  <a:gd name="T45" fmla="*/ 9499 h 369"/>
                  <a:gd name="T46" fmla="*/ 14415 w 224"/>
                  <a:gd name="T47" fmla="*/ 3166 h 369"/>
                  <a:gd name="T48" fmla="*/ 20822 w 224"/>
                  <a:gd name="T49" fmla="*/ 0 h 369"/>
                  <a:gd name="T50" fmla="*/ 17618 w 224"/>
                  <a:gd name="T51" fmla="*/ 0 h 369"/>
                  <a:gd name="T52" fmla="*/ 10411 w 224"/>
                  <a:gd name="T53" fmla="*/ 0 h 369"/>
                  <a:gd name="T54" fmla="*/ 4004 w 224"/>
                  <a:gd name="T55" fmla="*/ 9499 h 369"/>
                  <a:gd name="T56" fmla="*/ 0 w 224"/>
                  <a:gd name="T57" fmla="*/ 9499 h 369"/>
                  <a:gd name="T58" fmla="*/ 4004 w 224"/>
                  <a:gd name="T59" fmla="*/ 12666 h 369"/>
                  <a:gd name="T60" fmla="*/ 7208 w 224"/>
                  <a:gd name="T61" fmla="*/ 12666 h 369"/>
                  <a:gd name="T62" fmla="*/ 4004 w 224"/>
                  <a:gd name="T63" fmla="*/ 18998 h 369"/>
                  <a:gd name="T64" fmla="*/ 7208 w 224"/>
                  <a:gd name="T65" fmla="*/ 18998 h 369"/>
                  <a:gd name="T66" fmla="*/ 7208 w 224"/>
                  <a:gd name="T67" fmla="*/ 22165 h 369"/>
                  <a:gd name="T68" fmla="*/ 4004 w 224"/>
                  <a:gd name="T69" fmla="*/ 25331 h 369"/>
                  <a:gd name="T70" fmla="*/ 7208 w 224"/>
                  <a:gd name="T71" fmla="*/ 25331 h 369"/>
                  <a:gd name="T72" fmla="*/ 7208 w 224"/>
                  <a:gd name="T73" fmla="*/ 28498 h 369"/>
                  <a:gd name="T74" fmla="*/ 7208 w 224"/>
                  <a:gd name="T75" fmla="*/ 25331 h 369"/>
                  <a:gd name="T76" fmla="*/ 10411 w 224"/>
                  <a:gd name="T77" fmla="*/ 28498 h 369"/>
                  <a:gd name="T78" fmla="*/ 7208 w 224"/>
                  <a:gd name="T79" fmla="*/ 31664 h 369"/>
                  <a:gd name="T80" fmla="*/ 10411 w 224"/>
                  <a:gd name="T81" fmla="*/ 34830 h 369"/>
                  <a:gd name="T82" fmla="*/ 17618 w 224"/>
                  <a:gd name="T83" fmla="*/ 31664 h 369"/>
                  <a:gd name="T84" fmla="*/ 17618 w 224"/>
                  <a:gd name="T85" fmla="*/ 34830 h 369"/>
                  <a:gd name="T86" fmla="*/ 17618 w 224"/>
                  <a:gd name="T87" fmla="*/ 37997 h 369"/>
                  <a:gd name="T88" fmla="*/ 20822 w 224"/>
                  <a:gd name="T89" fmla="*/ 37997 h 369"/>
                  <a:gd name="T90" fmla="*/ 20822 w 224"/>
                  <a:gd name="T91" fmla="*/ 44330 h 369"/>
                  <a:gd name="T92" fmla="*/ 10411 w 224"/>
                  <a:gd name="T93" fmla="*/ 44330 h 369"/>
                  <a:gd name="T94" fmla="*/ 14415 w 224"/>
                  <a:gd name="T95" fmla="*/ 47496 h 369"/>
                  <a:gd name="T96" fmla="*/ 10411 w 224"/>
                  <a:gd name="T97" fmla="*/ 50662 h 369"/>
                  <a:gd name="T98" fmla="*/ 14415 w 224"/>
                  <a:gd name="T99" fmla="*/ 50662 h 369"/>
                  <a:gd name="T100" fmla="*/ 14415 w 224"/>
                  <a:gd name="T101" fmla="*/ 53829 h 369"/>
                  <a:gd name="T102" fmla="*/ 7208 w 224"/>
                  <a:gd name="T103" fmla="*/ 56995 h 369"/>
                  <a:gd name="T104" fmla="*/ 10411 w 224"/>
                  <a:gd name="T105" fmla="*/ 60162 h 369"/>
                  <a:gd name="T106" fmla="*/ 14415 w 224"/>
                  <a:gd name="T107" fmla="*/ 60162 h 369"/>
                  <a:gd name="T108" fmla="*/ 17618 w 224"/>
                  <a:gd name="T109" fmla="*/ 63328 h 369"/>
                  <a:gd name="T110" fmla="*/ 20822 w 224"/>
                  <a:gd name="T111" fmla="*/ 60162 h 369"/>
                  <a:gd name="T112" fmla="*/ 20822 w 224"/>
                  <a:gd name="T113" fmla="*/ 63328 h 369"/>
                  <a:gd name="T114" fmla="*/ 14415 w 224"/>
                  <a:gd name="T115" fmla="*/ 63328 h 369"/>
                  <a:gd name="T116" fmla="*/ 7208 w 224"/>
                  <a:gd name="T117" fmla="*/ 72827 h 36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24"/>
                  <a:gd name="T178" fmla="*/ 0 h 369"/>
                  <a:gd name="T179" fmla="*/ 224 w 224"/>
                  <a:gd name="T180" fmla="*/ 369 h 36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24" h="369">
                    <a:moveTo>
                      <a:pt x="34" y="369"/>
                    </a:moveTo>
                    <a:lnTo>
                      <a:pt x="52" y="353"/>
                    </a:lnTo>
                    <a:lnTo>
                      <a:pt x="86" y="369"/>
                    </a:lnTo>
                    <a:lnTo>
                      <a:pt x="86" y="353"/>
                    </a:lnTo>
                    <a:lnTo>
                      <a:pt x="103" y="336"/>
                    </a:lnTo>
                    <a:lnTo>
                      <a:pt x="121" y="353"/>
                    </a:lnTo>
                    <a:lnTo>
                      <a:pt x="138" y="336"/>
                    </a:lnTo>
                    <a:lnTo>
                      <a:pt x="207" y="336"/>
                    </a:lnTo>
                    <a:lnTo>
                      <a:pt x="224" y="321"/>
                    </a:lnTo>
                    <a:lnTo>
                      <a:pt x="190" y="321"/>
                    </a:lnTo>
                    <a:lnTo>
                      <a:pt x="224" y="273"/>
                    </a:lnTo>
                    <a:lnTo>
                      <a:pt x="207" y="257"/>
                    </a:lnTo>
                    <a:lnTo>
                      <a:pt x="190" y="257"/>
                    </a:lnTo>
                    <a:lnTo>
                      <a:pt x="172" y="257"/>
                    </a:lnTo>
                    <a:lnTo>
                      <a:pt x="190" y="240"/>
                    </a:lnTo>
                    <a:lnTo>
                      <a:pt x="190" y="225"/>
                    </a:lnTo>
                    <a:lnTo>
                      <a:pt x="172" y="192"/>
                    </a:lnTo>
                    <a:lnTo>
                      <a:pt x="155" y="177"/>
                    </a:lnTo>
                    <a:lnTo>
                      <a:pt x="121" y="129"/>
                    </a:lnTo>
                    <a:lnTo>
                      <a:pt x="86" y="114"/>
                    </a:lnTo>
                    <a:lnTo>
                      <a:pt x="138" y="48"/>
                    </a:lnTo>
                    <a:lnTo>
                      <a:pt x="121" y="33"/>
                    </a:lnTo>
                    <a:lnTo>
                      <a:pt x="69" y="48"/>
                    </a:lnTo>
                    <a:lnTo>
                      <a:pt x="69" y="18"/>
                    </a:lnTo>
                    <a:lnTo>
                      <a:pt x="103" y="0"/>
                    </a:lnTo>
                    <a:lnTo>
                      <a:pt x="86" y="0"/>
                    </a:lnTo>
                    <a:lnTo>
                      <a:pt x="52" y="0"/>
                    </a:lnTo>
                    <a:lnTo>
                      <a:pt x="17" y="48"/>
                    </a:lnTo>
                    <a:lnTo>
                      <a:pt x="0" y="48"/>
                    </a:lnTo>
                    <a:lnTo>
                      <a:pt x="17" y="66"/>
                    </a:lnTo>
                    <a:lnTo>
                      <a:pt x="34" y="66"/>
                    </a:lnTo>
                    <a:lnTo>
                      <a:pt x="17" y="96"/>
                    </a:lnTo>
                    <a:lnTo>
                      <a:pt x="34" y="96"/>
                    </a:lnTo>
                    <a:lnTo>
                      <a:pt x="34" y="114"/>
                    </a:lnTo>
                    <a:lnTo>
                      <a:pt x="17" y="129"/>
                    </a:lnTo>
                    <a:lnTo>
                      <a:pt x="34" y="129"/>
                    </a:lnTo>
                    <a:lnTo>
                      <a:pt x="34" y="144"/>
                    </a:lnTo>
                    <a:lnTo>
                      <a:pt x="34" y="129"/>
                    </a:lnTo>
                    <a:lnTo>
                      <a:pt x="52" y="144"/>
                    </a:lnTo>
                    <a:lnTo>
                      <a:pt x="34" y="162"/>
                    </a:lnTo>
                    <a:lnTo>
                      <a:pt x="52" y="177"/>
                    </a:lnTo>
                    <a:lnTo>
                      <a:pt x="86" y="162"/>
                    </a:lnTo>
                    <a:lnTo>
                      <a:pt x="86" y="177"/>
                    </a:lnTo>
                    <a:lnTo>
                      <a:pt x="86" y="192"/>
                    </a:lnTo>
                    <a:lnTo>
                      <a:pt x="103" y="192"/>
                    </a:lnTo>
                    <a:lnTo>
                      <a:pt x="103" y="225"/>
                    </a:lnTo>
                    <a:lnTo>
                      <a:pt x="52" y="225"/>
                    </a:lnTo>
                    <a:lnTo>
                      <a:pt x="69" y="240"/>
                    </a:lnTo>
                    <a:lnTo>
                      <a:pt x="52" y="257"/>
                    </a:lnTo>
                    <a:lnTo>
                      <a:pt x="69" y="257"/>
                    </a:lnTo>
                    <a:lnTo>
                      <a:pt x="69" y="273"/>
                    </a:lnTo>
                    <a:lnTo>
                      <a:pt x="34" y="288"/>
                    </a:lnTo>
                    <a:lnTo>
                      <a:pt x="52" y="305"/>
                    </a:lnTo>
                    <a:lnTo>
                      <a:pt x="69" y="305"/>
                    </a:lnTo>
                    <a:lnTo>
                      <a:pt x="86" y="321"/>
                    </a:lnTo>
                    <a:lnTo>
                      <a:pt x="103" y="305"/>
                    </a:lnTo>
                    <a:lnTo>
                      <a:pt x="103" y="321"/>
                    </a:lnTo>
                    <a:lnTo>
                      <a:pt x="69" y="321"/>
                    </a:lnTo>
                    <a:lnTo>
                      <a:pt x="34" y="369"/>
                    </a:lnTo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09" name="Freeform 245">
                <a:extLst>
                  <a:ext uri="{FF2B5EF4-FFF2-40B4-BE49-F238E27FC236}">
                    <a16:creationId xmlns:a16="http://schemas.microsoft.com/office/drawing/2014/main" id="{BD130032-EF89-6C48-8001-732D938B4C2C}"/>
                  </a:ext>
                </a:extLst>
              </p:cNvPr>
              <p:cNvSpPr>
                <a:spLocks/>
              </p:cNvSpPr>
              <p:nvPr>
                <p:custDataLst>
                  <p:tags r:id="rId271"/>
                </p:custDataLst>
              </p:nvPr>
            </p:nvSpPr>
            <p:spPr bwMode="auto">
              <a:xfrm>
                <a:off x="4762500" y="3767138"/>
                <a:ext cx="28575" cy="25400"/>
              </a:xfrm>
              <a:custGeom>
                <a:avLst/>
                <a:gdLst>
                  <a:gd name="T0" fmla="*/ 0 w 34"/>
                  <a:gd name="T1" fmla="*/ 3079 h 33"/>
                  <a:gd name="T2" fmla="*/ 0 w 34"/>
                  <a:gd name="T3" fmla="*/ 3079 h 33"/>
                  <a:gd name="T4" fmla="*/ 4202 w 34"/>
                  <a:gd name="T5" fmla="*/ 6158 h 33"/>
                  <a:gd name="T6" fmla="*/ 8404 w 34"/>
                  <a:gd name="T7" fmla="*/ 3079 h 33"/>
                  <a:gd name="T8" fmla="*/ 4202 w 34"/>
                  <a:gd name="T9" fmla="*/ 0 h 33"/>
                  <a:gd name="T10" fmla="*/ 0 w 34"/>
                  <a:gd name="T11" fmla="*/ 3079 h 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"/>
                  <a:gd name="T19" fmla="*/ 0 h 33"/>
                  <a:gd name="T20" fmla="*/ 34 w 34"/>
                  <a:gd name="T21" fmla="*/ 33 h 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" h="33">
                    <a:moveTo>
                      <a:pt x="0" y="17"/>
                    </a:moveTo>
                    <a:lnTo>
                      <a:pt x="0" y="17"/>
                    </a:lnTo>
                    <a:lnTo>
                      <a:pt x="17" y="33"/>
                    </a:lnTo>
                    <a:lnTo>
                      <a:pt x="34" y="17"/>
                    </a:lnTo>
                    <a:lnTo>
                      <a:pt x="17" y="0"/>
                    </a:lnTo>
                    <a:lnTo>
                      <a:pt x="0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10" name="Freeform 246">
                <a:extLst>
                  <a:ext uri="{FF2B5EF4-FFF2-40B4-BE49-F238E27FC236}">
                    <a16:creationId xmlns:a16="http://schemas.microsoft.com/office/drawing/2014/main" id="{E0B96D8E-A9E8-1E4D-9C40-6302706A9612}"/>
                  </a:ext>
                </a:extLst>
              </p:cNvPr>
              <p:cNvSpPr>
                <a:spLocks/>
              </p:cNvSpPr>
              <p:nvPr>
                <p:custDataLst>
                  <p:tags r:id="rId272"/>
                </p:custDataLst>
              </p:nvPr>
            </p:nvSpPr>
            <p:spPr bwMode="auto">
              <a:xfrm>
                <a:off x="4349750" y="4046538"/>
                <a:ext cx="15875" cy="12700"/>
              </a:xfrm>
              <a:custGeom>
                <a:avLst/>
                <a:gdLst>
                  <a:gd name="T0" fmla="*/ 0 w 20"/>
                  <a:gd name="T1" fmla="*/ 0 h 15"/>
                  <a:gd name="T2" fmla="*/ 0 w 20"/>
                  <a:gd name="T3" fmla="*/ 0 h 15"/>
                  <a:gd name="T4" fmla="*/ 0 w 20"/>
                  <a:gd name="T5" fmla="*/ 3387 h 15"/>
                  <a:gd name="T6" fmla="*/ 3969 w 20"/>
                  <a:gd name="T7" fmla="*/ 0 h 15"/>
                  <a:gd name="T8" fmla="*/ 0 w 20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"/>
                  <a:gd name="T16" fmla="*/ 0 h 15"/>
                  <a:gd name="T17" fmla="*/ 20 w 20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" h="15">
                    <a:moveTo>
                      <a:pt x="0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11" name="Freeform 247">
                <a:extLst>
                  <a:ext uri="{FF2B5EF4-FFF2-40B4-BE49-F238E27FC236}">
                    <a16:creationId xmlns:a16="http://schemas.microsoft.com/office/drawing/2014/main" id="{6AD03D41-B73B-4C4F-9A28-B24DBDAB3ABA}"/>
                  </a:ext>
                </a:extLst>
              </p:cNvPr>
              <p:cNvSpPr>
                <a:spLocks/>
              </p:cNvSpPr>
              <p:nvPr>
                <p:custDataLst>
                  <p:tags r:id="rId273"/>
                </p:custDataLst>
              </p:nvPr>
            </p:nvSpPr>
            <p:spPr bwMode="auto">
              <a:xfrm>
                <a:off x="4611688" y="3449638"/>
                <a:ext cx="274638" cy="255588"/>
              </a:xfrm>
              <a:custGeom>
                <a:avLst/>
                <a:gdLst>
                  <a:gd name="T0" fmla="*/ 41395 w 345"/>
                  <a:gd name="T1" fmla="*/ 0 h 320"/>
                  <a:gd name="T2" fmla="*/ 41395 w 345"/>
                  <a:gd name="T3" fmla="*/ 0 h 320"/>
                  <a:gd name="T4" fmla="*/ 34230 w 345"/>
                  <a:gd name="T5" fmla="*/ 3195 h 320"/>
                  <a:gd name="T6" fmla="*/ 34230 w 345"/>
                  <a:gd name="T7" fmla="*/ 9585 h 320"/>
                  <a:gd name="T8" fmla="*/ 27862 w 345"/>
                  <a:gd name="T9" fmla="*/ 12779 h 320"/>
                  <a:gd name="T10" fmla="*/ 23882 w 345"/>
                  <a:gd name="T11" fmla="*/ 15974 h 320"/>
                  <a:gd name="T12" fmla="*/ 20697 w 345"/>
                  <a:gd name="T13" fmla="*/ 15974 h 320"/>
                  <a:gd name="T14" fmla="*/ 17513 w 345"/>
                  <a:gd name="T15" fmla="*/ 12779 h 320"/>
                  <a:gd name="T16" fmla="*/ 14329 w 345"/>
                  <a:gd name="T17" fmla="*/ 12779 h 320"/>
                  <a:gd name="T18" fmla="*/ 17513 w 345"/>
                  <a:gd name="T19" fmla="*/ 19169 h 320"/>
                  <a:gd name="T20" fmla="*/ 10349 w 345"/>
                  <a:gd name="T21" fmla="*/ 22364 h 320"/>
                  <a:gd name="T22" fmla="*/ 10349 w 345"/>
                  <a:gd name="T23" fmla="*/ 19169 h 320"/>
                  <a:gd name="T24" fmla="*/ 0 w 345"/>
                  <a:gd name="T25" fmla="*/ 22364 h 320"/>
                  <a:gd name="T26" fmla="*/ 0 w 345"/>
                  <a:gd name="T27" fmla="*/ 25559 h 320"/>
                  <a:gd name="T28" fmla="*/ 14329 w 345"/>
                  <a:gd name="T29" fmla="*/ 28754 h 320"/>
                  <a:gd name="T30" fmla="*/ 20697 w 345"/>
                  <a:gd name="T31" fmla="*/ 39137 h 320"/>
                  <a:gd name="T32" fmla="*/ 20697 w 345"/>
                  <a:gd name="T33" fmla="*/ 41533 h 320"/>
                  <a:gd name="T34" fmla="*/ 17513 w 345"/>
                  <a:gd name="T35" fmla="*/ 58306 h 320"/>
                  <a:gd name="T36" fmla="*/ 23882 w 345"/>
                  <a:gd name="T37" fmla="*/ 60702 h 320"/>
                  <a:gd name="T38" fmla="*/ 41395 w 345"/>
                  <a:gd name="T39" fmla="*/ 64696 h 320"/>
                  <a:gd name="T40" fmla="*/ 41395 w 345"/>
                  <a:gd name="T41" fmla="*/ 60702 h 320"/>
                  <a:gd name="T42" fmla="*/ 48559 w 345"/>
                  <a:gd name="T43" fmla="*/ 58306 h 320"/>
                  <a:gd name="T44" fmla="*/ 58908 w 345"/>
                  <a:gd name="T45" fmla="*/ 60702 h 320"/>
                  <a:gd name="T46" fmla="*/ 62092 w 345"/>
                  <a:gd name="T47" fmla="*/ 60702 h 320"/>
                  <a:gd name="T48" fmla="*/ 65276 w 345"/>
                  <a:gd name="T49" fmla="*/ 55111 h 320"/>
                  <a:gd name="T50" fmla="*/ 62092 w 345"/>
                  <a:gd name="T51" fmla="*/ 48721 h 320"/>
                  <a:gd name="T52" fmla="*/ 62092 w 345"/>
                  <a:gd name="T53" fmla="*/ 41533 h 320"/>
                  <a:gd name="T54" fmla="*/ 62092 w 345"/>
                  <a:gd name="T55" fmla="*/ 35942 h 320"/>
                  <a:gd name="T56" fmla="*/ 58908 w 345"/>
                  <a:gd name="T57" fmla="*/ 39137 h 320"/>
                  <a:gd name="T58" fmla="*/ 58908 w 345"/>
                  <a:gd name="T59" fmla="*/ 35942 h 320"/>
                  <a:gd name="T60" fmla="*/ 62092 w 345"/>
                  <a:gd name="T61" fmla="*/ 28754 h 320"/>
                  <a:gd name="T62" fmla="*/ 65276 w 345"/>
                  <a:gd name="T63" fmla="*/ 28754 h 320"/>
                  <a:gd name="T64" fmla="*/ 69257 w 345"/>
                  <a:gd name="T65" fmla="*/ 19169 h 320"/>
                  <a:gd name="T66" fmla="*/ 58908 w 345"/>
                  <a:gd name="T67" fmla="*/ 12779 h 320"/>
                  <a:gd name="T68" fmla="*/ 54928 w 345"/>
                  <a:gd name="T69" fmla="*/ 12779 h 320"/>
                  <a:gd name="T70" fmla="*/ 51743 w 345"/>
                  <a:gd name="T71" fmla="*/ 12779 h 320"/>
                  <a:gd name="T72" fmla="*/ 51743 w 345"/>
                  <a:gd name="T73" fmla="*/ 9585 h 320"/>
                  <a:gd name="T74" fmla="*/ 48559 w 345"/>
                  <a:gd name="T75" fmla="*/ 9585 h 320"/>
                  <a:gd name="T76" fmla="*/ 48559 w 345"/>
                  <a:gd name="T77" fmla="*/ 6390 h 320"/>
                  <a:gd name="T78" fmla="*/ 41395 w 345"/>
                  <a:gd name="T79" fmla="*/ 3195 h 320"/>
                  <a:gd name="T80" fmla="*/ 41395 w 345"/>
                  <a:gd name="T81" fmla="*/ 0 h 32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45"/>
                  <a:gd name="T124" fmla="*/ 0 h 320"/>
                  <a:gd name="T125" fmla="*/ 345 w 345"/>
                  <a:gd name="T126" fmla="*/ 320 h 32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45" h="320">
                    <a:moveTo>
                      <a:pt x="207" y="0"/>
                    </a:moveTo>
                    <a:lnTo>
                      <a:pt x="207" y="0"/>
                    </a:lnTo>
                    <a:lnTo>
                      <a:pt x="172" y="15"/>
                    </a:lnTo>
                    <a:lnTo>
                      <a:pt x="172" y="48"/>
                    </a:lnTo>
                    <a:lnTo>
                      <a:pt x="138" y="63"/>
                    </a:lnTo>
                    <a:lnTo>
                      <a:pt x="120" y="80"/>
                    </a:lnTo>
                    <a:lnTo>
                      <a:pt x="103" y="80"/>
                    </a:lnTo>
                    <a:lnTo>
                      <a:pt x="86" y="63"/>
                    </a:lnTo>
                    <a:lnTo>
                      <a:pt x="69" y="63"/>
                    </a:lnTo>
                    <a:lnTo>
                      <a:pt x="86" y="96"/>
                    </a:lnTo>
                    <a:lnTo>
                      <a:pt x="51" y="111"/>
                    </a:lnTo>
                    <a:lnTo>
                      <a:pt x="51" y="96"/>
                    </a:lnTo>
                    <a:lnTo>
                      <a:pt x="0" y="111"/>
                    </a:lnTo>
                    <a:lnTo>
                      <a:pt x="0" y="128"/>
                    </a:lnTo>
                    <a:lnTo>
                      <a:pt x="69" y="144"/>
                    </a:lnTo>
                    <a:lnTo>
                      <a:pt x="103" y="192"/>
                    </a:lnTo>
                    <a:lnTo>
                      <a:pt x="103" y="207"/>
                    </a:lnTo>
                    <a:lnTo>
                      <a:pt x="86" y="288"/>
                    </a:lnTo>
                    <a:lnTo>
                      <a:pt x="120" y="303"/>
                    </a:lnTo>
                    <a:lnTo>
                      <a:pt x="207" y="320"/>
                    </a:lnTo>
                    <a:lnTo>
                      <a:pt x="207" y="303"/>
                    </a:lnTo>
                    <a:lnTo>
                      <a:pt x="241" y="288"/>
                    </a:lnTo>
                    <a:lnTo>
                      <a:pt x="293" y="303"/>
                    </a:lnTo>
                    <a:lnTo>
                      <a:pt x="311" y="303"/>
                    </a:lnTo>
                    <a:lnTo>
                      <a:pt x="328" y="272"/>
                    </a:lnTo>
                    <a:lnTo>
                      <a:pt x="311" y="240"/>
                    </a:lnTo>
                    <a:lnTo>
                      <a:pt x="311" y="207"/>
                    </a:lnTo>
                    <a:lnTo>
                      <a:pt x="311" y="176"/>
                    </a:lnTo>
                    <a:lnTo>
                      <a:pt x="293" y="192"/>
                    </a:lnTo>
                    <a:lnTo>
                      <a:pt x="293" y="176"/>
                    </a:lnTo>
                    <a:lnTo>
                      <a:pt x="311" y="144"/>
                    </a:lnTo>
                    <a:lnTo>
                      <a:pt x="328" y="144"/>
                    </a:lnTo>
                    <a:lnTo>
                      <a:pt x="345" y="96"/>
                    </a:lnTo>
                    <a:lnTo>
                      <a:pt x="293" y="63"/>
                    </a:lnTo>
                    <a:lnTo>
                      <a:pt x="276" y="63"/>
                    </a:lnTo>
                    <a:lnTo>
                      <a:pt x="259" y="63"/>
                    </a:lnTo>
                    <a:lnTo>
                      <a:pt x="259" y="48"/>
                    </a:lnTo>
                    <a:lnTo>
                      <a:pt x="241" y="48"/>
                    </a:lnTo>
                    <a:lnTo>
                      <a:pt x="241" y="32"/>
                    </a:lnTo>
                    <a:lnTo>
                      <a:pt x="207" y="15"/>
                    </a:lnTo>
                    <a:lnTo>
                      <a:pt x="207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12" name="Freeform 248">
                <a:extLst>
                  <a:ext uri="{FF2B5EF4-FFF2-40B4-BE49-F238E27FC236}">
                    <a16:creationId xmlns:a16="http://schemas.microsoft.com/office/drawing/2014/main" id="{3C15EF9A-35BF-424D-B0E0-B503590D5235}"/>
                  </a:ext>
                </a:extLst>
              </p:cNvPr>
              <p:cNvSpPr>
                <a:spLocks/>
              </p:cNvSpPr>
              <p:nvPr>
                <p:custDataLst>
                  <p:tags r:id="rId274"/>
                </p:custDataLst>
              </p:nvPr>
            </p:nvSpPr>
            <p:spPr bwMode="auto">
              <a:xfrm>
                <a:off x="4406900" y="4046538"/>
                <a:ext cx="11113" cy="12700"/>
              </a:xfrm>
              <a:custGeom>
                <a:avLst/>
                <a:gdLst>
                  <a:gd name="T0" fmla="*/ 2084 w 16"/>
                  <a:gd name="T1" fmla="*/ 0 h 15"/>
                  <a:gd name="T2" fmla="*/ 2084 w 16"/>
                  <a:gd name="T3" fmla="*/ 0 h 15"/>
                  <a:gd name="T4" fmla="*/ 0 w 16"/>
                  <a:gd name="T5" fmla="*/ 3387 h 15"/>
                  <a:gd name="T6" fmla="*/ 2084 w 16"/>
                  <a:gd name="T7" fmla="*/ 3387 h 15"/>
                  <a:gd name="T8" fmla="*/ 2084 w 16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5"/>
                  <a:gd name="T17" fmla="*/ 16 w 16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5">
                    <a:moveTo>
                      <a:pt x="16" y="0"/>
                    </a:moveTo>
                    <a:lnTo>
                      <a:pt x="16" y="0"/>
                    </a:lnTo>
                    <a:lnTo>
                      <a:pt x="0" y="15"/>
                    </a:lnTo>
                    <a:lnTo>
                      <a:pt x="16" y="15"/>
                    </a:lnTo>
                    <a:lnTo>
                      <a:pt x="16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13" name="Freeform 249">
                <a:extLst>
                  <a:ext uri="{FF2B5EF4-FFF2-40B4-BE49-F238E27FC236}">
                    <a16:creationId xmlns:a16="http://schemas.microsoft.com/office/drawing/2014/main" id="{34192FD0-BC04-014E-98D7-5D463BA588D8}"/>
                  </a:ext>
                </a:extLst>
              </p:cNvPr>
              <p:cNvSpPr>
                <a:spLocks/>
              </p:cNvSpPr>
              <p:nvPr>
                <p:custDataLst>
                  <p:tags r:id="rId275"/>
                </p:custDataLst>
              </p:nvPr>
            </p:nvSpPr>
            <p:spPr bwMode="auto">
              <a:xfrm>
                <a:off x="4886325" y="3233738"/>
                <a:ext cx="69850" cy="90488"/>
              </a:xfrm>
              <a:custGeom>
                <a:avLst/>
                <a:gdLst>
                  <a:gd name="T0" fmla="*/ 3969 w 88"/>
                  <a:gd name="T1" fmla="*/ 23019 h 114"/>
                  <a:gd name="T2" fmla="*/ 3969 w 88"/>
                  <a:gd name="T3" fmla="*/ 23019 h 114"/>
                  <a:gd name="T4" fmla="*/ 7938 w 88"/>
                  <a:gd name="T5" fmla="*/ 23019 h 114"/>
                  <a:gd name="T6" fmla="*/ 10319 w 88"/>
                  <a:gd name="T7" fmla="*/ 23019 h 114"/>
                  <a:gd name="T8" fmla="*/ 14288 w 88"/>
                  <a:gd name="T9" fmla="*/ 13494 h 114"/>
                  <a:gd name="T10" fmla="*/ 17463 w 88"/>
                  <a:gd name="T11" fmla="*/ 13494 h 114"/>
                  <a:gd name="T12" fmla="*/ 17463 w 88"/>
                  <a:gd name="T13" fmla="*/ 9525 h 114"/>
                  <a:gd name="T14" fmla="*/ 14288 w 88"/>
                  <a:gd name="T15" fmla="*/ 9525 h 114"/>
                  <a:gd name="T16" fmla="*/ 14288 w 88"/>
                  <a:gd name="T17" fmla="*/ 0 h 114"/>
                  <a:gd name="T18" fmla="*/ 3969 w 88"/>
                  <a:gd name="T19" fmla="*/ 3969 h 114"/>
                  <a:gd name="T20" fmla="*/ 0 w 88"/>
                  <a:gd name="T21" fmla="*/ 9525 h 114"/>
                  <a:gd name="T22" fmla="*/ 0 w 88"/>
                  <a:gd name="T23" fmla="*/ 16669 h 114"/>
                  <a:gd name="T24" fmla="*/ 3969 w 88"/>
                  <a:gd name="T25" fmla="*/ 19050 h 114"/>
                  <a:gd name="T26" fmla="*/ 3969 w 88"/>
                  <a:gd name="T27" fmla="*/ 23019 h 11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8"/>
                  <a:gd name="T43" fmla="*/ 0 h 114"/>
                  <a:gd name="T44" fmla="*/ 88 w 88"/>
                  <a:gd name="T45" fmla="*/ 114 h 11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8" h="114">
                    <a:moveTo>
                      <a:pt x="19" y="114"/>
                    </a:moveTo>
                    <a:lnTo>
                      <a:pt x="19" y="114"/>
                    </a:lnTo>
                    <a:lnTo>
                      <a:pt x="37" y="114"/>
                    </a:lnTo>
                    <a:lnTo>
                      <a:pt x="54" y="114"/>
                    </a:lnTo>
                    <a:lnTo>
                      <a:pt x="71" y="66"/>
                    </a:lnTo>
                    <a:lnTo>
                      <a:pt x="88" y="66"/>
                    </a:lnTo>
                    <a:lnTo>
                      <a:pt x="88" y="48"/>
                    </a:lnTo>
                    <a:lnTo>
                      <a:pt x="71" y="48"/>
                    </a:lnTo>
                    <a:lnTo>
                      <a:pt x="71" y="0"/>
                    </a:lnTo>
                    <a:lnTo>
                      <a:pt x="19" y="18"/>
                    </a:lnTo>
                    <a:lnTo>
                      <a:pt x="0" y="48"/>
                    </a:lnTo>
                    <a:lnTo>
                      <a:pt x="0" y="81"/>
                    </a:lnTo>
                    <a:lnTo>
                      <a:pt x="19" y="96"/>
                    </a:lnTo>
                    <a:lnTo>
                      <a:pt x="19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14" name="Freeform 250">
                <a:extLst>
                  <a:ext uri="{FF2B5EF4-FFF2-40B4-BE49-F238E27FC236}">
                    <a16:creationId xmlns:a16="http://schemas.microsoft.com/office/drawing/2014/main" id="{95026AA3-A565-8243-B721-14A2BFFF3474}"/>
                  </a:ext>
                </a:extLst>
              </p:cNvPr>
              <p:cNvSpPr>
                <a:spLocks/>
              </p:cNvSpPr>
              <p:nvPr>
                <p:custDataLst>
                  <p:tags r:id="rId276"/>
                </p:custDataLst>
              </p:nvPr>
            </p:nvSpPr>
            <p:spPr bwMode="auto">
              <a:xfrm>
                <a:off x="4791075" y="3373438"/>
                <a:ext cx="80963" cy="88900"/>
              </a:xfrm>
              <a:custGeom>
                <a:avLst/>
                <a:gdLst>
                  <a:gd name="T0" fmla="*/ 13234 w 104"/>
                  <a:gd name="T1" fmla="*/ 22425 h 111"/>
                  <a:gd name="T2" fmla="*/ 13234 w 104"/>
                  <a:gd name="T3" fmla="*/ 22425 h 111"/>
                  <a:gd name="T4" fmla="*/ 13234 w 104"/>
                  <a:gd name="T5" fmla="*/ 12814 h 111"/>
                  <a:gd name="T6" fmla="*/ 16348 w 104"/>
                  <a:gd name="T7" fmla="*/ 9611 h 111"/>
                  <a:gd name="T8" fmla="*/ 19462 w 104"/>
                  <a:gd name="T9" fmla="*/ 0 h 111"/>
                  <a:gd name="T10" fmla="*/ 10120 w 104"/>
                  <a:gd name="T11" fmla="*/ 3204 h 111"/>
                  <a:gd name="T12" fmla="*/ 13234 w 104"/>
                  <a:gd name="T13" fmla="*/ 9611 h 111"/>
                  <a:gd name="T14" fmla="*/ 10120 w 104"/>
                  <a:gd name="T15" fmla="*/ 9611 h 111"/>
                  <a:gd name="T16" fmla="*/ 10120 w 104"/>
                  <a:gd name="T17" fmla="*/ 6407 h 111"/>
                  <a:gd name="T18" fmla="*/ 6228 w 104"/>
                  <a:gd name="T19" fmla="*/ 6407 h 111"/>
                  <a:gd name="T20" fmla="*/ 0 w 104"/>
                  <a:gd name="T21" fmla="*/ 19222 h 111"/>
                  <a:gd name="T22" fmla="*/ 10120 w 104"/>
                  <a:gd name="T23" fmla="*/ 19222 h 111"/>
                  <a:gd name="T24" fmla="*/ 13234 w 104"/>
                  <a:gd name="T25" fmla="*/ 22425 h 11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04"/>
                  <a:gd name="T40" fmla="*/ 0 h 111"/>
                  <a:gd name="T41" fmla="*/ 104 w 104"/>
                  <a:gd name="T42" fmla="*/ 111 h 11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04" h="111">
                    <a:moveTo>
                      <a:pt x="69" y="111"/>
                    </a:moveTo>
                    <a:lnTo>
                      <a:pt x="69" y="111"/>
                    </a:lnTo>
                    <a:lnTo>
                      <a:pt x="69" y="63"/>
                    </a:lnTo>
                    <a:lnTo>
                      <a:pt x="87" y="48"/>
                    </a:lnTo>
                    <a:lnTo>
                      <a:pt x="104" y="0"/>
                    </a:lnTo>
                    <a:lnTo>
                      <a:pt x="52" y="15"/>
                    </a:lnTo>
                    <a:lnTo>
                      <a:pt x="69" y="48"/>
                    </a:lnTo>
                    <a:lnTo>
                      <a:pt x="52" y="48"/>
                    </a:lnTo>
                    <a:lnTo>
                      <a:pt x="52" y="32"/>
                    </a:lnTo>
                    <a:lnTo>
                      <a:pt x="35" y="32"/>
                    </a:lnTo>
                    <a:lnTo>
                      <a:pt x="0" y="96"/>
                    </a:lnTo>
                    <a:lnTo>
                      <a:pt x="52" y="96"/>
                    </a:lnTo>
                    <a:lnTo>
                      <a:pt x="69" y="111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15" name="Freeform 251">
                <a:extLst>
                  <a:ext uri="{FF2B5EF4-FFF2-40B4-BE49-F238E27FC236}">
                    <a16:creationId xmlns:a16="http://schemas.microsoft.com/office/drawing/2014/main" id="{1FE5C005-91EA-5440-AE41-E479D98E193D}"/>
                  </a:ext>
                </a:extLst>
              </p:cNvPr>
              <p:cNvSpPr>
                <a:spLocks/>
              </p:cNvSpPr>
              <p:nvPr>
                <p:custDataLst>
                  <p:tags r:id="rId277"/>
                </p:custDataLst>
              </p:nvPr>
            </p:nvSpPr>
            <p:spPr bwMode="auto">
              <a:xfrm>
                <a:off x="4775200" y="3449638"/>
                <a:ext cx="69850" cy="50800"/>
              </a:xfrm>
              <a:custGeom>
                <a:avLst/>
                <a:gdLst>
                  <a:gd name="T0" fmla="*/ 14288 w 88"/>
                  <a:gd name="T1" fmla="*/ 12902 h 63"/>
                  <a:gd name="T2" fmla="*/ 14288 w 88"/>
                  <a:gd name="T3" fmla="*/ 12902 h 63"/>
                  <a:gd name="T4" fmla="*/ 10319 w 88"/>
                  <a:gd name="T5" fmla="*/ 12902 h 63"/>
                  <a:gd name="T6" fmla="*/ 10319 w 88"/>
                  <a:gd name="T7" fmla="*/ 9676 h 63"/>
                  <a:gd name="T8" fmla="*/ 7144 w 88"/>
                  <a:gd name="T9" fmla="*/ 9676 h 63"/>
                  <a:gd name="T10" fmla="*/ 7144 w 88"/>
                  <a:gd name="T11" fmla="*/ 6451 h 63"/>
                  <a:gd name="T12" fmla="*/ 0 w 88"/>
                  <a:gd name="T13" fmla="*/ 3225 h 63"/>
                  <a:gd name="T14" fmla="*/ 0 w 88"/>
                  <a:gd name="T15" fmla="*/ 0 h 63"/>
                  <a:gd name="T16" fmla="*/ 3969 w 88"/>
                  <a:gd name="T17" fmla="*/ 0 h 63"/>
                  <a:gd name="T18" fmla="*/ 14288 w 88"/>
                  <a:gd name="T19" fmla="*/ 0 h 63"/>
                  <a:gd name="T20" fmla="*/ 17463 w 88"/>
                  <a:gd name="T21" fmla="*/ 3225 h 63"/>
                  <a:gd name="T22" fmla="*/ 17463 w 88"/>
                  <a:gd name="T23" fmla="*/ 9676 h 63"/>
                  <a:gd name="T24" fmla="*/ 14288 w 88"/>
                  <a:gd name="T25" fmla="*/ 9676 h 63"/>
                  <a:gd name="T26" fmla="*/ 14288 w 88"/>
                  <a:gd name="T27" fmla="*/ 12902 h 6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8"/>
                  <a:gd name="T43" fmla="*/ 0 h 63"/>
                  <a:gd name="T44" fmla="*/ 88 w 88"/>
                  <a:gd name="T45" fmla="*/ 63 h 6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8" h="63">
                    <a:moveTo>
                      <a:pt x="71" y="63"/>
                    </a:moveTo>
                    <a:lnTo>
                      <a:pt x="71" y="63"/>
                    </a:lnTo>
                    <a:lnTo>
                      <a:pt x="54" y="63"/>
                    </a:lnTo>
                    <a:lnTo>
                      <a:pt x="54" y="48"/>
                    </a:lnTo>
                    <a:lnTo>
                      <a:pt x="36" y="48"/>
                    </a:lnTo>
                    <a:lnTo>
                      <a:pt x="36" y="32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9" y="0"/>
                    </a:lnTo>
                    <a:lnTo>
                      <a:pt x="71" y="0"/>
                    </a:lnTo>
                    <a:lnTo>
                      <a:pt x="88" y="15"/>
                    </a:lnTo>
                    <a:lnTo>
                      <a:pt x="88" y="48"/>
                    </a:lnTo>
                    <a:lnTo>
                      <a:pt x="71" y="48"/>
                    </a:lnTo>
                    <a:lnTo>
                      <a:pt x="71" y="6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16" name="Freeform 252">
                <a:extLst>
                  <a:ext uri="{FF2B5EF4-FFF2-40B4-BE49-F238E27FC236}">
                    <a16:creationId xmlns:a16="http://schemas.microsoft.com/office/drawing/2014/main" id="{EBC424E4-7809-7444-A5E4-AA10D13E05D9}"/>
                  </a:ext>
                </a:extLst>
              </p:cNvPr>
              <p:cNvSpPr>
                <a:spLocks/>
              </p:cNvSpPr>
              <p:nvPr>
                <p:custDataLst>
                  <p:tags r:id="rId278"/>
                </p:custDataLst>
              </p:nvPr>
            </p:nvSpPr>
            <p:spPr bwMode="auto">
              <a:xfrm>
                <a:off x="4913313" y="3514726"/>
                <a:ext cx="166688" cy="76200"/>
              </a:xfrm>
              <a:custGeom>
                <a:avLst/>
                <a:gdLst>
                  <a:gd name="T0" fmla="*/ 0 w 209"/>
                  <a:gd name="T1" fmla="*/ 12700 h 96"/>
                  <a:gd name="T2" fmla="*/ 0 w 209"/>
                  <a:gd name="T3" fmla="*/ 12700 h 96"/>
                  <a:gd name="T4" fmla="*/ 7178 w 209"/>
                  <a:gd name="T5" fmla="*/ 12700 h 96"/>
                  <a:gd name="T6" fmla="*/ 21534 w 209"/>
                  <a:gd name="T7" fmla="*/ 9525 h 96"/>
                  <a:gd name="T8" fmla="*/ 21534 w 209"/>
                  <a:gd name="T9" fmla="*/ 5556 h 96"/>
                  <a:gd name="T10" fmla="*/ 24724 w 209"/>
                  <a:gd name="T11" fmla="*/ 3175 h 96"/>
                  <a:gd name="T12" fmla="*/ 31902 w 209"/>
                  <a:gd name="T13" fmla="*/ 3175 h 96"/>
                  <a:gd name="T14" fmla="*/ 31902 w 209"/>
                  <a:gd name="T15" fmla="*/ 0 h 96"/>
                  <a:gd name="T16" fmla="*/ 42270 w 209"/>
                  <a:gd name="T17" fmla="*/ 3175 h 96"/>
                  <a:gd name="T18" fmla="*/ 42270 w 209"/>
                  <a:gd name="T19" fmla="*/ 9525 h 96"/>
                  <a:gd name="T20" fmla="*/ 38282 w 209"/>
                  <a:gd name="T21" fmla="*/ 15875 h 96"/>
                  <a:gd name="T22" fmla="*/ 24724 w 209"/>
                  <a:gd name="T23" fmla="*/ 19050 h 96"/>
                  <a:gd name="T24" fmla="*/ 17546 w 209"/>
                  <a:gd name="T25" fmla="*/ 15875 h 96"/>
                  <a:gd name="T26" fmla="*/ 7178 w 209"/>
                  <a:gd name="T27" fmla="*/ 15875 h 96"/>
                  <a:gd name="T28" fmla="*/ 3988 w 209"/>
                  <a:gd name="T29" fmla="*/ 15875 h 96"/>
                  <a:gd name="T30" fmla="*/ 0 w 209"/>
                  <a:gd name="T31" fmla="*/ 12700 h 9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09"/>
                  <a:gd name="T49" fmla="*/ 0 h 96"/>
                  <a:gd name="T50" fmla="*/ 209 w 209"/>
                  <a:gd name="T51" fmla="*/ 96 h 9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09" h="96">
                    <a:moveTo>
                      <a:pt x="0" y="64"/>
                    </a:moveTo>
                    <a:lnTo>
                      <a:pt x="0" y="64"/>
                    </a:lnTo>
                    <a:lnTo>
                      <a:pt x="34" y="64"/>
                    </a:lnTo>
                    <a:lnTo>
                      <a:pt x="105" y="48"/>
                    </a:lnTo>
                    <a:lnTo>
                      <a:pt x="105" y="31"/>
                    </a:lnTo>
                    <a:lnTo>
                      <a:pt x="123" y="16"/>
                    </a:lnTo>
                    <a:lnTo>
                      <a:pt x="157" y="16"/>
                    </a:lnTo>
                    <a:lnTo>
                      <a:pt x="157" y="0"/>
                    </a:lnTo>
                    <a:lnTo>
                      <a:pt x="209" y="16"/>
                    </a:lnTo>
                    <a:lnTo>
                      <a:pt x="209" y="48"/>
                    </a:lnTo>
                    <a:lnTo>
                      <a:pt x="192" y="79"/>
                    </a:lnTo>
                    <a:lnTo>
                      <a:pt x="123" y="96"/>
                    </a:lnTo>
                    <a:lnTo>
                      <a:pt x="88" y="79"/>
                    </a:lnTo>
                    <a:lnTo>
                      <a:pt x="34" y="79"/>
                    </a:lnTo>
                    <a:lnTo>
                      <a:pt x="17" y="79"/>
                    </a:lnTo>
                    <a:lnTo>
                      <a:pt x="0" y="64"/>
                    </a:lnTo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17" name="Freeform 253">
                <a:extLst>
                  <a:ext uri="{FF2B5EF4-FFF2-40B4-BE49-F238E27FC236}">
                    <a16:creationId xmlns:a16="http://schemas.microsoft.com/office/drawing/2014/main" id="{26CE10CA-C5CB-DE40-90E0-4C20AF111745}"/>
                  </a:ext>
                </a:extLst>
              </p:cNvPr>
              <p:cNvSpPr>
                <a:spLocks/>
              </p:cNvSpPr>
              <p:nvPr>
                <p:custDataLst>
                  <p:tags r:id="rId279"/>
                </p:custDataLst>
              </p:nvPr>
            </p:nvSpPr>
            <p:spPr bwMode="auto">
              <a:xfrm>
                <a:off x="4845050" y="3563938"/>
                <a:ext cx="98425" cy="50800"/>
              </a:xfrm>
              <a:custGeom>
                <a:avLst/>
                <a:gdLst>
                  <a:gd name="T0" fmla="*/ 7202 w 123"/>
                  <a:gd name="T1" fmla="*/ 12902 h 63"/>
                  <a:gd name="T2" fmla="*/ 7202 w 123"/>
                  <a:gd name="T3" fmla="*/ 12902 h 63"/>
                  <a:gd name="T4" fmla="*/ 14404 w 123"/>
                  <a:gd name="T5" fmla="*/ 9676 h 63"/>
                  <a:gd name="T6" fmla="*/ 18405 w 123"/>
                  <a:gd name="T7" fmla="*/ 9676 h 63"/>
                  <a:gd name="T8" fmla="*/ 18405 w 123"/>
                  <a:gd name="T9" fmla="*/ 6451 h 63"/>
                  <a:gd name="T10" fmla="*/ 21605 w 123"/>
                  <a:gd name="T11" fmla="*/ 9676 h 63"/>
                  <a:gd name="T12" fmla="*/ 24806 w 123"/>
                  <a:gd name="T13" fmla="*/ 3225 h 63"/>
                  <a:gd name="T14" fmla="*/ 21605 w 123"/>
                  <a:gd name="T15" fmla="*/ 3225 h 63"/>
                  <a:gd name="T16" fmla="*/ 18405 w 123"/>
                  <a:gd name="T17" fmla="*/ 0 h 63"/>
                  <a:gd name="T18" fmla="*/ 7202 w 123"/>
                  <a:gd name="T19" fmla="*/ 0 h 63"/>
                  <a:gd name="T20" fmla="*/ 4001 w 123"/>
                  <a:gd name="T21" fmla="*/ 0 h 63"/>
                  <a:gd name="T22" fmla="*/ 0 w 123"/>
                  <a:gd name="T23" fmla="*/ 6451 h 63"/>
                  <a:gd name="T24" fmla="*/ 0 w 123"/>
                  <a:gd name="T25" fmla="*/ 9676 h 63"/>
                  <a:gd name="T26" fmla="*/ 4001 w 123"/>
                  <a:gd name="T27" fmla="*/ 6451 h 63"/>
                  <a:gd name="T28" fmla="*/ 4001 w 123"/>
                  <a:gd name="T29" fmla="*/ 12902 h 63"/>
                  <a:gd name="T30" fmla="*/ 7202 w 123"/>
                  <a:gd name="T31" fmla="*/ 12902 h 6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23"/>
                  <a:gd name="T49" fmla="*/ 0 h 63"/>
                  <a:gd name="T50" fmla="*/ 123 w 123"/>
                  <a:gd name="T51" fmla="*/ 63 h 6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23" h="63">
                    <a:moveTo>
                      <a:pt x="35" y="63"/>
                    </a:moveTo>
                    <a:lnTo>
                      <a:pt x="35" y="63"/>
                    </a:lnTo>
                    <a:lnTo>
                      <a:pt x="71" y="48"/>
                    </a:lnTo>
                    <a:lnTo>
                      <a:pt x="89" y="48"/>
                    </a:lnTo>
                    <a:lnTo>
                      <a:pt x="89" y="32"/>
                    </a:lnTo>
                    <a:lnTo>
                      <a:pt x="106" y="48"/>
                    </a:lnTo>
                    <a:lnTo>
                      <a:pt x="123" y="15"/>
                    </a:lnTo>
                    <a:lnTo>
                      <a:pt x="106" y="15"/>
                    </a:lnTo>
                    <a:lnTo>
                      <a:pt x="89" y="0"/>
                    </a:lnTo>
                    <a:lnTo>
                      <a:pt x="35" y="0"/>
                    </a:lnTo>
                    <a:lnTo>
                      <a:pt x="18" y="0"/>
                    </a:lnTo>
                    <a:lnTo>
                      <a:pt x="0" y="32"/>
                    </a:lnTo>
                    <a:lnTo>
                      <a:pt x="0" y="48"/>
                    </a:lnTo>
                    <a:lnTo>
                      <a:pt x="18" y="32"/>
                    </a:lnTo>
                    <a:lnTo>
                      <a:pt x="18" y="63"/>
                    </a:lnTo>
                    <a:lnTo>
                      <a:pt x="35" y="63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18" name="Freeform 254">
                <a:extLst>
                  <a:ext uri="{FF2B5EF4-FFF2-40B4-BE49-F238E27FC236}">
                    <a16:creationId xmlns:a16="http://schemas.microsoft.com/office/drawing/2014/main" id="{3D278D33-784F-314E-90D2-8835A0B38A75}"/>
                  </a:ext>
                </a:extLst>
              </p:cNvPr>
              <p:cNvSpPr>
                <a:spLocks/>
              </p:cNvSpPr>
              <p:nvPr>
                <p:custDataLst>
                  <p:tags r:id="rId280"/>
                </p:custDataLst>
              </p:nvPr>
            </p:nvSpPr>
            <p:spPr bwMode="auto">
              <a:xfrm>
                <a:off x="4557713" y="3195638"/>
                <a:ext cx="25400" cy="38100"/>
              </a:xfrm>
              <a:custGeom>
                <a:avLst/>
                <a:gdLst>
                  <a:gd name="T0" fmla="*/ 0 w 33"/>
                  <a:gd name="T1" fmla="*/ 9525 h 48"/>
                  <a:gd name="T2" fmla="*/ 3079 w 33"/>
                  <a:gd name="T3" fmla="*/ 3969 h 48"/>
                  <a:gd name="T4" fmla="*/ 6158 w 33"/>
                  <a:gd name="T5" fmla="*/ 0 h 48"/>
                  <a:gd name="T6" fmla="*/ 0 w 33"/>
                  <a:gd name="T7" fmla="*/ 3969 h 48"/>
                  <a:gd name="T8" fmla="*/ 0 w 33"/>
                  <a:gd name="T9" fmla="*/ 9525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"/>
                  <a:gd name="T16" fmla="*/ 0 h 48"/>
                  <a:gd name="T17" fmla="*/ 33 w 33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" h="48">
                    <a:moveTo>
                      <a:pt x="0" y="48"/>
                    </a:moveTo>
                    <a:lnTo>
                      <a:pt x="18" y="18"/>
                    </a:lnTo>
                    <a:lnTo>
                      <a:pt x="33" y="0"/>
                    </a:lnTo>
                    <a:lnTo>
                      <a:pt x="0" y="18"/>
                    </a:lnTo>
                    <a:lnTo>
                      <a:pt x="0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19" name="Freeform 255">
                <a:extLst>
                  <a:ext uri="{FF2B5EF4-FFF2-40B4-BE49-F238E27FC236}">
                    <a16:creationId xmlns:a16="http://schemas.microsoft.com/office/drawing/2014/main" id="{A4A12BB7-BA9E-7C41-9CF3-7B3A34AD3FD2}"/>
                  </a:ext>
                </a:extLst>
              </p:cNvPr>
              <p:cNvSpPr>
                <a:spLocks/>
              </p:cNvSpPr>
              <p:nvPr>
                <p:custDataLst>
                  <p:tags r:id="rId281"/>
                </p:custDataLst>
              </p:nvPr>
            </p:nvSpPr>
            <p:spPr bwMode="auto">
              <a:xfrm>
                <a:off x="4679950" y="3119438"/>
                <a:ext cx="14288" cy="14288"/>
              </a:xfrm>
              <a:custGeom>
                <a:avLst/>
                <a:gdLst>
                  <a:gd name="T0" fmla="*/ 0 w 17"/>
                  <a:gd name="T1" fmla="*/ 3969 h 18"/>
                  <a:gd name="T2" fmla="*/ 0 w 17"/>
                  <a:gd name="T3" fmla="*/ 3969 h 18"/>
                  <a:gd name="T4" fmla="*/ 4202 w 17"/>
                  <a:gd name="T5" fmla="*/ 0 h 18"/>
                  <a:gd name="T6" fmla="*/ 4202 w 17"/>
                  <a:gd name="T7" fmla="*/ 3969 h 18"/>
                  <a:gd name="T8" fmla="*/ 0 w 17"/>
                  <a:gd name="T9" fmla="*/ 3969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18"/>
                  <a:gd name="T17" fmla="*/ 17 w 17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18">
                    <a:moveTo>
                      <a:pt x="0" y="18"/>
                    </a:moveTo>
                    <a:lnTo>
                      <a:pt x="0" y="18"/>
                    </a:lnTo>
                    <a:lnTo>
                      <a:pt x="17" y="0"/>
                    </a:lnTo>
                    <a:lnTo>
                      <a:pt x="17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20" name="Line 256">
                <a:extLst>
                  <a:ext uri="{FF2B5EF4-FFF2-40B4-BE49-F238E27FC236}">
                    <a16:creationId xmlns:a16="http://schemas.microsoft.com/office/drawing/2014/main" id="{12C440B4-B4ED-8044-8C26-CD446587B783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82"/>
                </p:custDataLst>
              </p:nvPr>
            </p:nvSpPr>
            <p:spPr bwMode="auto">
              <a:xfrm>
                <a:off x="4645025" y="3189288"/>
                <a:ext cx="14288" cy="12700"/>
              </a:xfrm>
              <a:prstGeom prst="line">
                <a:avLst/>
              </a:pr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21" name="Freeform 257">
                <a:extLst>
                  <a:ext uri="{FF2B5EF4-FFF2-40B4-BE49-F238E27FC236}">
                    <a16:creationId xmlns:a16="http://schemas.microsoft.com/office/drawing/2014/main" id="{A6690F0A-381D-374F-8D64-310CAEB415FA}"/>
                  </a:ext>
                </a:extLst>
              </p:cNvPr>
              <p:cNvSpPr>
                <a:spLocks/>
              </p:cNvSpPr>
              <p:nvPr>
                <p:custDataLst>
                  <p:tags r:id="rId283"/>
                </p:custDataLst>
              </p:nvPr>
            </p:nvSpPr>
            <p:spPr bwMode="auto">
              <a:xfrm>
                <a:off x="4845050" y="3324226"/>
                <a:ext cx="193675" cy="239713"/>
              </a:xfrm>
              <a:custGeom>
                <a:avLst/>
                <a:gdLst>
                  <a:gd name="T0" fmla="*/ 27781 w 244"/>
                  <a:gd name="T1" fmla="*/ 8702 h 303"/>
                  <a:gd name="T2" fmla="*/ 27781 w 244"/>
                  <a:gd name="T3" fmla="*/ 8702 h 303"/>
                  <a:gd name="T4" fmla="*/ 42069 w 244"/>
                  <a:gd name="T5" fmla="*/ 2373 h 303"/>
                  <a:gd name="T6" fmla="*/ 42069 w 244"/>
                  <a:gd name="T7" fmla="*/ 5538 h 303"/>
                  <a:gd name="T8" fmla="*/ 38100 w 244"/>
                  <a:gd name="T9" fmla="*/ 5538 h 303"/>
                  <a:gd name="T10" fmla="*/ 45244 w 244"/>
                  <a:gd name="T11" fmla="*/ 8702 h 303"/>
                  <a:gd name="T12" fmla="*/ 48419 w 244"/>
                  <a:gd name="T13" fmla="*/ 34019 h 303"/>
                  <a:gd name="T14" fmla="*/ 45244 w 244"/>
                  <a:gd name="T15" fmla="*/ 30854 h 303"/>
                  <a:gd name="T16" fmla="*/ 38100 w 244"/>
                  <a:gd name="T17" fmla="*/ 34019 h 303"/>
                  <a:gd name="T18" fmla="*/ 31750 w 244"/>
                  <a:gd name="T19" fmla="*/ 37183 h 303"/>
                  <a:gd name="T20" fmla="*/ 34925 w 244"/>
                  <a:gd name="T21" fmla="*/ 43512 h 303"/>
                  <a:gd name="T22" fmla="*/ 42069 w 244"/>
                  <a:gd name="T23" fmla="*/ 49841 h 303"/>
                  <a:gd name="T24" fmla="*/ 38100 w 244"/>
                  <a:gd name="T25" fmla="*/ 53006 h 303"/>
                  <a:gd name="T26" fmla="*/ 38100 w 244"/>
                  <a:gd name="T27" fmla="*/ 56170 h 303"/>
                  <a:gd name="T28" fmla="*/ 24606 w 244"/>
                  <a:gd name="T29" fmla="*/ 59335 h 303"/>
                  <a:gd name="T30" fmla="*/ 18256 w 244"/>
                  <a:gd name="T31" fmla="*/ 59335 h 303"/>
                  <a:gd name="T32" fmla="*/ 7144 w 244"/>
                  <a:gd name="T33" fmla="*/ 59335 h 303"/>
                  <a:gd name="T34" fmla="*/ 11113 w 244"/>
                  <a:gd name="T35" fmla="*/ 49841 h 303"/>
                  <a:gd name="T36" fmla="*/ 0 w 244"/>
                  <a:gd name="T37" fmla="*/ 43512 h 303"/>
                  <a:gd name="T38" fmla="*/ 0 w 244"/>
                  <a:gd name="T39" fmla="*/ 40348 h 303"/>
                  <a:gd name="T40" fmla="*/ 0 w 244"/>
                  <a:gd name="T41" fmla="*/ 34019 h 303"/>
                  <a:gd name="T42" fmla="*/ 0 w 244"/>
                  <a:gd name="T43" fmla="*/ 24525 h 303"/>
                  <a:gd name="T44" fmla="*/ 3969 w 244"/>
                  <a:gd name="T45" fmla="*/ 21361 h 303"/>
                  <a:gd name="T46" fmla="*/ 7144 w 244"/>
                  <a:gd name="T47" fmla="*/ 11867 h 303"/>
                  <a:gd name="T48" fmla="*/ 14288 w 244"/>
                  <a:gd name="T49" fmla="*/ 11867 h 303"/>
                  <a:gd name="T50" fmla="*/ 18256 w 244"/>
                  <a:gd name="T51" fmla="*/ 5538 h 303"/>
                  <a:gd name="T52" fmla="*/ 14288 w 244"/>
                  <a:gd name="T53" fmla="*/ 5538 h 303"/>
                  <a:gd name="T54" fmla="*/ 18256 w 244"/>
                  <a:gd name="T55" fmla="*/ 2373 h 303"/>
                  <a:gd name="T56" fmla="*/ 14288 w 244"/>
                  <a:gd name="T57" fmla="*/ 0 h 303"/>
                  <a:gd name="T58" fmla="*/ 18256 w 244"/>
                  <a:gd name="T59" fmla="*/ 0 h 303"/>
                  <a:gd name="T60" fmla="*/ 21431 w 244"/>
                  <a:gd name="T61" fmla="*/ 0 h 303"/>
                  <a:gd name="T62" fmla="*/ 21431 w 244"/>
                  <a:gd name="T63" fmla="*/ 2373 h 303"/>
                  <a:gd name="T64" fmla="*/ 27781 w 244"/>
                  <a:gd name="T65" fmla="*/ 5538 h 303"/>
                  <a:gd name="T66" fmla="*/ 24606 w 244"/>
                  <a:gd name="T67" fmla="*/ 8702 h 303"/>
                  <a:gd name="T68" fmla="*/ 27781 w 244"/>
                  <a:gd name="T69" fmla="*/ 8702 h 30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44"/>
                  <a:gd name="T106" fmla="*/ 0 h 303"/>
                  <a:gd name="T107" fmla="*/ 244 w 244"/>
                  <a:gd name="T108" fmla="*/ 303 h 30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44" h="303">
                    <a:moveTo>
                      <a:pt x="140" y="47"/>
                    </a:moveTo>
                    <a:lnTo>
                      <a:pt x="140" y="47"/>
                    </a:lnTo>
                    <a:lnTo>
                      <a:pt x="210" y="15"/>
                    </a:lnTo>
                    <a:lnTo>
                      <a:pt x="210" y="30"/>
                    </a:lnTo>
                    <a:lnTo>
                      <a:pt x="192" y="30"/>
                    </a:lnTo>
                    <a:lnTo>
                      <a:pt x="227" y="47"/>
                    </a:lnTo>
                    <a:lnTo>
                      <a:pt x="244" y="174"/>
                    </a:lnTo>
                    <a:lnTo>
                      <a:pt x="227" y="159"/>
                    </a:lnTo>
                    <a:lnTo>
                      <a:pt x="192" y="174"/>
                    </a:lnTo>
                    <a:lnTo>
                      <a:pt x="158" y="191"/>
                    </a:lnTo>
                    <a:lnTo>
                      <a:pt x="175" y="222"/>
                    </a:lnTo>
                    <a:lnTo>
                      <a:pt x="210" y="255"/>
                    </a:lnTo>
                    <a:lnTo>
                      <a:pt x="192" y="270"/>
                    </a:lnTo>
                    <a:lnTo>
                      <a:pt x="192" y="287"/>
                    </a:lnTo>
                    <a:lnTo>
                      <a:pt x="123" y="303"/>
                    </a:lnTo>
                    <a:lnTo>
                      <a:pt x="89" y="303"/>
                    </a:lnTo>
                    <a:lnTo>
                      <a:pt x="35" y="303"/>
                    </a:lnTo>
                    <a:lnTo>
                      <a:pt x="54" y="255"/>
                    </a:lnTo>
                    <a:lnTo>
                      <a:pt x="0" y="222"/>
                    </a:lnTo>
                    <a:lnTo>
                      <a:pt x="0" y="207"/>
                    </a:lnTo>
                    <a:lnTo>
                      <a:pt x="0" y="174"/>
                    </a:lnTo>
                    <a:lnTo>
                      <a:pt x="0" y="126"/>
                    </a:lnTo>
                    <a:lnTo>
                      <a:pt x="18" y="111"/>
                    </a:lnTo>
                    <a:lnTo>
                      <a:pt x="35" y="63"/>
                    </a:lnTo>
                    <a:lnTo>
                      <a:pt x="71" y="63"/>
                    </a:lnTo>
                    <a:lnTo>
                      <a:pt x="89" y="30"/>
                    </a:lnTo>
                    <a:lnTo>
                      <a:pt x="71" y="30"/>
                    </a:lnTo>
                    <a:lnTo>
                      <a:pt x="89" y="15"/>
                    </a:lnTo>
                    <a:lnTo>
                      <a:pt x="71" y="0"/>
                    </a:lnTo>
                    <a:lnTo>
                      <a:pt x="89" y="0"/>
                    </a:lnTo>
                    <a:lnTo>
                      <a:pt x="106" y="0"/>
                    </a:lnTo>
                    <a:lnTo>
                      <a:pt x="106" y="15"/>
                    </a:lnTo>
                    <a:lnTo>
                      <a:pt x="140" y="30"/>
                    </a:lnTo>
                    <a:lnTo>
                      <a:pt x="123" y="47"/>
                    </a:lnTo>
                    <a:lnTo>
                      <a:pt x="140" y="4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22" name="Freeform 258">
                <a:extLst>
                  <a:ext uri="{FF2B5EF4-FFF2-40B4-BE49-F238E27FC236}">
                    <a16:creationId xmlns:a16="http://schemas.microsoft.com/office/drawing/2014/main" id="{E041B8AE-E2A5-C640-A0C7-D39D8EEBDE06}"/>
                  </a:ext>
                </a:extLst>
              </p:cNvPr>
              <p:cNvSpPr>
                <a:spLocks/>
              </p:cNvSpPr>
              <p:nvPr>
                <p:custDataLst>
                  <p:tags r:id="rId284"/>
                </p:custDataLst>
              </p:nvPr>
            </p:nvSpPr>
            <p:spPr bwMode="auto">
              <a:xfrm>
                <a:off x="4859338" y="3576638"/>
                <a:ext cx="261938" cy="242888"/>
              </a:xfrm>
              <a:custGeom>
                <a:avLst/>
                <a:gdLst>
                  <a:gd name="T0" fmla="*/ 3969 w 330"/>
                  <a:gd name="T1" fmla="*/ 23094 h 305"/>
                  <a:gd name="T2" fmla="*/ 3969 w 330"/>
                  <a:gd name="T3" fmla="*/ 23094 h 305"/>
                  <a:gd name="T4" fmla="*/ 9525 w 330"/>
                  <a:gd name="T5" fmla="*/ 19112 h 305"/>
                  <a:gd name="T6" fmla="*/ 16669 w 330"/>
                  <a:gd name="T7" fmla="*/ 23094 h 305"/>
                  <a:gd name="T8" fmla="*/ 23813 w 330"/>
                  <a:gd name="T9" fmla="*/ 32651 h 305"/>
                  <a:gd name="T10" fmla="*/ 27781 w 330"/>
                  <a:gd name="T11" fmla="*/ 32651 h 305"/>
                  <a:gd name="T12" fmla="*/ 30956 w 330"/>
                  <a:gd name="T13" fmla="*/ 38225 h 305"/>
                  <a:gd name="T14" fmla="*/ 38100 w 330"/>
                  <a:gd name="T15" fmla="*/ 42207 h 305"/>
                  <a:gd name="T16" fmla="*/ 44450 w 330"/>
                  <a:gd name="T17" fmla="*/ 47781 h 305"/>
                  <a:gd name="T18" fmla="*/ 47625 w 330"/>
                  <a:gd name="T19" fmla="*/ 47781 h 305"/>
                  <a:gd name="T20" fmla="*/ 52388 w 330"/>
                  <a:gd name="T21" fmla="*/ 57337 h 305"/>
                  <a:gd name="T22" fmla="*/ 47625 w 330"/>
                  <a:gd name="T23" fmla="*/ 61319 h 305"/>
                  <a:gd name="T24" fmla="*/ 52388 w 330"/>
                  <a:gd name="T25" fmla="*/ 61319 h 305"/>
                  <a:gd name="T26" fmla="*/ 55563 w 330"/>
                  <a:gd name="T27" fmla="*/ 57337 h 305"/>
                  <a:gd name="T28" fmla="*/ 55563 w 330"/>
                  <a:gd name="T29" fmla="*/ 54948 h 305"/>
                  <a:gd name="T30" fmla="*/ 55563 w 330"/>
                  <a:gd name="T31" fmla="*/ 51763 h 305"/>
                  <a:gd name="T32" fmla="*/ 55563 w 330"/>
                  <a:gd name="T33" fmla="*/ 45392 h 305"/>
                  <a:gd name="T34" fmla="*/ 61913 w 330"/>
                  <a:gd name="T35" fmla="*/ 51763 h 305"/>
                  <a:gd name="T36" fmla="*/ 65881 w 330"/>
                  <a:gd name="T37" fmla="*/ 47781 h 305"/>
                  <a:gd name="T38" fmla="*/ 47625 w 330"/>
                  <a:gd name="T39" fmla="*/ 38225 h 305"/>
                  <a:gd name="T40" fmla="*/ 52388 w 330"/>
                  <a:gd name="T41" fmla="*/ 35836 h 305"/>
                  <a:gd name="T42" fmla="*/ 47625 w 330"/>
                  <a:gd name="T43" fmla="*/ 35836 h 305"/>
                  <a:gd name="T44" fmla="*/ 41275 w 330"/>
                  <a:gd name="T45" fmla="*/ 32651 h 305"/>
                  <a:gd name="T46" fmla="*/ 38100 w 330"/>
                  <a:gd name="T47" fmla="*/ 26280 h 305"/>
                  <a:gd name="T48" fmla="*/ 30956 w 330"/>
                  <a:gd name="T49" fmla="*/ 19112 h 305"/>
                  <a:gd name="T50" fmla="*/ 30956 w 330"/>
                  <a:gd name="T51" fmla="*/ 9556 h 305"/>
                  <a:gd name="T52" fmla="*/ 34131 w 330"/>
                  <a:gd name="T53" fmla="*/ 9556 h 305"/>
                  <a:gd name="T54" fmla="*/ 38100 w 330"/>
                  <a:gd name="T55" fmla="*/ 9556 h 305"/>
                  <a:gd name="T56" fmla="*/ 38100 w 330"/>
                  <a:gd name="T57" fmla="*/ 7167 h 305"/>
                  <a:gd name="T58" fmla="*/ 38100 w 330"/>
                  <a:gd name="T59" fmla="*/ 3982 h 305"/>
                  <a:gd name="T60" fmla="*/ 30956 w 330"/>
                  <a:gd name="T61" fmla="*/ 0 h 305"/>
                  <a:gd name="T62" fmla="*/ 19844 w 330"/>
                  <a:gd name="T63" fmla="*/ 0 h 305"/>
                  <a:gd name="T64" fmla="*/ 16669 w 330"/>
                  <a:gd name="T65" fmla="*/ 7167 h 305"/>
                  <a:gd name="T66" fmla="*/ 14288 w 330"/>
                  <a:gd name="T67" fmla="*/ 3982 h 305"/>
                  <a:gd name="T68" fmla="*/ 14288 w 330"/>
                  <a:gd name="T69" fmla="*/ 7167 h 305"/>
                  <a:gd name="T70" fmla="*/ 9525 w 330"/>
                  <a:gd name="T71" fmla="*/ 7167 h 305"/>
                  <a:gd name="T72" fmla="*/ 3969 w 330"/>
                  <a:gd name="T73" fmla="*/ 9556 h 305"/>
                  <a:gd name="T74" fmla="*/ 0 w 330"/>
                  <a:gd name="T75" fmla="*/ 9556 h 305"/>
                  <a:gd name="T76" fmla="*/ 0 w 330"/>
                  <a:gd name="T77" fmla="*/ 16723 h 305"/>
                  <a:gd name="T78" fmla="*/ 3969 w 330"/>
                  <a:gd name="T79" fmla="*/ 23094 h 305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30"/>
                  <a:gd name="T121" fmla="*/ 0 h 305"/>
                  <a:gd name="T122" fmla="*/ 330 w 330"/>
                  <a:gd name="T123" fmla="*/ 305 h 305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30" h="305">
                    <a:moveTo>
                      <a:pt x="17" y="113"/>
                    </a:moveTo>
                    <a:lnTo>
                      <a:pt x="17" y="113"/>
                    </a:lnTo>
                    <a:lnTo>
                      <a:pt x="51" y="96"/>
                    </a:lnTo>
                    <a:lnTo>
                      <a:pt x="86" y="113"/>
                    </a:lnTo>
                    <a:lnTo>
                      <a:pt x="120" y="161"/>
                    </a:lnTo>
                    <a:lnTo>
                      <a:pt x="138" y="161"/>
                    </a:lnTo>
                    <a:lnTo>
                      <a:pt x="155" y="192"/>
                    </a:lnTo>
                    <a:lnTo>
                      <a:pt x="192" y="209"/>
                    </a:lnTo>
                    <a:lnTo>
                      <a:pt x="226" y="240"/>
                    </a:lnTo>
                    <a:lnTo>
                      <a:pt x="243" y="240"/>
                    </a:lnTo>
                    <a:lnTo>
                      <a:pt x="261" y="288"/>
                    </a:lnTo>
                    <a:lnTo>
                      <a:pt x="243" y="305"/>
                    </a:lnTo>
                    <a:lnTo>
                      <a:pt x="261" y="305"/>
                    </a:lnTo>
                    <a:lnTo>
                      <a:pt x="278" y="288"/>
                    </a:lnTo>
                    <a:lnTo>
                      <a:pt x="278" y="273"/>
                    </a:lnTo>
                    <a:lnTo>
                      <a:pt x="278" y="257"/>
                    </a:lnTo>
                    <a:lnTo>
                      <a:pt x="278" y="225"/>
                    </a:lnTo>
                    <a:lnTo>
                      <a:pt x="312" y="257"/>
                    </a:lnTo>
                    <a:lnTo>
                      <a:pt x="330" y="240"/>
                    </a:lnTo>
                    <a:lnTo>
                      <a:pt x="243" y="192"/>
                    </a:lnTo>
                    <a:lnTo>
                      <a:pt x="261" y="177"/>
                    </a:lnTo>
                    <a:lnTo>
                      <a:pt x="243" y="177"/>
                    </a:lnTo>
                    <a:lnTo>
                      <a:pt x="209" y="161"/>
                    </a:lnTo>
                    <a:lnTo>
                      <a:pt x="192" y="129"/>
                    </a:lnTo>
                    <a:lnTo>
                      <a:pt x="155" y="96"/>
                    </a:lnTo>
                    <a:lnTo>
                      <a:pt x="155" y="48"/>
                    </a:lnTo>
                    <a:lnTo>
                      <a:pt x="174" y="48"/>
                    </a:lnTo>
                    <a:lnTo>
                      <a:pt x="192" y="48"/>
                    </a:lnTo>
                    <a:lnTo>
                      <a:pt x="192" y="33"/>
                    </a:lnTo>
                    <a:lnTo>
                      <a:pt x="192" y="17"/>
                    </a:lnTo>
                    <a:lnTo>
                      <a:pt x="155" y="0"/>
                    </a:lnTo>
                    <a:lnTo>
                      <a:pt x="103" y="0"/>
                    </a:lnTo>
                    <a:lnTo>
                      <a:pt x="86" y="33"/>
                    </a:lnTo>
                    <a:lnTo>
                      <a:pt x="69" y="17"/>
                    </a:lnTo>
                    <a:lnTo>
                      <a:pt x="69" y="33"/>
                    </a:lnTo>
                    <a:lnTo>
                      <a:pt x="51" y="33"/>
                    </a:lnTo>
                    <a:lnTo>
                      <a:pt x="17" y="48"/>
                    </a:lnTo>
                    <a:lnTo>
                      <a:pt x="0" y="48"/>
                    </a:lnTo>
                    <a:lnTo>
                      <a:pt x="0" y="81"/>
                    </a:lnTo>
                    <a:lnTo>
                      <a:pt x="17" y="113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23" name="Freeform 259">
                <a:extLst>
                  <a:ext uri="{FF2B5EF4-FFF2-40B4-BE49-F238E27FC236}">
                    <a16:creationId xmlns:a16="http://schemas.microsoft.com/office/drawing/2014/main" id="{15C12FA4-2914-1E45-B476-CA503CB99674}"/>
                  </a:ext>
                </a:extLst>
              </p:cNvPr>
              <p:cNvSpPr>
                <a:spLocks/>
              </p:cNvSpPr>
              <p:nvPr>
                <p:custDataLst>
                  <p:tags r:id="rId285"/>
                </p:custDataLst>
              </p:nvPr>
            </p:nvSpPr>
            <p:spPr bwMode="auto">
              <a:xfrm>
                <a:off x="4830763" y="3487738"/>
                <a:ext cx="14288" cy="12700"/>
              </a:xfrm>
              <a:custGeom>
                <a:avLst/>
                <a:gdLst>
                  <a:gd name="T0" fmla="*/ 0 w 17"/>
                  <a:gd name="T1" fmla="*/ 3387 h 15"/>
                  <a:gd name="T2" fmla="*/ 0 w 17"/>
                  <a:gd name="T3" fmla="*/ 3387 h 15"/>
                  <a:gd name="T4" fmla="*/ 0 w 17"/>
                  <a:gd name="T5" fmla="*/ 0 h 15"/>
                  <a:gd name="T6" fmla="*/ 4202 w 17"/>
                  <a:gd name="T7" fmla="*/ 0 h 15"/>
                  <a:gd name="T8" fmla="*/ 4202 w 17"/>
                  <a:gd name="T9" fmla="*/ 3387 h 15"/>
                  <a:gd name="T10" fmla="*/ 0 w 17"/>
                  <a:gd name="T11" fmla="*/ 3387 h 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7"/>
                  <a:gd name="T19" fmla="*/ 0 h 15"/>
                  <a:gd name="T20" fmla="*/ 17 w 17"/>
                  <a:gd name="T21" fmla="*/ 15 h 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7" h="15">
                    <a:moveTo>
                      <a:pt x="0" y="15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17" y="15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24" name="Freeform 260">
                <a:extLst>
                  <a:ext uri="{FF2B5EF4-FFF2-40B4-BE49-F238E27FC236}">
                    <a16:creationId xmlns:a16="http://schemas.microsoft.com/office/drawing/2014/main" id="{35E8C7B0-B1A1-4B42-A739-FB6BDDA8623E}"/>
                  </a:ext>
                </a:extLst>
              </p:cNvPr>
              <p:cNvSpPr>
                <a:spLocks/>
              </p:cNvSpPr>
              <p:nvPr>
                <p:custDataLst>
                  <p:tags r:id="rId286"/>
                </p:custDataLst>
              </p:nvPr>
            </p:nvSpPr>
            <p:spPr bwMode="auto">
              <a:xfrm>
                <a:off x="5013324" y="3576638"/>
                <a:ext cx="53975" cy="38100"/>
              </a:xfrm>
              <a:custGeom>
                <a:avLst/>
                <a:gdLst>
                  <a:gd name="T0" fmla="*/ 13108 w 70"/>
                  <a:gd name="T1" fmla="*/ 3969 h 48"/>
                  <a:gd name="T2" fmla="*/ 13108 w 70"/>
                  <a:gd name="T3" fmla="*/ 3969 h 48"/>
                  <a:gd name="T4" fmla="*/ 9253 w 70"/>
                  <a:gd name="T5" fmla="*/ 3969 h 48"/>
                  <a:gd name="T6" fmla="*/ 6169 w 70"/>
                  <a:gd name="T7" fmla="*/ 9525 h 48"/>
                  <a:gd name="T8" fmla="*/ 3084 w 70"/>
                  <a:gd name="T9" fmla="*/ 9525 h 48"/>
                  <a:gd name="T10" fmla="*/ 0 w 70"/>
                  <a:gd name="T11" fmla="*/ 9525 h 48"/>
                  <a:gd name="T12" fmla="*/ 0 w 70"/>
                  <a:gd name="T13" fmla="*/ 7144 h 48"/>
                  <a:gd name="T14" fmla="*/ 0 w 70"/>
                  <a:gd name="T15" fmla="*/ 3969 h 48"/>
                  <a:gd name="T16" fmla="*/ 13108 w 70"/>
                  <a:gd name="T17" fmla="*/ 0 h 48"/>
                  <a:gd name="T18" fmla="*/ 13108 w 70"/>
                  <a:gd name="T19" fmla="*/ 3969 h 4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0"/>
                  <a:gd name="T31" fmla="*/ 0 h 48"/>
                  <a:gd name="T32" fmla="*/ 70 w 70"/>
                  <a:gd name="T33" fmla="*/ 48 h 4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0" h="48">
                    <a:moveTo>
                      <a:pt x="70" y="17"/>
                    </a:moveTo>
                    <a:lnTo>
                      <a:pt x="70" y="17"/>
                    </a:lnTo>
                    <a:lnTo>
                      <a:pt x="52" y="17"/>
                    </a:lnTo>
                    <a:lnTo>
                      <a:pt x="35" y="48"/>
                    </a:lnTo>
                    <a:lnTo>
                      <a:pt x="18" y="48"/>
                    </a:lnTo>
                    <a:lnTo>
                      <a:pt x="0" y="48"/>
                    </a:lnTo>
                    <a:lnTo>
                      <a:pt x="0" y="33"/>
                    </a:lnTo>
                    <a:lnTo>
                      <a:pt x="0" y="17"/>
                    </a:lnTo>
                    <a:lnTo>
                      <a:pt x="70" y="0"/>
                    </a:lnTo>
                    <a:lnTo>
                      <a:pt x="70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25" name="Freeform 261">
                <a:extLst>
                  <a:ext uri="{FF2B5EF4-FFF2-40B4-BE49-F238E27FC236}">
                    <a16:creationId xmlns:a16="http://schemas.microsoft.com/office/drawing/2014/main" id="{00EA490D-5A43-FB49-9E12-177D745D279C}"/>
                  </a:ext>
                </a:extLst>
              </p:cNvPr>
              <p:cNvSpPr>
                <a:spLocks/>
              </p:cNvSpPr>
              <p:nvPr>
                <p:custDataLst>
                  <p:tags r:id="rId287"/>
                </p:custDataLst>
              </p:nvPr>
            </p:nvSpPr>
            <p:spPr bwMode="auto">
              <a:xfrm>
                <a:off x="5164137" y="2651126"/>
                <a:ext cx="233363" cy="482600"/>
              </a:xfrm>
              <a:custGeom>
                <a:avLst/>
                <a:gdLst>
                  <a:gd name="T0" fmla="*/ 44450 w 294"/>
                  <a:gd name="T1" fmla="*/ 15849 h 609"/>
                  <a:gd name="T2" fmla="*/ 44450 w 294"/>
                  <a:gd name="T3" fmla="*/ 15849 h 609"/>
                  <a:gd name="T4" fmla="*/ 44450 w 294"/>
                  <a:gd name="T5" fmla="*/ 25358 h 609"/>
                  <a:gd name="T6" fmla="*/ 51594 w 294"/>
                  <a:gd name="T7" fmla="*/ 31698 h 609"/>
                  <a:gd name="T8" fmla="*/ 47625 w 294"/>
                  <a:gd name="T9" fmla="*/ 41207 h 609"/>
                  <a:gd name="T10" fmla="*/ 51594 w 294"/>
                  <a:gd name="T11" fmla="*/ 57056 h 609"/>
                  <a:gd name="T12" fmla="*/ 47625 w 294"/>
                  <a:gd name="T13" fmla="*/ 66566 h 609"/>
                  <a:gd name="T14" fmla="*/ 55563 w 294"/>
                  <a:gd name="T15" fmla="*/ 76075 h 609"/>
                  <a:gd name="T16" fmla="*/ 51594 w 294"/>
                  <a:gd name="T17" fmla="*/ 82414 h 609"/>
                  <a:gd name="T18" fmla="*/ 58738 w 294"/>
                  <a:gd name="T19" fmla="*/ 87962 h 609"/>
                  <a:gd name="T20" fmla="*/ 58738 w 294"/>
                  <a:gd name="T21" fmla="*/ 91924 h 609"/>
                  <a:gd name="T22" fmla="*/ 47625 w 294"/>
                  <a:gd name="T23" fmla="*/ 106980 h 609"/>
                  <a:gd name="T24" fmla="*/ 37306 w 294"/>
                  <a:gd name="T25" fmla="*/ 114112 h 609"/>
                  <a:gd name="T26" fmla="*/ 34131 w 294"/>
                  <a:gd name="T27" fmla="*/ 114112 h 609"/>
                  <a:gd name="T28" fmla="*/ 16669 w 294"/>
                  <a:gd name="T29" fmla="*/ 120452 h 609"/>
                  <a:gd name="T30" fmla="*/ 3969 w 294"/>
                  <a:gd name="T31" fmla="*/ 114112 h 609"/>
                  <a:gd name="T32" fmla="*/ 7144 w 294"/>
                  <a:gd name="T33" fmla="*/ 104603 h 609"/>
                  <a:gd name="T34" fmla="*/ 3969 w 294"/>
                  <a:gd name="T35" fmla="*/ 95094 h 609"/>
                  <a:gd name="T36" fmla="*/ 7144 w 294"/>
                  <a:gd name="T37" fmla="*/ 87962 h 609"/>
                  <a:gd name="T38" fmla="*/ 20638 w 294"/>
                  <a:gd name="T39" fmla="*/ 69735 h 609"/>
                  <a:gd name="T40" fmla="*/ 23813 w 294"/>
                  <a:gd name="T41" fmla="*/ 66566 h 609"/>
                  <a:gd name="T42" fmla="*/ 23813 w 294"/>
                  <a:gd name="T43" fmla="*/ 60226 h 609"/>
                  <a:gd name="T44" fmla="*/ 20638 w 294"/>
                  <a:gd name="T45" fmla="*/ 57056 h 609"/>
                  <a:gd name="T46" fmla="*/ 16669 w 294"/>
                  <a:gd name="T47" fmla="*/ 57056 h 609"/>
                  <a:gd name="T48" fmla="*/ 14288 w 294"/>
                  <a:gd name="T49" fmla="*/ 28528 h 609"/>
                  <a:gd name="T50" fmla="*/ 0 w 294"/>
                  <a:gd name="T51" fmla="*/ 15849 h 609"/>
                  <a:gd name="T52" fmla="*/ 3969 w 294"/>
                  <a:gd name="T53" fmla="*/ 12679 h 609"/>
                  <a:gd name="T54" fmla="*/ 10319 w 294"/>
                  <a:gd name="T55" fmla="*/ 19019 h 609"/>
                  <a:gd name="T56" fmla="*/ 14288 w 294"/>
                  <a:gd name="T57" fmla="*/ 19019 h 609"/>
                  <a:gd name="T58" fmla="*/ 16669 w 294"/>
                  <a:gd name="T59" fmla="*/ 19019 h 609"/>
                  <a:gd name="T60" fmla="*/ 23813 w 294"/>
                  <a:gd name="T61" fmla="*/ 19019 h 609"/>
                  <a:gd name="T62" fmla="*/ 27781 w 294"/>
                  <a:gd name="T63" fmla="*/ 15849 h 609"/>
                  <a:gd name="T64" fmla="*/ 30956 w 294"/>
                  <a:gd name="T65" fmla="*/ 3170 h 609"/>
                  <a:gd name="T66" fmla="*/ 37306 w 294"/>
                  <a:gd name="T67" fmla="*/ 0 h 609"/>
                  <a:gd name="T68" fmla="*/ 47625 w 294"/>
                  <a:gd name="T69" fmla="*/ 6340 h 609"/>
                  <a:gd name="T70" fmla="*/ 44450 w 294"/>
                  <a:gd name="T71" fmla="*/ 15849 h 60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94"/>
                  <a:gd name="T109" fmla="*/ 0 h 609"/>
                  <a:gd name="T110" fmla="*/ 294 w 294"/>
                  <a:gd name="T111" fmla="*/ 609 h 609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94" h="609">
                    <a:moveTo>
                      <a:pt x="225" y="81"/>
                    </a:moveTo>
                    <a:lnTo>
                      <a:pt x="225" y="81"/>
                    </a:lnTo>
                    <a:lnTo>
                      <a:pt x="225" y="129"/>
                    </a:lnTo>
                    <a:lnTo>
                      <a:pt x="260" y="160"/>
                    </a:lnTo>
                    <a:lnTo>
                      <a:pt x="242" y="208"/>
                    </a:lnTo>
                    <a:lnTo>
                      <a:pt x="260" y="288"/>
                    </a:lnTo>
                    <a:lnTo>
                      <a:pt x="242" y="336"/>
                    </a:lnTo>
                    <a:lnTo>
                      <a:pt x="277" y="384"/>
                    </a:lnTo>
                    <a:lnTo>
                      <a:pt x="260" y="417"/>
                    </a:lnTo>
                    <a:lnTo>
                      <a:pt x="294" y="447"/>
                    </a:lnTo>
                    <a:lnTo>
                      <a:pt x="294" y="465"/>
                    </a:lnTo>
                    <a:lnTo>
                      <a:pt x="242" y="543"/>
                    </a:lnTo>
                    <a:lnTo>
                      <a:pt x="191" y="576"/>
                    </a:lnTo>
                    <a:lnTo>
                      <a:pt x="173" y="576"/>
                    </a:lnTo>
                    <a:lnTo>
                      <a:pt x="87" y="609"/>
                    </a:lnTo>
                    <a:lnTo>
                      <a:pt x="18" y="576"/>
                    </a:lnTo>
                    <a:lnTo>
                      <a:pt x="35" y="528"/>
                    </a:lnTo>
                    <a:lnTo>
                      <a:pt x="18" y="480"/>
                    </a:lnTo>
                    <a:lnTo>
                      <a:pt x="35" y="447"/>
                    </a:lnTo>
                    <a:lnTo>
                      <a:pt x="104" y="352"/>
                    </a:lnTo>
                    <a:lnTo>
                      <a:pt x="121" y="336"/>
                    </a:lnTo>
                    <a:lnTo>
                      <a:pt x="121" y="304"/>
                    </a:lnTo>
                    <a:lnTo>
                      <a:pt x="104" y="288"/>
                    </a:lnTo>
                    <a:lnTo>
                      <a:pt x="87" y="288"/>
                    </a:lnTo>
                    <a:lnTo>
                      <a:pt x="70" y="144"/>
                    </a:lnTo>
                    <a:lnTo>
                      <a:pt x="0" y="81"/>
                    </a:lnTo>
                    <a:lnTo>
                      <a:pt x="18" y="64"/>
                    </a:lnTo>
                    <a:lnTo>
                      <a:pt x="52" y="96"/>
                    </a:lnTo>
                    <a:lnTo>
                      <a:pt x="70" y="96"/>
                    </a:lnTo>
                    <a:lnTo>
                      <a:pt x="87" y="96"/>
                    </a:lnTo>
                    <a:lnTo>
                      <a:pt x="121" y="96"/>
                    </a:lnTo>
                    <a:lnTo>
                      <a:pt x="139" y="81"/>
                    </a:lnTo>
                    <a:lnTo>
                      <a:pt x="156" y="16"/>
                    </a:lnTo>
                    <a:lnTo>
                      <a:pt x="191" y="0"/>
                    </a:lnTo>
                    <a:lnTo>
                      <a:pt x="242" y="33"/>
                    </a:lnTo>
                    <a:lnTo>
                      <a:pt x="225" y="8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26" name="Freeform 262">
                <a:extLst>
                  <a:ext uri="{FF2B5EF4-FFF2-40B4-BE49-F238E27FC236}">
                    <a16:creationId xmlns:a16="http://schemas.microsoft.com/office/drawing/2014/main" id="{C99C0386-A113-5D4C-A676-D73F558EDEC6}"/>
                  </a:ext>
                </a:extLst>
              </p:cNvPr>
              <p:cNvSpPr>
                <a:spLocks/>
              </p:cNvSpPr>
              <p:nvPr>
                <p:custDataLst>
                  <p:tags r:id="rId288"/>
                </p:custDataLst>
              </p:nvPr>
            </p:nvSpPr>
            <p:spPr bwMode="auto">
              <a:xfrm>
                <a:off x="4818063" y="2586038"/>
                <a:ext cx="579438" cy="623888"/>
              </a:xfrm>
              <a:custGeom>
                <a:avLst/>
                <a:gdLst>
                  <a:gd name="T0" fmla="*/ 34178 w 729"/>
                  <a:gd name="T1" fmla="*/ 149415 h 785"/>
                  <a:gd name="T2" fmla="*/ 30999 w 729"/>
                  <a:gd name="T3" fmla="*/ 143057 h 785"/>
                  <a:gd name="T4" fmla="*/ 27819 w 729"/>
                  <a:gd name="T5" fmla="*/ 147031 h 785"/>
                  <a:gd name="T6" fmla="*/ 10333 w 729"/>
                  <a:gd name="T7" fmla="*/ 156568 h 785"/>
                  <a:gd name="T8" fmla="*/ 7154 w 729"/>
                  <a:gd name="T9" fmla="*/ 143057 h 785"/>
                  <a:gd name="T10" fmla="*/ 3974 w 729"/>
                  <a:gd name="T11" fmla="*/ 143057 h 785"/>
                  <a:gd name="T12" fmla="*/ 3974 w 729"/>
                  <a:gd name="T13" fmla="*/ 133520 h 785"/>
                  <a:gd name="T14" fmla="*/ 3974 w 729"/>
                  <a:gd name="T15" fmla="*/ 120804 h 785"/>
                  <a:gd name="T16" fmla="*/ 14307 w 729"/>
                  <a:gd name="T17" fmla="*/ 108882 h 785"/>
                  <a:gd name="T18" fmla="*/ 24640 w 729"/>
                  <a:gd name="T19" fmla="*/ 99345 h 785"/>
                  <a:gd name="T20" fmla="*/ 34178 w 729"/>
                  <a:gd name="T21" fmla="*/ 85834 h 785"/>
                  <a:gd name="T22" fmla="*/ 48485 w 729"/>
                  <a:gd name="T23" fmla="*/ 63581 h 785"/>
                  <a:gd name="T24" fmla="*/ 61997 w 729"/>
                  <a:gd name="T25" fmla="*/ 42122 h 785"/>
                  <a:gd name="T26" fmla="*/ 44511 w 729"/>
                  <a:gd name="T27" fmla="*/ 47686 h 785"/>
                  <a:gd name="T28" fmla="*/ 54844 w 729"/>
                  <a:gd name="T29" fmla="*/ 42122 h 785"/>
                  <a:gd name="T30" fmla="*/ 61997 w 729"/>
                  <a:gd name="T31" fmla="*/ 28611 h 785"/>
                  <a:gd name="T32" fmla="*/ 65177 w 729"/>
                  <a:gd name="T33" fmla="*/ 32585 h 785"/>
                  <a:gd name="T34" fmla="*/ 69151 w 729"/>
                  <a:gd name="T35" fmla="*/ 32585 h 785"/>
                  <a:gd name="T36" fmla="*/ 65177 w 729"/>
                  <a:gd name="T37" fmla="*/ 25432 h 785"/>
                  <a:gd name="T38" fmla="*/ 76305 w 729"/>
                  <a:gd name="T39" fmla="*/ 15895 h 785"/>
                  <a:gd name="T40" fmla="*/ 89817 w 729"/>
                  <a:gd name="T41" fmla="*/ 13511 h 785"/>
                  <a:gd name="T42" fmla="*/ 107303 w 729"/>
                  <a:gd name="T43" fmla="*/ 6358 h 785"/>
                  <a:gd name="T44" fmla="*/ 113662 w 729"/>
                  <a:gd name="T45" fmla="*/ 0 h 785"/>
                  <a:gd name="T46" fmla="*/ 117636 w 729"/>
                  <a:gd name="T47" fmla="*/ 3974 h 785"/>
                  <a:gd name="T48" fmla="*/ 123995 w 729"/>
                  <a:gd name="T49" fmla="*/ 0 h 785"/>
                  <a:gd name="T50" fmla="*/ 145456 w 729"/>
                  <a:gd name="T51" fmla="*/ 13511 h 785"/>
                  <a:gd name="T52" fmla="*/ 131149 w 729"/>
                  <a:gd name="T53" fmla="*/ 15895 h 785"/>
                  <a:gd name="T54" fmla="*/ 141481 w 729"/>
                  <a:gd name="T55" fmla="*/ 23048 h 785"/>
                  <a:gd name="T56" fmla="*/ 138302 w 729"/>
                  <a:gd name="T57" fmla="*/ 25432 h 785"/>
                  <a:gd name="T58" fmla="*/ 135123 w 729"/>
                  <a:gd name="T59" fmla="*/ 23048 h 785"/>
                  <a:gd name="T60" fmla="*/ 117636 w 729"/>
                  <a:gd name="T61" fmla="*/ 19074 h 785"/>
                  <a:gd name="T62" fmla="*/ 110483 w 729"/>
                  <a:gd name="T63" fmla="*/ 34970 h 785"/>
                  <a:gd name="T64" fmla="*/ 100150 w 729"/>
                  <a:gd name="T65" fmla="*/ 34970 h 785"/>
                  <a:gd name="T66" fmla="*/ 89817 w 729"/>
                  <a:gd name="T67" fmla="*/ 28611 h 785"/>
                  <a:gd name="T68" fmla="*/ 82663 w 729"/>
                  <a:gd name="T69" fmla="*/ 32585 h 785"/>
                  <a:gd name="T70" fmla="*/ 76305 w 729"/>
                  <a:gd name="T71" fmla="*/ 38149 h 785"/>
                  <a:gd name="T72" fmla="*/ 72330 w 729"/>
                  <a:gd name="T73" fmla="*/ 44507 h 785"/>
                  <a:gd name="T74" fmla="*/ 65177 w 729"/>
                  <a:gd name="T75" fmla="*/ 47686 h 785"/>
                  <a:gd name="T76" fmla="*/ 61997 w 729"/>
                  <a:gd name="T77" fmla="*/ 57223 h 785"/>
                  <a:gd name="T78" fmla="*/ 54844 w 729"/>
                  <a:gd name="T79" fmla="*/ 70734 h 785"/>
                  <a:gd name="T80" fmla="*/ 48485 w 729"/>
                  <a:gd name="T81" fmla="*/ 85834 h 785"/>
                  <a:gd name="T82" fmla="*/ 44511 w 729"/>
                  <a:gd name="T83" fmla="*/ 95371 h 785"/>
                  <a:gd name="T84" fmla="*/ 38152 w 729"/>
                  <a:gd name="T85" fmla="*/ 111267 h 785"/>
                  <a:gd name="T86" fmla="*/ 41332 w 729"/>
                  <a:gd name="T87" fmla="*/ 127957 h 785"/>
                  <a:gd name="T88" fmla="*/ 38152 w 729"/>
                  <a:gd name="T89" fmla="*/ 139878 h 785"/>
                  <a:gd name="T90" fmla="*/ 34178 w 729"/>
                  <a:gd name="T91" fmla="*/ 149415 h 78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29"/>
                  <a:gd name="T139" fmla="*/ 0 h 785"/>
                  <a:gd name="T140" fmla="*/ 729 w 729"/>
                  <a:gd name="T141" fmla="*/ 785 h 78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29" h="785">
                    <a:moveTo>
                      <a:pt x="172" y="752"/>
                    </a:moveTo>
                    <a:lnTo>
                      <a:pt x="172" y="752"/>
                    </a:lnTo>
                    <a:lnTo>
                      <a:pt x="172" y="737"/>
                    </a:lnTo>
                    <a:lnTo>
                      <a:pt x="155" y="719"/>
                    </a:lnTo>
                    <a:lnTo>
                      <a:pt x="155" y="737"/>
                    </a:lnTo>
                    <a:lnTo>
                      <a:pt x="138" y="737"/>
                    </a:lnTo>
                    <a:lnTo>
                      <a:pt x="86" y="785"/>
                    </a:lnTo>
                    <a:lnTo>
                      <a:pt x="52" y="785"/>
                    </a:lnTo>
                    <a:lnTo>
                      <a:pt x="17" y="767"/>
                    </a:lnTo>
                    <a:lnTo>
                      <a:pt x="34" y="719"/>
                    </a:lnTo>
                    <a:lnTo>
                      <a:pt x="17" y="737"/>
                    </a:lnTo>
                    <a:lnTo>
                      <a:pt x="17" y="719"/>
                    </a:lnTo>
                    <a:lnTo>
                      <a:pt x="17" y="704"/>
                    </a:lnTo>
                    <a:lnTo>
                      <a:pt x="17" y="671"/>
                    </a:lnTo>
                    <a:lnTo>
                      <a:pt x="0" y="641"/>
                    </a:lnTo>
                    <a:lnTo>
                      <a:pt x="17" y="608"/>
                    </a:lnTo>
                    <a:lnTo>
                      <a:pt x="0" y="593"/>
                    </a:lnTo>
                    <a:lnTo>
                      <a:pt x="69" y="545"/>
                    </a:lnTo>
                    <a:lnTo>
                      <a:pt x="86" y="527"/>
                    </a:lnTo>
                    <a:lnTo>
                      <a:pt x="121" y="497"/>
                    </a:lnTo>
                    <a:lnTo>
                      <a:pt x="121" y="512"/>
                    </a:lnTo>
                    <a:lnTo>
                      <a:pt x="172" y="432"/>
                    </a:lnTo>
                    <a:lnTo>
                      <a:pt x="207" y="401"/>
                    </a:lnTo>
                    <a:lnTo>
                      <a:pt x="242" y="320"/>
                    </a:lnTo>
                    <a:lnTo>
                      <a:pt x="276" y="240"/>
                    </a:lnTo>
                    <a:lnTo>
                      <a:pt x="311" y="209"/>
                    </a:lnTo>
                    <a:lnTo>
                      <a:pt x="259" y="224"/>
                    </a:lnTo>
                    <a:lnTo>
                      <a:pt x="224" y="240"/>
                    </a:lnTo>
                    <a:lnTo>
                      <a:pt x="242" y="209"/>
                    </a:lnTo>
                    <a:lnTo>
                      <a:pt x="276" y="209"/>
                    </a:lnTo>
                    <a:lnTo>
                      <a:pt x="259" y="176"/>
                    </a:lnTo>
                    <a:lnTo>
                      <a:pt x="311" y="144"/>
                    </a:lnTo>
                    <a:lnTo>
                      <a:pt x="311" y="176"/>
                    </a:lnTo>
                    <a:lnTo>
                      <a:pt x="328" y="161"/>
                    </a:lnTo>
                    <a:lnTo>
                      <a:pt x="328" y="176"/>
                    </a:lnTo>
                    <a:lnTo>
                      <a:pt x="347" y="161"/>
                    </a:lnTo>
                    <a:lnTo>
                      <a:pt x="328" y="161"/>
                    </a:lnTo>
                    <a:lnTo>
                      <a:pt x="328" y="128"/>
                    </a:lnTo>
                    <a:lnTo>
                      <a:pt x="364" y="113"/>
                    </a:lnTo>
                    <a:lnTo>
                      <a:pt x="382" y="80"/>
                    </a:lnTo>
                    <a:lnTo>
                      <a:pt x="416" y="80"/>
                    </a:lnTo>
                    <a:lnTo>
                      <a:pt x="451" y="65"/>
                    </a:lnTo>
                    <a:lnTo>
                      <a:pt x="503" y="17"/>
                    </a:lnTo>
                    <a:lnTo>
                      <a:pt x="537" y="32"/>
                    </a:lnTo>
                    <a:lnTo>
                      <a:pt x="555" y="17"/>
                    </a:lnTo>
                    <a:lnTo>
                      <a:pt x="572" y="0"/>
                    </a:lnTo>
                    <a:lnTo>
                      <a:pt x="572" y="48"/>
                    </a:lnTo>
                    <a:lnTo>
                      <a:pt x="589" y="17"/>
                    </a:lnTo>
                    <a:lnTo>
                      <a:pt x="606" y="48"/>
                    </a:lnTo>
                    <a:lnTo>
                      <a:pt x="624" y="0"/>
                    </a:lnTo>
                    <a:lnTo>
                      <a:pt x="658" y="17"/>
                    </a:lnTo>
                    <a:lnTo>
                      <a:pt x="729" y="65"/>
                    </a:lnTo>
                    <a:lnTo>
                      <a:pt x="695" y="80"/>
                    </a:lnTo>
                    <a:lnTo>
                      <a:pt x="658" y="80"/>
                    </a:lnTo>
                    <a:lnTo>
                      <a:pt x="695" y="96"/>
                    </a:lnTo>
                    <a:lnTo>
                      <a:pt x="712" y="113"/>
                    </a:lnTo>
                    <a:lnTo>
                      <a:pt x="712" y="128"/>
                    </a:lnTo>
                    <a:lnTo>
                      <a:pt x="695" y="128"/>
                    </a:lnTo>
                    <a:lnTo>
                      <a:pt x="658" y="161"/>
                    </a:lnTo>
                    <a:lnTo>
                      <a:pt x="677" y="113"/>
                    </a:lnTo>
                    <a:lnTo>
                      <a:pt x="624" y="80"/>
                    </a:lnTo>
                    <a:lnTo>
                      <a:pt x="589" y="96"/>
                    </a:lnTo>
                    <a:lnTo>
                      <a:pt x="572" y="161"/>
                    </a:lnTo>
                    <a:lnTo>
                      <a:pt x="555" y="176"/>
                    </a:lnTo>
                    <a:lnTo>
                      <a:pt x="520" y="176"/>
                    </a:lnTo>
                    <a:lnTo>
                      <a:pt x="503" y="176"/>
                    </a:lnTo>
                    <a:lnTo>
                      <a:pt x="485" y="176"/>
                    </a:lnTo>
                    <a:lnTo>
                      <a:pt x="451" y="144"/>
                    </a:lnTo>
                    <a:lnTo>
                      <a:pt x="434" y="161"/>
                    </a:lnTo>
                    <a:lnTo>
                      <a:pt x="416" y="161"/>
                    </a:lnTo>
                    <a:lnTo>
                      <a:pt x="416" y="192"/>
                    </a:lnTo>
                    <a:lnTo>
                      <a:pt x="382" y="192"/>
                    </a:lnTo>
                    <a:lnTo>
                      <a:pt x="364" y="192"/>
                    </a:lnTo>
                    <a:lnTo>
                      <a:pt x="364" y="224"/>
                    </a:lnTo>
                    <a:lnTo>
                      <a:pt x="347" y="224"/>
                    </a:lnTo>
                    <a:lnTo>
                      <a:pt x="328" y="240"/>
                    </a:lnTo>
                    <a:lnTo>
                      <a:pt x="311" y="272"/>
                    </a:lnTo>
                    <a:lnTo>
                      <a:pt x="311" y="288"/>
                    </a:lnTo>
                    <a:lnTo>
                      <a:pt x="311" y="305"/>
                    </a:lnTo>
                    <a:lnTo>
                      <a:pt x="276" y="353"/>
                    </a:lnTo>
                    <a:lnTo>
                      <a:pt x="259" y="401"/>
                    </a:lnTo>
                    <a:lnTo>
                      <a:pt x="242" y="432"/>
                    </a:lnTo>
                    <a:lnTo>
                      <a:pt x="259" y="464"/>
                    </a:lnTo>
                    <a:lnTo>
                      <a:pt x="224" y="479"/>
                    </a:lnTo>
                    <a:lnTo>
                      <a:pt x="207" y="497"/>
                    </a:lnTo>
                    <a:lnTo>
                      <a:pt x="190" y="560"/>
                    </a:lnTo>
                    <a:lnTo>
                      <a:pt x="207" y="623"/>
                    </a:lnTo>
                    <a:lnTo>
                      <a:pt x="207" y="641"/>
                    </a:lnTo>
                    <a:lnTo>
                      <a:pt x="207" y="689"/>
                    </a:lnTo>
                    <a:lnTo>
                      <a:pt x="190" y="704"/>
                    </a:lnTo>
                    <a:lnTo>
                      <a:pt x="190" y="752"/>
                    </a:lnTo>
                    <a:lnTo>
                      <a:pt x="172" y="75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27" name="Freeform 263">
                <a:extLst>
                  <a:ext uri="{FF2B5EF4-FFF2-40B4-BE49-F238E27FC236}">
                    <a16:creationId xmlns:a16="http://schemas.microsoft.com/office/drawing/2014/main" id="{212DD563-F467-D245-AA37-08868ABCCD1E}"/>
                  </a:ext>
                </a:extLst>
              </p:cNvPr>
              <p:cNvSpPr>
                <a:spLocks/>
              </p:cNvSpPr>
              <p:nvPr>
                <p:custDataLst>
                  <p:tags r:id="rId289"/>
                </p:custDataLst>
              </p:nvPr>
            </p:nvSpPr>
            <p:spPr bwMode="auto">
              <a:xfrm>
                <a:off x="4956174" y="2714626"/>
                <a:ext cx="274638" cy="595313"/>
              </a:xfrm>
              <a:custGeom>
                <a:avLst/>
                <a:gdLst>
                  <a:gd name="T0" fmla="*/ 0 w 346"/>
                  <a:gd name="T1" fmla="*/ 117475 h 750"/>
                  <a:gd name="T2" fmla="*/ 0 w 346"/>
                  <a:gd name="T3" fmla="*/ 117475 h 750"/>
                  <a:gd name="T4" fmla="*/ 3969 w 346"/>
                  <a:gd name="T5" fmla="*/ 117475 h 750"/>
                  <a:gd name="T6" fmla="*/ 3969 w 346"/>
                  <a:gd name="T7" fmla="*/ 107950 h 750"/>
                  <a:gd name="T8" fmla="*/ 7144 w 346"/>
                  <a:gd name="T9" fmla="*/ 104775 h 750"/>
                  <a:gd name="T10" fmla="*/ 7144 w 346"/>
                  <a:gd name="T11" fmla="*/ 95250 h 750"/>
                  <a:gd name="T12" fmla="*/ 7144 w 346"/>
                  <a:gd name="T13" fmla="*/ 91281 h 750"/>
                  <a:gd name="T14" fmla="*/ 3969 w 346"/>
                  <a:gd name="T15" fmla="*/ 78581 h 750"/>
                  <a:gd name="T16" fmla="*/ 7144 w 346"/>
                  <a:gd name="T17" fmla="*/ 66675 h 750"/>
                  <a:gd name="T18" fmla="*/ 10319 w 346"/>
                  <a:gd name="T19" fmla="*/ 63500 h 750"/>
                  <a:gd name="T20" fmla="*/ 17463 w 346"/>
                  <a:gd name="T21" fmla="*/ 60325 h 750"/>
                  <a:gd name="T22" fmla="*/ 14288 w 346"/>
                  <a:gd name="T23" fmla="*/ 53975 h 750"/>
                  <a:gd name="T24" fmla="*/ 17463 w 346"/>
                  <a:gd name="T25" fmla="*/ 47625 h 750"/>
                  <a:gd name="T26" fmla="*/ 20638 w 346"/>
                  <a:gd name="T27" fmla="*/ 38100 h 750"/>
                  <a:gd name="T28" fmla="*/ 27781 w 346"/>
                  <a:gd name="T29" fmla="*/ 28575 h 750"/>
                  <a:gd name="T30" fmla="*/ 27781 w 346"/>
                  <a:gd name="T31" fmla="*/ 24606 h 750"/>
                  <a:gd name="T32" fmla="*/ 27781 w 346"/>
                  <a:gd name="T33" fmla="*/ 21431 h 750"/>
                  <a:gd name="T34" fmla="*/ 30956 w 346"/>
                  <a:gd name="T35" fmla="*/ 15875 h 750"/>
                  <a:gd name="T36" fmla="*/ 34131 w 346"/>
                  <a:gd name="T37" fmla="*/ 11906 h 750"/>
                  <a:gd name="T38" fmla="*/ 37306 w 346"/>
                  <a:gd name="T39" fmla="*/ 11906 h 750"/>
                  <a:gd name="T40" fmla="*/ 37306 w 346"/>
                  <a:gd name="T41" fmla="*/ 5556 h 750"/>
                  <a:gd name="T42" fmla="*/ 41275 w 346"/>
                  <a:gd name="T43" fmla="*/ 5556 h 750"/>
                  <a:gd name="T44" fmla="*/ 47625 w 346"/>
                  <a:gd name="T45" fmla="*/ 5556 h 750"/>
                  <a:gd name="T46" fmla="*/ 47625 w 346"/>
                  <a:gd name="T47" fmla="*/ 0 h 750"/>
                  <a:gd name="T48" fmla="*/ 51594 w 346"/>
                  <a:gd name="T49" fmla="*/ 0 h 750"/>
                  <a:gd name="T50" fmla="*/ 65881 w 346"/>
                  <a:gd name="T51" fmla="*/ 11906 h 750"/>
                  <a:gd name="T52" fmla="*/ 69056 w 346"/>
                  <a:gd name="T53" fmla="*/ 40481 h 750"/>
                  <a:gd name="T54" fmla="*/ 61913 w 346"/>
                  <a:gd name="T55" fmla="*/ 40481 h 750"/>
                  <a:gd name="T56" fmla="*/ 55563 w 346"/>
                  <a:gd name="T57" fmla="*/ 47625 h 750"/>
                  <a:gd name="T58" fmla="*/ 55563 w 346"/>
                  <a:gd name="T59" fmla="*/ 50006 h 750"/>
                  <a:gd name="T60" fmla="*/ 55563 w 346"/>
                  <a:gd name="T61" fmla="*/ 53975 h 750"/>
                  <a:gd name="T62" fmla="*/ 58738 w 346"/>
                  <a:gd name="T63" fmla="*/ 57150 h 750"/>
                  <a:gd name="T64" fmla="*/ 51594 w 346"/>
                  <a:gd name="T65" fmla="*/ 63500 h 750"/>
                  <a:gd name="T66" fmla="*/ 41275 w 346"/>
                  <a:gd name="T67" fmla="*/ 73025 h 750"/>
                  <a:gd name="T68" fmla="*/ 34131 w 346"/>
                  <a:gd name="T69" fmla="*/ 81756 h 750"/>
                  <a:gd name="T70" fmla="*/ 34131 w 346"/>
                  <a:gd name="T71" fmla="*/ 97631 h 750"/>
                  <a:gd name="T72" fmla="*/ 41275 w 346"/>
                  <a:gd name="T73" fmla="*/ 107950 h 750"/>
                  <a:gd name="T74" fmla="*/ 37306 w 346"/>
                  <a:gd name="T75" fmla="*/ 111125 h 750"/>
                  <a:gd name="T76" fmla="*/ 37306 w 346"/>
                  <a:gd name="T77" fmla="*/ 114300 h 750"/>
                  <a:gd name="T78" fmla="*/ 30956 w 346"/>
                  <a:gd name="T79" fmla="*/ 120650 h 750"/>
                  <a:gd name="T80" fmla="*/ 27781 w 346"/>
                  <a:gd name="T81" fmla="*/ 142875 h 750"/>
                  <a:gd name="T82" fmla="*/ 20638 w 346"/>
                  <a:gd name="T83" fmla="*/ 142875 h 750"/>
                  <a:gd name="T84" fmla="*/ 17463 w 346"/>
                  <a:gd name="T85" fmla="*/ 146050 h 750"/>
                  <a:gd name="T86" fmla="*/ 17463 w 346"/>
                  <a:gd name="T87" fmla="*/ 149225 h 750"/>
                  <a:gd name="T88" fmla="*/ 10319 w 346"/>
                  <a:gd name="T89" fmla="*/ 149225 h 750"/>
                  <a:gd name="T90" fmla="*/ 7144 w 346"/>
                  <a:gd name="T91" fmla="*/ 142875 h 750"/>
                  <a:gd name="T92" fmla="*/ 10319 w 346"/>
                  <a:gd name="T93" fmla="*/ 139700 h 750"/>
                  <a:gd name="T94" fmla="*/ 7144 w 346"/>
                  <a:gd name="T95" fmla="*/ 136525 h 750"/>
                  <a:gd name="T96" fmla="*/ 0 w 346"/>
                  <a:gd name="T97" fmla="*/ 117475 h 75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46"/>
                  <a:gd name="T148" fmla="*/ 0 h 750"/>
                  <a:gd name="T149" fmla="*/ 346 w 346"/>
                  <a:gd name="T150" fmla="*/ 750 h 75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46" h="750">
                    <a:moveTo>
                      <a:pt x="0" y="591"/>
                    </a:moveTo>
                    <a:lnTo>
                      <a:pt x="0" y="591"/>
                    </a:lnTo>
                    <a:lnTo>
                      <a:pt x="18" y="591"/>
                    </a:lnTo>
                    <a:lnTo>
                      <a:pt x="18" y="543"/>
                    </a:lnTo>
                    <a:lnTo>
                      <a:pt x="35" y="528"/>
                    </a:lnTo>
                    <a:lnTo>
                      <a:pt x="35" y="480"/>
                    </a:lnTo>
                    <a:lnTo>
                      <a:pt x="35" y="462"/>
                    </a:lnTo>
                    <a:lnTo>
                      <a:pt x="18" y="399"/>
                    </a:lnTo>
                    <a:lnTo>
                      <a:pt x="35" y="336"/>
                    </a:lnTo>
                    <a:lnTo>
                      <a:pt x="52" y="318"/>
                    </a:lnTo>
                    <a:lnTo>
                      <a:pt x="87" y="303"/>
                    </a:lnTo>
                    <a:lnTo>
                      <a:pt x="70" y="271"/>
                    </a:lnTo>
                    <a:lnTo>
                      <a:pt x="87" y="240"/>
                    </a:lnTo>
                    <a:lnTo>
                      <a:pt x="104" y="192"/>
                    </a:lnTo>
                    <a:lnTo>
                      <a:pt x="139" y="144"/>
                    </a:lnTo>
                    <a:lnTo>
                      <a:pt x="139" y="127"/>
                    </a:lnTo>
                    <a:lnTo>
                      <a:pt x="139" y="111"/>
                    </a:lnTo>
                    <a:lnTo>
                      <a:pt x="156" y="79"/>
                    </a:lnTo>
                    <a:lnTo>
                      <a:pt x="173" y="63"/>
                    </a:lnTo>
                    <a:lnTo>
                      <a:pt x="190" y="63"/>
                    </a:lnTo>
                    <a:lnTo>
                      <a:pt x="190" y="31"/>
                    </a:lnTo>
                    <a:lnTo>
                      <a:pt x="208" y="31"/>
                    </a:lnTo>
                    <a:lnTo>
                      <a:pt x="242" y="31"/>
                    </a:lnTo>
                    <a:lnTo>
                      <a:pt x="242" y="0"/>
                    </a:lnTo>
                    <a:lnTo>
                      <a:pt x="260" y="0"/>
                    </a:lnTo>
                    <a:lnTo>
                      <a:pt x="329" y="63"/>
                    </a:lnTo>
                    <a:lnTo>
                      <a:pt x="346" y="207"/>
                    </a:lnTo>
                    <a:lnTo>
                      <a:pt x="311" y="207"/>
                    </a:lnTo>
                    <a:lnTo>
                      <a:pt x="277" y="240"/>
                    </a:lnTo>
                    <a:lnTo>
                      <a:pt x="277" y="255"/>
                    </a:lnTo>
                    <a:lnTo>
                      <a:pt x="277" y="271"/>
                    </a:lnTo>
                    <a:lnTo>
                      <a:pt x="294" y="288"/>
                    </a:lnTo>
                    <a:lnTo>
                      <a:pt x="260" y="318"/>
                    </a:lnTo>
                    <a:lnTo>
                      <a:pt x="208" y="366"/>
                    </a:lnTo>
                    <a:lnTo>
                      <a:pt x="173" y="414"/>
                    </a:lnTo>
                    <a:lnTo>
                      <a:pt x="173" y="495"/>
                    </a:lnTo>
                    <a:lnTo>
                      <a:pt x="208" y="543"/>
                    </a:lnTo>
                    <a:lnTo>
                      <a:pt x="190" y="558"/>
                    </a:lnTo>
                    <a:lnTo>
                      <a:pt x="190" y="576"/>
                    </a:lnTo>
                    <a:lnTo>
                      <a:pt x="156" y="606"/>
                    </a:lnTo>
                    <a:lnTo>
                      <a:pt x="139" y="720"/>
                    </a:lnTo>
                    <a:lnTo>
                      <a:pt x="104" y="720"/>
                    </a:lnTo>
                    <a:lnTo>
                      <a:pt x="87" y="735"/>
                    </a:lnTo>
                    <a:lnTo>
                      <a:pt x="87" y="750"/>
                    </a:lnTo>
                    <a:lnTo>
                      <a:pt x="52" y="750"/>
                    </a:lnTo>
                    <a:lnTo>
                      <a:pt x="35" y="720"/>
                    </a:lnTo>
                    <a:lnTo>
                      <a:pt x="52" y="702"/>
                    </a:lnTo>
                    <a:lnTo>
                      <a:pt x="35" y="687"/>
                    </a:lnTo>
                    <a:lnTo>
                      <a:pt x="0" y="591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28" name="Freeform 264">
                <a:extLst>
                  <a:ext uri="{FF2B5EF4-FFF2-40B4-BE49-F238E27FC236}">
                    <a16:creationId xmlns:a16="http://schemas.microsoft.com/office/drawing/2014/main" id="{6CBA3CB3-99C5-AD4B-BF9D-8B9AAD8BA614}"/>
                  </a:ext>
                </a:extLst>
              </p:cNvPr>
              <p:cNvSpPr>
                <a:spLocks/>
              </p:cNvSpPr>
              <p:nvPr>
                <p:custDataLst>
                  <p:tags r:id="rId290"/>
                </p:custDataLst>
              </p:nvPr>
            </p:nvSpPr>
            <p:spPr bwMode="auto">
              <a:xfrm>
                <a:off x="4972049" y="4986338"/>
                <a:ext cx="287338" cy="254000"/>
              </a:xfrm>
              <a:custGeom>
                <a:avLst/>
                <a:gdLst>
                  <a:gd name="T0" fmla="*/ 23813 w 362"/>
                  <a:gd name="T1" fmla="*/ 63500 h 320"/>
                  <a:gd name="T2" fmla="*/ 23813 w 362"/>
                  <a:gd name="T3" fmla="*/ 63500 h 320"/>
                  <a:gd name="T4" fmla="*/ 19844 w 362"/>
                  <a:gd name="T5" fmla="*/ 57150 h 320"/>
                  <a:gd name="T6" fmla="*/ 14288 w 362"/>
                  <a:gd name="T7" fmla="*/ 38100 h 320"/>
                  <a:gd name="T8" fmla="*/ 14288 w 362"/>
                  <a:gd name="T9" fmla="*/ 28575 h 320"/>
                  <a:gd name="T10" fmla="*/ 0 w 362"/>
                  <a:gd name="T11" fmla="*/ 3969 h 320"/>
                  <a:gd name="T12" fmla="*/ 0 w 362"/>
                  <a:gd name="T13" fmla="*/ 0 h 320"/>
                  <a:gd name="T14" fmla="*/ 7144 w 362"/>
                  <a:gd name="T15" fmla="*/ 0 h 320"/>
                  <a:gd name="T16" fmla="*/ 14288 w 362"/>
                  <a:gd name="T17" fmla="*/ 0 h 320"/>
                  <a:gd name="T18" fmla="*/ 34131 w 362"/>
                  <a:gd name="T19" fmla="*/ 3969 h 320"/>
                  <a:gd name="T20" fmla="*/ 40481 w 362"/>
                  <a:gd name="T21" fmla="*/ 3969 h 320"/>
                  <a:gd name="T22" fmla="*/ 54769 w 362"/>
                  <a:gd name="T23" fmla="*/ 7144 h 320"/>
                  <a:gd name="T24" fmla="*/ 61913 w 362"/>
                  <a:gd name="T25" fmla="*/ 3969 h 320"/>
                  <a:gd name="T26" fmla="*/ 65088 w 362"/>
                  <a:gd name="T27" fmla="*/ 0 h 320"/>
                  <a:gd name="T28" fmla="*/ 72231 w 362"/>
                  <a:gd name="T29" fmla="*/ 3969 h 320"/>
                  <a:gd name="T30" fmla="*/ 65088 w 362"/>
                  <a:gd name="T31" fmla="*/ 9525 h 320"/>
                  <a:gd name="T32" fmla="*/ 61913 w 362"/>
                  <a:gd name="T33" fmla="*/ 7144 h 320"/>
                  <a:gd name="T34" fmla="*/ 51594 w 362"/>
                  <a:gd name="T35" fmla="*/ 7144 h 320"/>
                  <a:gd name="T36" fmla="*/ 47625 w 362"/>
                  <a:gd name="T37" fmla="*/ 26194 h 320"/>
                  <a:gd name="T38" fmla="*/ 44450 w 362"/>
                  <a:gd name="T39" fmla="*/ 28575 h 320"/>
                  <a:gd name="T40" fmla="*/ 44450 w 362"/>
                  <a:gd name="T41" fmla="*/ 41275 h 320"/>
                  <a:gd name="T42" fmla="*/ 44450 w 362"/>
                  <a:gd name="T43" fmla="*/ 61119 h 320"/>
                  <a:gd name="T44" fmla="*/ 37306 w 362"/>
                  <a:gd name="T45" fmla="*/ 63500 h 320"/>
                  <a:gd name="T46" fmla="*/ 30956 w 362"/>
                  <a:gd name="T47" fmla="*/ 63500 h 320"/>
                  <a:gd name="T48" fmla="*/ 27781 w 362"/>
                  <a:gd name="T49" fmla="*/ 61119 h 320"/>
                  <a:gd name="T50" fmla="*/ 23813 w 362"/>
                  <a:gd name="T51" fmla="*/ 63500 h 32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362"/>
                  <a:gd name="T79" fmla="*/ 0 h 320"/>
                  <a:gd name="T80" fmla="*/ 362 w 362"/>
                  <a:gd name="T81" fmla="*/ 320 h 320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362" h="320">
                    <a:moveTo>
                      <a:pt x="121" y="320"/>
                    </a:moveTo>
                    <a:lnTo>
                      <a:pt x="121" y="320"/>
                    </a:lnTo>
                    <a:lnTo>
                      <a:pt x="103" y="288"/>
                    </a:lnTo>
                    <a:lnTo>
                      <a:pt x="69" y="192"/>
                    </a:lnTo>
                    <a:lnTo>
                      <a:pt x="69" y="144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34" y="0"/>
                    </a:lnTo>
                    <a:lnTo>
                      <a:pt x="69" y="0"/>
                    </a:lnTo>
                    <a:lnTo>
                      <a:pt x="172" y="17"/>
                    </a:lnTo>
                    <a:lnTo>
                      <a:pt x="207" y="17"/>
                    </a:lnTo>
                    <a:lnTo>
                      <a:pt x="276" y="33"/>
                    </a:lnTo>
                    <a:lnTo>
                      <a:pt x="311" y="17"/>
                    </a:lnTo>
                    <a:lnTo>
                      <a:pt x="328" y="0"/>
                    </a:lnTo>
                    <a:lnTo>
                      <a:pt x="362" y="17"/>
                    </a:lnTo>
                    <a:lnTo>
                      <a:pt x="328" y="48"/>
                    </a:lnTo>
                    <a:lnTo>
                      <a:pt x="311" y="33"/>
                    </a:lnTo>
                    <a:lnTo>
                      <a:pt x="259" y="33"/>
                    </a:lnTo>
                    <a:lnTo>
                      <a:pt x="241" y="129"/>
                    </a:lnTo>
                    <a:lnTo>
                      <a:pt x="224" y="144"/>
                    </a:lnTo>
                    <a:lnTo>
                      <a:pt x="224" y="209"/>
                    </a:lnTo>
                    <a:lnTo>
                      <a:pt x="224" y="305"/>
                    </a:lnTo>
                    <a:lnTo>
                      <a:pt x="190" y="320"/>
                    </a:lnTo>
                    <a:lnTo>
                      <a:pt x="155" y="320"/>
                    </a:lnTo>
                    <a:lnTo>
                      <a:pt x="138" y="305"/>
                    </a:lnTo>
                    <a:lnTo>
                      <a:pt x="121" y="32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29" name="Freeform 265">
                <a:extLst>
                  <a:ext uri="{FF2B5EF4-FFF2-40B4-BE49-F238E27FC236}">
                    <a16:creationId xmlns:a16="http://schemas.microsoft.com/office/drawing/2014/main" id="{29FEFDF8-20FE-F746-B355-9AA63C1E3D44}"/>
                  </a:ext>
                </a:extLst>
              </p:cNvPr>
              <p:cNvSpPr>
                <a:spLocks/>
              </p:cNvSpPr>
              <p:nvPr>
                <p:custDataLst>
                  <p:tags r:id="rId291"/>
                </p:custDataLst>
              </p:nvPr>
            </p:nvSpPr>
            <p:spPr bwMode="auto">
              <a:xfrm>
                <a:off x="5065712" y="5087938"/>
                <a:ext cx="358775" cy="292100"/>
              </a:xfrm>
              <a:custGeom>
                <a:avLst/>
                <a:gdLst>
                  <a:gd name="T0" fmla="*/ 82733 w 451"/>
                  <a:gd name="T1" fmla="*/ 2381 h 368"/>
                  <a:gd name="T2" fmla="*/ 86711 w 451"/>
                  <a:gd name="T3" fmla="*/ 21431 h 368"/>
                  <a:gd name="T4" fmla="*/ 82733 w 451"/>
                  <a:gd name="T5" fmla="*/ 21431 h 368"/>
                  <a:gd name="T6" fmla="*/ 79551 w 451"/>
                  <a:gd name="T7" fmla="*/ 25400 h 368"/>
                  <a:gd name="T8" fmla="*/ 82733 w 451"/>
                  <a:gd name="T9" fmla="*/ 28575 h 368"/>
                  <a:gd name="T10" fmla="*/ 86711 w 451"/>
                  <a:gd name="T11" fmla="*/ 25400 h 368"/>
                  <a:gd name="T12" fmla="*/ 89893 w 451"/>
                  <a:gd name="T13" fmla="*/ 25400 h 368"/>
                  <a:gd name="T14" fmla="*/ 89893 w 451"/>
                  <a:gd name="T15" fmla="*/ 28575 h 368"/>
                  <a:gd name="T16" fmla="*/ 89893 w 451"/>
                  <a:gd name="T17" fmla="*/ 37306 h 368"/>
                  <a:gd name="T18" fmla="*/ 82733 w 451"/>
                  <a:gd name="T19" fmla="*/ 40481 h 368"/>
                  <a:gd name="T20" fmla="*/ 76369 w 451"/>
                  <a:gd name="T21" fmla="*/ 50006 h 368"/>
                  <a:gd name="T22" fmla="*/ 66027 w 451"/>
                  <a:gd name="T23" fmla="*/ 60325 h 368"/>
                  <a:gd name="T24" fmla="*/ 58868 w 451"/>
                  <a:gd name="T25" fmla="*/ 66675 h 368"/>
                  <a:gd name="T26" fmla="*/ 48526 w 451"/>
                  <a:gd name="T27" fmla="*/ 69850 h 368"/>
                  <a:gd name="T28" fmla="*/ 42162 w 451"/>
                  <a:gd name="T29" fmla="*/ 69850 h 368"/>
                  <a:gd name="T30" fmla="*/ 31820 w 451"/>
                  <a:gd name="T31" fmla="*/ 69850 h 368"/>
                  <a:gd name="T32" fmla="*/ 20683 w 451"/>
                  <a:gd name="T33" fmla="*/ 73025 h 368"/>
                  <a:gd name="T34" fmla="*/ 17501 w 451"/>
                  <a:gd name="T35" fmla="*/ 73025 h 368"/>
                  <a:gd name="T36" fmla="*/ 14319 w 451"/>
                  <a:gd name="T37" fmla="*/ 69850 h 368"/>
                  <a:gd name="T38" fmla="*/ 10342 w 451"/>
                  <a:gd name="T39" fmla="*/ 60325 h 368"/>
                  <a:gd name="T40" fmla="*/ 10342 w 451"/>
                  <a:gd name="T41" fmla="*/ 57150 h 368"/>
                  <a:gd name="T42" fmla="*/ 3978 w 451"/>
                  <a:gd name="T43" fmla="*/ 37306 h 368"/>
                  <a:gd name="T44" fmla="*/ 0 w 451"/>
                  <a:gd name="T45" fmla="*/ 37306 h 368"/>
                  <a:gd name="T46" fmla="*/ 3978 w 451"/>
                  <a:gd name="T47" fmla="*/ 34925 h 368"/>
                  <a:gd name="T48" fmla="*/ 7160 w 451"/>
                  <a:gd name="T49" fmla="*/ 37306 h 368"/>
                  <a:gd name="T50" fmla="*/ 14319 w 451"/>
                  <a:gd name="T51" fmla="*/ 37306 h 368"/>
                  <a:gd name="T52" fmla="*/ 20683 w 451"/>
                  <a:gd name="T53" fmla="*/ 34925 h 368"/>
                  <a:gd name="T54" fmla="*/ 20683 w 451"/>
                  <a:gd name="T55" fmla="*/ 15875 h 368"/>
                  <a:gd name="T56" fmla="*/ 24661 w 451"/>
                  <a:gd name="T57" fmla="*/ 19050 h 368"/>
                  <a:gd name="T58" fmla="*/ 24661 w 451"/>
                  <a:gd name="T59" fmla="*/ 25400 h 368"/>
                  <a:gd name="T60" fmla="*/ 31820 w 451"/>
                  <a:gd name="T61" fmla="*/ 25400 h 368"/>
                  <a:gd name="T62" fmla="*/ 42162 w 451"/>
                  <a:gd name="T63" fmla="*/ 19050 h 368"/>
                  <a:gd name="T64" fmla="*/ 45344 w 451"/>
                  <a:gd name="T65" fmla="*/ 21431 h 368"/>
                  <a:gd name="T66" fmla="*/ 48526 w 451"/>
                  <a:gd name="T67" fmla="*/ 19050 h 368"/>
                  <a:gd name="T68" fmla="*/ 62845 w 451"/>
                  <a:gd name="T69" fmla="*/ 6350 h 368"/>
                  <a:gd name="T70" fmla="*/ 72391 w 451"/>
                  <a:gd name="T71" fmla="*/ 0 h 368"/>
                  <a:gd name="T72" fmla="*/ 79551 w 451"/>
                  <a:gd name="T73" fmla="*/ 2381 h 368"/>
                  <a:gd name="T74" fmla="*/ 82733 w 451"/>
                  <a:gd name="T75" fmla="*/ 2381 h 36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51"/>
                  <a:gd name="T115" fmla="*/ 0 h 368"/>
                  <a:gd name="T116" fmla="*/ 451 w 451"/>
                  <a:gd name="T117" fmla="*/ 368 h 36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51" h="368">
                    <a:moveTo>
                      <a:pt x="416" y="15"/>
                    </a:moveTo>
                    <a:lnTo>
                      <a:pt x="433" y="111"/>
                    </a:lnTo>
                    <a:lnTo>
                      <a:pt x="416" y="111"/>
                    </a:lnTo>
                    <a:lnTo>
                      <a:pt x="399" y="128"/>
                    </a:lnTo>
                    <a:lnTo>
                      <a:pt x="416" y="143"/>
                    </a:lnTo>
                    <a:lnTo>
                      <a:pt x="433" y="128"/>
                    </a:lnTo>
                    <a:lnTo>
                      <a:pt x="451" y="128"/>
                    </a:lnTo>
                    <a:lnTo>
                      <a:pt x="451" y="143"/>
                    </a:lnTo>
                    <a:lnTo>
                      <a:pt x="451" y="191"/>
                    </a:lnTo>
                    <a:lnTo>
                      <a:pt x="416" y="207"/>
                    </a:lnTo>
                    <a:lnTo>
                      <a:pt x="382" y="255"/>
                    </a:lnTo>
                    <a:lnTo>
                      <a:pt x="330" y="303"/>
                    </a:lnTo>
                    <a:lnTo>
                      <a:pt x="295" y="335"/>
                    </a:lnTo>
                    <a:lnTo>
                      <a:pt x="243" y="351"/>
                    </a:lnTo>
                    <a:lnTo>
                      <a:pt x="209" y="351"/>
                    </a:lnTo>
                    <a:lnTo>
                      <a:pt x="157" y="351"/>
                    </a:lnTo>
                    <a:lnTo>
                      <a:pt x="103" y="368"/>
                    </a:lnTo>
                    <a:lnTo>
                      <a:pt x="86" y="368"/>
                    </a:lnTo>
                    <a:lnTo>
                      <a:pt x="69" y="351"/>
                    </a:lnTo>
                    <a:lnTo>
                      <a:pt x="51" y="303"/>
                    </a:lnTo>
                    <a:lnTo>
                      <a:pt x="51" y="287"/>
                    </a:lnTo>
                    <a:lnTo>
                      <a:pt x="17" y="191"/>
                    </a:lnTo>
                    <a:lnTo>
                      <a:pt x="0" y="191"/>
                    </a:lnTo>
                    <a:lnTo>
                      <a:pt x="17" y="176"/>
                    </a:lnTo>
                    <a:lnTo>
                      <a:pt x="34" y="191"/>
                    </a:lnTo>
                    <a:lnTo>
                      <a:pt x="69" y="191"/>
                    </a:lnTo>
                    <a:lnTo>
                      <a:pt x="103" y="176"/>
                    </a:lnTo>
                    <a:lnTo>
                      <a:pt x="103" y="80"/>
                    </a:lnTo>
                    <a:lnTo>
                      <a:pt x="121" y="96"/>
                    </a:lnTo>
                    <a:lnTo>
                      <a:pt x="121" y="128"/>
                    </a:lnTo>
                    <a:lnTo>
                      <a:pt x="157" y="128"/>
                    </a:lnTo>
                    <a:lnTo>
                      <a:pt x="209" y="96"/>
                    </a:lnTo>
                    <a:lnTo>
                      <a:pt x="226" y="111"/>
                    </a:lnTo>
                    <a:lnTo>
                      <a:pt x="243" y="96"/>
                    </a:lnTo>
                    <a:lnTo>
                      <a:pt x="313" y="32"/>
                    </a:lnTo>
                    <a:lnTo>
                      <a:pt x="364" y="0"/>
                    </a:lnTo>
                    <a:lnTo>
                      <a:pt x="399" y="15"/>
                    </a:lnTo>
                    <a:lnTo>
                      <a:pt x="416" y="1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30" name="Freeform 266">
                <a:extLst>
                  <a:ext uri="{FF2B5EF4-FFF2-40B4-BE49-F238E27FC236}">
                    <a16:creationId xmlns:a16="http://schemas.microsoft.com/office/drawing/2014/main" id="{961CCF4B-68D6-F64A-8C77-BAB0621EB7FB}"/>
                  </a:ext>
                </a:extLst>
              </p:cNvPr>
              <p:cNvSpPr>
                <a:spLocks/>
              </p:cNvSpPr>
              <p:nvPr>
                <p:custDataLst>
                  <p:tags r:id="rId292"/>
                </p:custDataLst>
              </p:nvPr>
            </p:nvSpPr>
            <p:spPr bwMode="auto">
              <a:xfrm>
                <a:off x="5148262" y="4999038"/>
                <a:ext cx="207963" cy="190500"/>
              </a:xfrm>
              <a:custGeom>
                <a:avLst/>
                <a:gdLst>
                  <a:gd name="T0" fmla="*/ 0 w 261"/>
                  <a:gd name="T1" fmla="*/ 38100 h 240"/>
                  <a:gd name="T2" fmla="*/ 0 w 261"/>
                  <a:gd name="T3" fmla="*/ 38100 h 240"/>
                  <a:gd name="T4" fmla="*/ 3984 w 261"/>
                  <a:gd name="T5" fmla="*/ 41275 h 240"/>
                  <a:gd name="T6" fmla="*/ 3984 w 261"/>
                  <a:gd name="T7" fmla="*/ 47625 h 240"/>
                  <a:gd name="T8" fmla="*/ 10358 w 261"/>
                  <a:gd name="T9" fmla="*/ 47625 h 240"/>
                  <a:gd name="T10" fmla="*/ 20717 w 261"/>
                  <a:gd name="T11" fmla="*/ 41275 h 240"/>
                  <a:gd name="T12" fmla="*/ 24701 w 261"/>
                  <a:gd name="T13" fmla="*/ 44450 h 240"/>
                  <a:gd name="T14" fmla="*/ 27888 w 261"/>
                  <a:gd name="T15" fmla="*/ 41275 h 240"/>
                  <a:gd name="T16" fmla="*/ 42230 w 261"/>
                  <a:gd name="T17" fmla="*/ 28575 h 240"/>
                  <a:gd name="T18" fmla="*/ 52588 w 261"/>
                  <a:gd name="T19" fmla="*/ 22225 h 240"/>
                  <a:gd name="T20" fmla="*/ 45417 w 261"/>
                  <a:gd name="T21" fmla="*/ 22225 h 240"/>
                  <a:gd name="T22" fmla="*/ 42230 w 261"/>
                  <a:gd name="T23" fmla="*/ 15875 h 240"/>
                  <a:gd name="T24" fmla="*/ 35059 w 261"/>
                  <a:gd name="T25" fmla="*/ 9525 h 240"/>
                  <a:gd name="T26" fmla="*/ 27888 w 261"/>
                  <a:gd name="T27" fmla="*/ 0 h 240"/>
                  <a:gd name="T28" fmla="*/ 20717 w 261"/>
                  <a:gd name="T29" fmla="*/ 6350 h 240"/>
                  <a:gd name="T30" fmla="*/ 17529 w 261"/>
                  <a:gd name="T31" fmla="*/ 3175 h 240"/>
                  <a:gd name="T32" fmla="*/ 7171 w 261"/>
                  <a:gd name="T33" fmla="*/ 3175 h 240"/>
                  <a:gd name="T34" fmla="*/ 3984 w 261"/>
                  <a:gd name="T35" fmla="*/ 22225 h 240"/>
                  <a:gd name="T36" fmla="*/ 0 w 261"/>
                  <a:gd name="T37" fmla="*/ 24606 h 240"/>
                  <a:gd name="T38" fmla="*/ 0 w 261"/>
                  <a:gd name="T39" fmla="*/ 38100 h 24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61"/>
                  <a:gd name="T61" fmla="*/ 0 h 240"/>
                  <a:gd name="T62" fmla="*/ 261 w 261"/>
                  <a:gd name="T63" fmla="*/ 240 h 240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61" h="240">
                    <a:moveTo>
                      <a:pt x="0" y="192"/>
                    </a:moveTo>
                    <a:lnTo>
                      <a:pt x="0" y="192"/>
                    </a:lnTo>
                    <a:lnTo>
                      <a:pt x="18" y="208"/>
                    </a:lnTo>
                    <a:lnTo>
                      <a:pt x="18" y="240"/>
                    </a:lnTo>
                    <a:lnTo>
                      <a:pt x="52" y="240"/>
                    </a:lnTo>
                    <a:lnTo>
                      <a:pt x="104" y="208"/>
                    </a:lnTo>
                    <a:lnTo>
                      <a:pt x="121" y="223"/>
                    </a:lnTo>
                    <a:lnTo>
                      <a:pt x="139" y="208"/>
                    </a:lnTo>
                    <a:lnTo>
                      <a:pt x="210" y="144"/>
                    </a:lnTo>
                    <a:lnTo>
                      <a:pt x="261" y="112"/>
                    </a:lnTo>
                    <a:lnTo>
                      <a:pt x="227" y="112"/>
                    </a:lnTo>
                    <a:lnTo>
                      <a:pt x="210" y="79"/>
                    </a:lnTo>
                    <a:lnTo>
                      <a:pt x="173" y="48"/>
                    </a:lnTo>
                    <a:lnTo>
                      <a:pt x="139" y="0"/>
                    </a:lnTo>
                    <a:lnTo>
                      <a:pt x="104" y="31"/>
                    </a:lnTo>
                    <a:lnTo>
                      <a:pt x="87" y="16"/>
                    </a:lnTo>
                    <a:lnTo>
                      <a:pt x="35" y="16"/>
                    </a:lnTo>
                    <a:lnTo>
                      <a:pt x="18" y="112"/>
                    </a:lnTo>
                    <a:lnTo>
                      <a:pt x="0" y="127"/>
                    </a:lnTo>
                    <a:lnTo>
                      <a:pt x="0" y="19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31" name="Freeform 267">
                <a:extLst>
                  <a:ext uri="{FF2B5EF4-FFF2-40B4-BE49-F238E27FC236}">
                    <a16:creationId xmlns:a16="http://schemas.microsoft.com/office/drawing/2014/main" id="{8E58C53A-55CC-9E4F-A960-94012BD72828}"/>
                  </a:ext>
                </a:extLst>
              </p:cNvPr>
              <p:cNvSpPr>
                <a:spLocks/>
              </p:cNvSpPr>
              <p:nvPr>
                <p:custDataLst>
                  <p:tags r:id="rId293"/>
                </p:custDataLst>
              </p:nvPr>
            </p:nvSpPr>
            <p:spPr bwMode="auto">
              <a:xfrm>
                <a:off x="5259387" y="4960938"/>
                <a:ext cx="179388" cy="138113"/>
              </a:xfrm>
              <a:custGeom>
                <a:avLst/>
                <a:gdLst>
                  <a:gd name="T0" fmla="*/ 27905 w 225"/>
                  <a:gd name="T1" fmla="*/ 0 h 175"/>
                  <a:gd name="T2" fmla="*/ 27905 w 225"/>
                  <a:gd name="T3" fmla="*/ 0 h 175"/>
                  <a:gd name="T4" fmla="*/ 20729 w 225"/>
                  <a:gd name="T5" fmla="*/ 0 h 175"/>
                  <a:gd name="T6" fmla="*/ 20729 w 225"/>
                  <a:gd name="T7" fmla="*/ 3157 h 175"/>
                  <a:gd name="T8" fmla="*/ 10365 w 225"/>
                  <a:gd name="T9" fmla="*/ 9471 h 175"/>
                  <a:gd name="T10" fmla="*/ 0 w 225"/>
                  <a:gd name="T11" fmla="*/ 9471 h 175"/>
                  <a:gd name="T12" fmla="*/ 7176 w 225"/>
                  <a:gd name="T13" fmla="*/ 18941 h 175"/>
                  <a:gd name="T14" fmla="*/ 14351 w 225"/>
                  <a:gd name="T15" fmla="*/ 24466 h 175"/>
                  <a:gd name="T16" fmla="*/ 17540 w 225"/>
                  <a:gd name="T17" fmla="*/ 31569 h 175"/>
                  <a:gd name="T18" fmla="*/ 24716 w 225"/>
                  <a:gd name="T19" fmla="*/ 31569 h 175"/>
                  <a:gd name="T20" fmla="*/ 31094 w 225"/>
                  <a:gd name="T21" fmla="*/ 33936 h 175"/>
                  <a:gd name="T22" fmla="*/ 35080 w 225"/>
                  <a:gd name="T23" fmla="*/ 33936 h 175"/>
                  <a:gd name="T24" fmla="*/ 41459 w 225"/>
                  <a:gd name="T25" fmla="*/ 22098 h 175"/>
                  <a:gd name="T26" fmla="*/ 45445 w 225"/>
                  <a:gd name="T27" fmla="*/ 9471 h 175"/>
                  <a:gd name="T28" fmla="*/ 41459 w 225"/>
                  <a:gd name="T29" fmla="*/ 3157 h 175"/>
                  <a:gd name="T30" fmla="*/ 35080 w 225"/>
                  <a:gd name="T31" fmla="*/ 0 h 175"/>
                  <a:gd name="T32" fmla="*/ 27905 w 225"/>
                  <a:gd name="T33" fmla="*/ 0 h 17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25"/>
                  <a:gd name="T52" fmla="*/ 0 h 175"/>
                  <a:gd name="T53" fmla="*/ 225 w 225"/>
                  <a:gd name="T54" fmla="*/ 175 h 17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25" h="175">
                    <a:moveTo>
                      <a:pt x="139" y="0"/>
                    </a:moveTo>
                    <a:lnTo>
                      <a:pt x="139" y="0"/>
                    </a:lnTo>
                    <a:lnTo>
                      <a:pt x="104" y="0"/>
                    </a:lnTo>
                    <a:lnTo>
                      <a:pt x="104" y="16"/>
                    </a:lnTo>
                    <a:lnTo>
                      <a:pt x="52" y="48"/>
                    </a:lnTo>
                    <a:lnTo>
                      <a:pt x="0" y="48"/>
                    </a:lnTo>
                    <a:lnTo>
                      <a:pt x="35" y="96"/>
                    </a:lnTo>
                    <a:lnTo>
                      <a:pt x="70" y="127"/>
                    </a:lnTo>
                    <a:lnTo>
                      <a:pt x="87" y="160"/>
                    </a:lnTo>
                    <a:lnTo>
                      <a:pt x="121" y="160"/>
                    </a:lnTo>
                    <a:lnTo>
                      <a:pt x="156" y="175"/>
                    </a:lnTo>
                    <a:lnTo>
                      <a:pt x="173" y="175"/>
                    </a:lnTo>
                    <a:lnTo>
                      <a:pt x="208" y="112"/>
                    </a:lnTo>
                    <a:lnTo>
                      <a:pt x="225" y="48"/>
                    </a:lnTo>
                    <a:lnTo>
                      <a:pt x="208" y="16"/>
                    </a:lnTo>
                    <a:lnTo>
                      <a:pt x="173" y="0"/>
                    </a:ln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32" name="Freeform 268">
                <a:extLst>
                  <a:ext uri="{FF2B5EF4-FFF2-40B4-BE49-F238E27FC236}">
                    <a16:creationId xmlns:a16="http://schemas.microsoft.com/office/drawing/2014/main" id="{D99BE0B6-C8ED-7B49-AA74-5621237A1584}"/>
                  </a:ext>
                </a:extLst>
              </p:cNvPr>
              <p:cNvSpPr>
                <a:spLocks/>
              </p:cNvSpPr>
              <p:nvPr>
                <p:custDataLst>
                  <p:tags r:id="rId294"/>
                </p:custDataLst>
              </p:nvPr>
            </p:nvSpPr>
            <p:spPr bwMode="auto">
              <a:xfrm>
                <a:off x="5368924" y="4846638"/>
                <a:ext cx="233363" cy="342900"/>
              </a:xfrm>
              <a:custGeom>
                <a:avLst/>
                <a:gdLst>
                  <a:gd name="T0" fmla="*/ 14336 w 293"/>
                  <a:gd name="T1" fmla="*/ 85725 h 432"/>
                  <a:gd name="T2" fmla="*/ 14336 w 293"/>
                  <a:gd name="T3" fmla="*/ 85725 h 432"/>
                  <a:gd name="T4" fmla="*/ 14336 w 293"/>
                  <a:gd name="T5" fmla="*/ 82550 h 432"/>
                  <a:gd name="T6" fmla="*/ 14336 w 293"/>
                  <a:gd name="T7" fmla="*/ 79375 h 432"/>
                  <a:gd name="T8" fmla="*/ 27876 w 293"/>
                  <a:gd name="T9" fmla="*/ 76200 h 432"/>
                  <a:gd name="T10" fmla="*/ 31062 w 293"/>
                  <a:gd name="T11" fmla="*/ 73025 h 432"/>
                  <a:gd name="T12" fmla="*/ 31062 w 293"/>
                  <a:gd name="T13" fmla="*/ 63500 h 432"/>
                  <a:gd name="T14" fmla="*/ 24690 w 293"/>
                  <a:gd name="T15" fmla="*/ 50800 h 432"/>
                  <a:gd name="T16" fmla="*/ 38230 w 293"/>
                  <a:gd name="T17" fmla="*/ 38100 h 432"/>
                  <a:gd name="T18" fmla="*/ 48584 w 293"/>
                  <a:gd name="T19" fmla="*/ 34925 h 432"/>
                  <a:gd name="T20" fmla="*/ 58938 w 293"/>
                  <a:gd name="T21" fmla="*/ 24606 h 432"/>
                  <a:gd name="T22" fmla="*/ 54956 w 293"/>
                  <a:gd name="T23" fmla="*/ 0 h 432"/>
                  <a:gd name="T24" fmla="*/ 48584 w 293"/>
                  <a:gd name="T25" fmla="*/ 5556 h 432"/>
                  <a:gd name="T26" fmla="*/ 34248 w 293"/>
                  <a:gd name="T27" fmla="*/ 5556 h 432"/>
                  <a:gd name="T28" fmla="*/ 27876 w 293"/>
                  <a:gd name="T29" fmla="*/ 5556 h 432"/>
                  <a:gd name="T30" fmla="*/ 24690 w 293"/>
                  <a:gd name="T31" fmla="*/ 9525 h 432"/>
                  <a:gd name="T32" fmla="*/ 27876 w 293"/>
                  <a:gd name="T33" fmla="*/ 15875 h 432"/>
                  <a:gd name="T34" fmla="*/ 31062 w 293"/>
                  <a:gd name="T35" fmla="*/ 22225 h 432"/>
                  <a:gd name="T36" fmla="*/ 31062 w 293"/>
                  <a:gd name="T37" fmla="*/ 28575 h 432"/>
                  <a:gd name="T38" fmla="*/ 27876 w 293"/>
                  <a:gd name="T39" fmla="*/ 34925 h 432"/>
                  <a:gd name="T40" fmla="*/ 24690 w 293"/>
                  <a:gd name="T41" fmla="*/ 28575 h 432"/>
                  <a:gd name="T42" fmla="*/ 24690 w 293"/>
                  <a:gd name="T43" fmla="*/ 22225 h 432"/>
                  <a:gd name="T44" fmla="*/ 20708 w 293"/>
                  <a:gd name="T45" fmla="*/ 22225 h 432"/>
                  <a:gd name="T46" fmla="*/ 17522 w 293"/>
                  <a:gd name="T47" fmla="*/ 19050 h 432"/>
                  <a:gd name="T48" fmla="*/ 0 w 293"/>
                  <a:gd name="T49" fmla="*/ 24606 h 432"/>
                  <a:gd name="T50" fmla="*/ 0 w 293"/>
                  <a:gd name="T51" fmla="*/ 28575 h 432"/>
                  <a:gd name="T52" fmla="*/ 7168 w 293"/>
                  <a:gd name="T53" fmla="*/ 28575 h 432"/>
                  <a:gd name="T54" fmla="*/ 14336 w 293"/>
                  <a:gd name="T55" fmla="*/ 31750 h 432"/>
                  <a:gd name="T56" fmla="*/ 17522 w 293"/>
                  <a:gd name="T57" fmla="*/ 38100 h 432"/>
                  <a:gd name="T58" fmla="*/ 14336 w 293"/>
                  <a:gd name="T59" fmla="*/ 50800 h 432"/>
                  <a:gd name="T60" fmla="*/ 7168 w 293"/>
                  <a:gd name="T61" fmla="*/ 63500 h 432"/>
                  <a:gd name="T62" fmla="*/ 10354 w 293"/>
                  <a:gd name="T63" fmla="*/ 82550 h 432"/>
                  <a:gd name="T64" fmla="*/ 10354 w 293"/>
                  <a:gd name="T65" fmla="*/ 85725 h 432"/>
                  <a:gd name="T66" fmla="*/ 14336 w 293"/>
                  <a:gd name="T67" fmla="*/ 85725 h 43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93"/>
                  <a:gd name="T103" fmla="*/ 0 h 432"/>
                  <a:gd name="T104" fmla="*/ 293 w 293"/>
                  <a:gd name="T105" fmla="*/ 432 h 43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93" h="432">
                    <a:moveTo>
                      <a:pt x="69" y="432"/>
                    </a:moveTo>
                    <a:lnTo>
                      <a:pt x="69" y="432"/>
                    </a:lnTo>
                    <a:lnTo>
                      <a:pt x="69" y="415"/>
                    </a:lnTo>
                    <a:lnTo>
                      <a:pt x="69" y="400"/>
                    </a:lnTo>
                    <a:lnTo>
                      <a:pt x="138" y="384"/>
                    </a:lnTo>
                    <a:lnTo>
                      <a:pt x="155" y="367"/>
                    </a:lnTo>
                    <a:lnTo>
                      <a:pt x="155" y="319"/>
                    </a:lnTo>
                    <a:lnTo>
                      <a:pt x="121" y="256"/>
                    </a:lnTo>
                    <a:lnTo>
                      <a:pt x="190" y="192"/>
                    </a:lnTo>
                    <a:lnTo>
                      <a:pt x="242" y="175"/>
                    </a:lnTo>
                    <a:lnTo>
                      <a:pt x="293" y="127"/>
                    </a:lnTo>
                    <a:lnTo>
                      <a:pt x="276" y="0"/>
                    </a:lnTo>
                    <a:lnTo>
                      <a:pt x="242" y="31"/>
                    </a:lnTo>
                    <a:lnTo>
                      <a:pt x="172" y="31"/>
                    </a:lnTo>
                    <a:lnTo>
                      <a:pt x="138" y="31"/>
                    </a:lnTo>
                    <a:lnTo>
                      <a:pt x="121" y="48"/>
                    </a:lnTo>
                    <a:lnTo>
                      <a:pt x="138" y="79"/>
                    </a:lnTo>
                    <a:lnTo>
                      <a:pt x="155" y="112"/>
                    </a:lnTo>
                    <a:lnTo>
                      <a:pt x="155" y="144"/>
                    </a:lnTo>
                    <a:lnTo>
                      <a:pt x="138" y="175"/>
                    </a:lnTo>
                    <a:lnTo>
                      <a:pt x="121" y="144"/>
                    </a:lnTo>
                    <a:lnTo>
                      <a:pt x="121" y="112"/>
                    </a:lnTo>
                    <a:lnTo>
                      <a:pt x="103" y="112"/>
                    </a:lnTo>
                    <a:lnTo>
                      <a:pt x="86" y="96"/>
                    </a:lnTo>
                    <a:lnTo>
                      <a:pt x="0" y="127"/>
                    </a:lnTo>
                    <a:lnTo>
                      <a:pt x="0" y="144"/>
                    </a:lnTo>
                    <a:lnTo>
                      <a:pt x="34" y="144"/>
                    </a:lnTo>
                    <a:lnTo>
                      <a:pt x="69" y="160"/>
                    </a:lnTo>
                    <a:lnTo>
                      <a:pt x="86" y="192"/>
                    </a:lnTo>
                    <a:lnTo>
                      <a:pt x="69" y="256"/>
                    </a:lnTo>
                    <a:lnTo>
                      <a:pt x="34" y="319"/>
                    </a:lnTo>
                    <a:lnTo>
                      <a:pt x="51" y="415"/>
                    </a:lnTo>
                    <a:lnTo>
                      <a:pt x="51" y="432"/>
                    </a:lnTo>
                    <a:lnTo>
                      <a:pt x="69" y="43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33" name="Freeform 269">
                <a:extLst>
                  <a:ext uri="{FF2B5EF4-FFF2-40B4-BE49-F238E27FC236}">
                    <a16:creationId xmlns:a16="http://schemas.microsoft.com/office/drawing/2014/main" id="{445C4743-60BD-724C-A47F-E7A1948E745F}"/>
                  </a:ext>
                </a:extLst>
              </p:cNvPr>
              <p:cNvSpPr>
                <a:spLocks/>
              </p:cNvSpPr>
              <p:nvPr>
                <p:custDataLst>
                  <p:tags r:id="rId295"/>
                </p:custDataLst>
              </p:nvPr>
            </p:nvSpPr>
            <p:spPr bwMode="auto">
              <a:xfrm>
                <a:off x="5424487" y="4833938"/>
                <a:ext cx="68263" cy="152400"/>
              </a:xfrm>
              <a:custGeom>
                <a:avLst/>
                <a:gdLst>
                  <a:gd name="T0" fmla="*/ 3969 w 86"/>
                  <a:gd name="T1" fmla="*/ 22225 h 192"/>
                  <a:gd name="T2" fmla="*/ 3969 w 86"/>
                  <a:gd name="T3" fmla="*/ 22225 h 192"/>
                  <a:gd name="T4" fmla="*/ 0 w 86"/>
                  <a:gd name="T5" fmla="*/ 19050 h 192"/>
                  <a:gd name="T6" fmla="*/ 3969 w 86"/>
                  <a:gd name="T7" fmla="*/ 13494 h 192"/>
                  <a:gd name="T8" fmla="*/ 3969 w 86"/>
                  <a:gd name="T9" fmla="*/ 9525 h 192"/>
                  <a:gd name="T10" fmla="*/ 7144 w 86"/>
                  <a:gd name="T11" fmla="*/ 7144 h 192"/>
                  <a:gd name="T12" fmla="*/ 3969 w 86"/>
                  <a:gd name="T13" fmla="*/ 0 h 192"/>
                  <a:gd name="T14" fmla="*/ 7144 w 86"/>
                  <a:gd name="T15" fmla="*/ 0 h 192"/>
                  <a:gd name="T16" fmla="*/ 10319 w 86"/>
                  <a:gd name="T17" fmla="*/ 0 h 192"/>
                  <a:gd name="T18" fmla="*/ 14288 w 86"/>
                  <a:gd name="T19" fmla="*/ 9525 h 192"/>
                  <a:gd name="T20" fmla="*/ 10319 w 86"/>
                  <a:gd name="T21" fmla="*/ 13494 h 192"/>
                  <a:gd name="T22" fmla="*/ 14288 w 86"/>
                  <a:gd name="T23" fmla="*/ 19050 h 192"/>
                  <a:gd name="T24" fmla="*/ 17463 w 86"/>
                  <a:gd name="T25" fmla="*/ 26194 h 192"/>
                  <a:gd name="T26" fmla="*/ 17463 w 86"/>
                  <a:gd name="T27" fmla="*/ 32544 h 192"/>
                  <a:gd name="T28" fmla="*/ 14288 w 86"/>
                  <a:gd name="T29" fmla="*/ 38100 h 192"/>
                  <a:gd name="T30" fmla="*/ 10319 w 86"/>
                  <a:gd name="T31" fmla="*/ 32544 h 192"/>
                  <a:gd name="T32" fmla="*/ 10319 w 86"/>
                  <a:gd name="T33" fmla="*/ 26194 h 192"/>
                  <a:gd name="T34" fmla="*/ 7144 w 86"/>
                  <a:gd name="T35" fmla="*/ 26194 h 192"/>
                  <a:gd name="T36" fmla="*/ 3969 w 86"/>
                  <a:gd name="T37" fmla="*/ 22225 h 19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6"/>
                  <a:gd name="T58" fmla="*/ 0 h 192"/>
                  <a:gd name="T59" fmla="*/ 86 w 86"/>
                  <a:gd name="T60" fmla="*/ 192 h 19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6" h="192">
                    <a:moveTo>
                      <a:pt x="17" y="113"/>
                    </a:moveTo>
                    <a:lnTo>
                      <a:pt x="17" y="113"/>
                    </a:lnTo>
                    <a:lnTo>
                      <a:pt x="0" y="96"/>
                    </a:lnTo>
                    <a:lnTo>
                      <a:pt x="17" y="65"/>
                    </a:lnTo>
                    <a:lnTo>
                      <a:pt x="17" y="48"/>
                    </a:lnTo>
                    <a:lnTo>
                      <a:pt x="34" y="33"/>
                    </a:lnTo>
                    <a:lnTo>
                      <a:pt x="17" y="0"/>
                    </a:lnTo>
                    <a:lnTo>
                      <a:pt x="34" y="0"/>
                    </a:lnTo>
                    <a:lnTo>
                      <a:pt x="52" y="0"/>
                    </a:lnTo>
                    <a:lnTo>
                      <a:pt x="69" y="48"/>
                    </a:lnTo>
                    <a:lnTo>
                      <a:pt x="52" y="65"/>
                    </a:lnTo>
                    <a:lnTo>
                      <a:pt x="69" y="96"/>
                    </a:lnTo>
                    <a:lnTo>
                      <a:pt x="86" y="129"/>
                    </a:lnTo>
                    <a:lnTo>
                      <a:pt x="86" y="161"/>
                    </a:lnTo>
                    <a:lnTo>
                      <a:pt x="69" y="192"/>
                    </a:lnTo>
                    <a:lnTo>
                      <a:pt x="52" y="161"/>
                    </a:lnTo>
                    <a:lnTo>
                      <a:pt x="52" y="129"/>
                    </a:lnTo>
                    <a:lnTo>
                      <a:pt x="34" y="129"/>
                    </a:lnTo>
                    <a:lnTo>
                      <a:pt x="17" y="11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34" name="Freeform 270">
                <a:extLst>
                  <a:ext uri="{FF2B5EF4-FFF2-40B4-BE49-F238E27FC236}">
                    <a16:creationId xmlns:a16="http://schemas.microsoft.com/office/drawing/2014/main" id="{B4C025C4-F503-584C-8DDF-2B293705A972}"/>
                  </a:ext>
                </a:extLst>
              </p:cNvPr>
              <p:cNvSpPr>
                <a:spLocks/>
              </p:cNvSpPr>
              <p:nvPr>
                <p:custDataLst>
                  <p:tags r:id="rId296"/>
                </p:custDataLst>
              </p:nvPr>
            </p:nvSpPr>
            <p:spPr bwMode="auto">
              <a:xfrm>
                <a:off x="5383212" y="5175251"/>
                <a:ext cx="26988" cy="26988"/>
              </a:xfrm>
              <a:custGeom>
                <a:avLst/>
                <a:gdLst>
                  <a:gd name="T0" fmla="*/ 7144 w 34"/>
                  <a:gd name="T1" fmla="*/ 4217 h 32"/>
                  <a:gd name="T2" fmla="*/ 7144 w 34"/>
                  <a:gd name="T3" fmla="*/ 4217 h 32"/>
                  <a:gd name="T4" fmla="*/ 7144 w 34"/>
                  <a:gd name="T5" fmla="*/ 0 h 32"/>
                  <a:gd name="T6" fmla="*/ 3175 w 34"/>
                  <a:gd name="T7" fmla="*/ 0 h 32"/>
                  <a:gd name="T8" fmla="*/ 0 w 34"/>
                  <a:gd name="T9" fmla="*/ 4217 h 32"/>
                  <a:gd name="T10" fmla="*/ 3175 w 34"/>
                  <a:gd name="T11" fmla="*/ 7590 h 32"/>
                  <a:gd name="T12" fmla="*/ 7144 w 34"/>
                  <a:gd name="T13" fmla="*/ 4217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32"/>
                  <a:gd name="T23" fmla="*/ 34 w 34"/>
                  <a:gd name="T24" fmla="*/ 32 h 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32">
                    <a:moveTo>
                      <a:pt x="34" y="17"/>
                    </a:moveTo>
                    <a:lnTo>
                      <a:pt x="34" y="17"/>
                    </a:lnTo>
                    <a:lnTo>
                      <a:pt x="34" y="0"/>
                    </a:lnTo>
                    <a:lnTo>
                      <a:pt x="17" y="0"/>
                    </a:lnTo>
                    <a:lnTo>
                      <a:pt x="0" y="17"/>
                    </a:lnTo>
                    <a:lnTo>
                      <a:pt x="17" y="32"/>
                    </a:lnTo>
                    <a:lnTo>
                      <a:pt x="34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35" name="Freeform 271">
                <a:extLst>
                  <a:ext uri="{FF2B5EF4-FFF2-40B4-BE49-F238E27FC236}">
                    <a16:creationId xmlns:a16="http://schemas.microsoft.com/office/drawing/2014/main" id="{B93E6DB9-AD78-A34B-B84D-82503ADDDD66}"/>
                  </a:ext>
                </a:extLst>
              </p:cNvPr>
              <p:cNvSpPr>
                <a:spLocks/>
              </p:cNvSpPr>
              <p:nvPr>
                <p:custDataLst>
                  <p:tags r:id="rId297"/>
                </p:custDataLst>
              </p:nvPr>
            </p:nvSpPr>
            <p:spPr bwMode="auto">
              <a:xfrm>
                <a:off x="5659437" y="4884738"/>
                <a:ext cx="149225" cy="279400"/>
              </a:xfrm>
              <a:custGeom>
                <a:avLst/>
                <a:gdLst>
                  <a:gd name="T0" fmla="*/ 0 w 189"/>
                  <a:gd name="T1" fmla="*/ 50800 h 352"/>
                  <a:gd name="T2" fmla="*/ 0 w 189"/>
                  <a:gd name="T3" fmla="*/ 50800 h 352"/>
                  <a:gd name="T4" fmla="*/ 3158 w 189"/>
                  <a:gd name="T5" fmla="*/ 63500 h 352"/>
                  <a:gd name="T6" fmla="*/ 6316 w 189"/>
                  <a:gd name="T7" fmla="*/ 69850 h 352"/>
                  <a:gd name="T8" fmla="*/ 16581 w 189"/>
                  <a:gd name="T9" fmla="*/ 69850 h 352"/>
                  <a:gd name="T10" fmla="*/ 20528 w 189"/>
                  <a:gd name="T11" fmla="*/ 66675 h 352"/>
                  <a:gd name="T12" fmla="*/ 30792 w 189"/>
                  <a:gd name="T13" fmla="*/ 31750 h 352"/>
                  <a:gd name="T14" fmla="*/ 33951 w 189"/>
                  <a:gd name="T15" fmla="*/ 15875 h 352"/>
                  <a:gd name="T16" fmla="*/ 37109 w 189"/>
                  <a:gd name="T17" fmla="*/ 19050 h 352"/>
                  <a:gd name="T18" fmla="*/ 37109 w 189"/>
                  <a:gd name="T19" fmla="*/ 15875 h 352"/>
                  <a:gd name="T20" fmla="*/ 33951 w 189"/>
                  <a:gd name="T21" fmla="*/ 3175 h 352"/>
                  <a:gd name="T22" fmla="*/ 30792 w 189"/>
                  <a:gd name="T23" fmla="*/ 0 h 352"/>
                  <a:gd name="T24" fmla="*/ 26845 w 189"/>
                  <a:gd name="T25" fmla="*/ 5556 h 352"/>
                  <a:gd name="T26" fmla="*/ 23687 w 189"/>
                  <a:gd name="T27" fmla="*/ 5556 h 352"/>
                  <a:gd name="T28" fmla="*/ 23687 w 189"/>
                  <a:gd name="T29" fmla="*/ 12700 h 352"/>
                  <a:gd name="T30" fmla="*/ 6316 w 189"/>
                  <a:gd name="T31" fmla="*/ 22225 h 352"/>
                  <a:gd name="T32" fmla="*/ 3158 w 189"/>
                  <a:gd name="T33" fmla="*/ 28575 h 352"/>
                  <a:gd name="T34" fmla="*/ 6316 w 189"/>
                  <a:gd name="T35" fmla="*/ 41275 h 352"/>
                  <a:gd name="T36" fmla="*/ 0 w 189"/>
                  <a:gd name="T37" fmla="*/ 50800 h 35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89"/>
                  <a:gd name="T58" fmla="*/ 0 h 352"/>
                  <a:gd name="T59" fmla="*/ 189 w 189"/>
                  <a:gd name="T60" fmla="*/ 352 h 35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89" h="352">
                    <a:moveTo>
                      <a:pt x="0" y="256"/>
                    </a:moveTo>
                    <a:lnTo>
                      <a:pt x="0" y="256"/>
                    </a:lnTo>
                    <a:lnTo>
                      <a:pt x="18" y="319"/>
                    </a:lnTo>
                    <a:lnTo>
                      <a:pt x="35" y="352"/>
                    </a:lnTo>
                    <a:lnTo>
                      <a:pt x="87" y="352"/>
                    </a:lnTo>
                    <a:lnTo>
                      <a:pt x="104" y="336"/>
                    </a:lnTo>
                    <a:lnTo>
                      <a:pt x="156" y="160"/>
                    </a:lnTo>
                    <a:lnTo>
                      <a:pt x="173" y="79"/>
                    </a:lnTo>
                    <a:lnTo>
                      <a:pt x="189" y="96"/>
                    </a:lnTo>
                    <a:lnTo>
                      <a:pt x="189" y="79"/>
                    </a:lnTo>
                    <a:lnTo>
                      <a:pt x="173" y="16"/>
                    </a:lnTo>
                    <a:lnTo>
                      <a:pt x="156" y="0"/>
                    </a:lnTo>
                    <a:lnTo>
                      <a:pt x="139" y="31"/>
                    </a:lnTo>
                    <a:lnTo>
                      <a:pt x="121" y="31"/>
                    </a:lnTo>
                    <a:lnTo>
                      <a:pt x="121" y="64"/>
                    </a:lnTo>
                    <a:lnTo>
                      <a:pt x="35" y="112"/>
                    </a:lnTo>
                    <a:lnTo>
                      <a:pt x="18" y="144"/>
                    </a:lnTo>
                    <a:lnTo>
                      <a:pt x="35" y="208"/>
                    </a:lnTo>
                    <a:lnTo>
                      <a:pt x="0" y="256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36" name="Freeform 272">
                <a:extLst>
                  <a:ext uri="{FF2B5EF4-FFF2-40B4-BE49-F238E27FC236}">
                    <a16:creationId xmlns:a16="http://schemas.microsoft.com/office/drawing/2014/main" id="{F373646A-98FC-D14D-9BC3-E0118AE85224}"/>
                  </a:ext>
                </a:extLst>
              </p:cNvPr>
              <p:cNvSpPr>
                <a:spLocks/>
              </p:cNvSpPr>
              <p:nvPr>
                <p:custDataLst>
                  <p:tags r:id="rId298"/>
                </p:custDataLst>
              </p:nvPr>
            </p:nvSpPr>
            <p:spPr bwMode="auto">
              <a:xfrm>
                <a:off x="5962649" y="5049838"/>
                <a:ext cx="11113" cy="11113"/>
              </a:xfrm>
              <a:custGeom>
                <a:avLst/>
                <a:gdLst>
                  <a:gd name="T0" fmla="*/ 0 w 16"/>
                  <a:gd name="T1" fmla="*/ 2223 h 15"/>
                  <a:gd name="T2" fmla="*/ 0 w 16"/>
                  <a:gd name="T3" fmla="*/ 2223 h 15"/>
                  <a:gd name="T4" fmla="*/ 2084 w 16"/>
                  <a:gd name="T5" fmla="*/ 2223 h 15"/>
                  <a:gd name="T6" fmla="*/ 0 w 16"/>
                  <a:gd name="T7" fmla="*/ 0 h 15"/>
                  <a:gd name="T8" fmla="*/ 0 w 16"/>
                  <a:gd name="T9" fmla="*/ 2223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5"/>
                  <a:gd name="T17" fmla="*/ 16 w 16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5">
                    <a:moveTo>
                      <a:pt x="0" y="15"/>
                    </a:moveTo>
                    <a:lnTo>
                      <a:pt x="0" y="15"/>
                    </a:lnTo>
                    <a:lnTo>
                      <a:pt x="16" y="15"/>
                    </a:lnTo>
                    <a:lnTo>
                      <a:pt x="0" y="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37" name="Freeform 273">
                <a:extLst>
                  <a:ext uri="{FF2B5EF4-FFF2-40B4-BE49-F238E27FC236}">
                    <a16:creationId xmlns:a16="http://schemas.microsoft.com/office/drawing/2014/main" id="{44D090F9-A90D-E64C-B6E0-E0E51769EC0F}"/>
                  </a:ext>
                </a:extLst>
              </p:cNvPr>
              <p:cNvSpPr>
                <a:spLocks/>
              </p:cNvSpPr>
              <p:nvPr>
                <p:custDataLst>
                  <p:tags r:id="rId299"/>
                </p:custDataLst>
              </p:nvPr>
            </p:nvSpPr>
            <p:spPr bwMode="auto">
              <a:xfrm>
                <a:off x="4900613" y="4567238"/>
                <a:ext cx="12700" cy="12700"/>
              </a:xfrm>
              <a:custGeom>
                <a:avLst/>
                <a:gdLst>
                  <a:gd name="T0" fmla="*/ 0 w 18"/>
                  <a:gd name="T1" fmla="*/ 2822 h 18"/>
                  <a:gd name="T2" fmla="*/ 0 w 18"/>
                  <a:gd name="T3" fmla="*/ 2822 h 18"/>
                  <a:gd name="T4" fmla="*/ 2822 w 18"/>
                  <a:gd name="T5" fmla="*/ 0 h 18"/>
                  <a:gd name="T6" fmla="*/ 0 w 18"/>
                  <a:gd name="T7" fmla="*/ 0 h 18"/>
                  <a:gd name="T8" fmla="*/ 0 w 18"/>
                  <a:gd name="T9" fmla="*/ 2822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8"/>
                  <a:gd name="T17" fmla="*/ 18 w 18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8">
                    <a:moveTo>
                      <a:pt x="0" y="18"/>
                    </a:moveTo>
                    <a:lnTo>
                      <a:pt x="0" y="18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38" name="Freeform 274">
                <a:extLst>
                  <a:ext uri="{FF2B5EF4-FFF2-40B4-BE49-F238E27FC236}">
                    <a16:creationId xmlns:a16="http://schemas.microsoft.com/office/drawing/2014/main" id="{599A2490-C3E9-C64C-99E2-9F4378FAD68F}"/>
                  </a:ext>
                </a:extLst>
              </p:cNvPr>
              <p:cNvSpPr>
                <a:spLocks/>
              </p:cNvSpPr>
              <p:nvPr>
                <p:custDataLst>
                  <p:tags r:id="rId300"/>
                </p:custDataLst>
              </p:nvPr>
            </p:nvSpPr>
            <p:spPr bwMode="auto">
              <a:xfrm>
                <a:off x="5300662" y="5227638"/>
                <a:ext cx="55563" cy="50800"/>
              </a:xfrm>
              <a:custGeom>
                <a:avLst/>
                <a:gdLst>
                  <a:gd name="T0" fmla="*/ 14495 w 69"/>
                  <a:gd name="T1" fmla="*/ 6451 h 63"/>
                  <a:gd name="T2" fmla="*/ 14495 w 69"/>
                  <a:gd name="T3" fmla="*/ 6451 h 63"/>
                  <a:gd name="T4" fmla="*/ 10468 w 69"/>
                  <a:gd name="T5" fmla="*/ 9676 h 63"/>
                  <a:gd name="T6" fmla="*/ 4026 w 69"/>
                  <a:gd name="T7" fmla="*/ 12902 h 63"/>
                  <a:gd name="T8" fmla="*/ 0 w 69"/>
                  <a:gd name="T9" fmla="*/ 9676 h 63"/>
                  <a:gd name="T10" fmla="*/ 7247 w 69"/>
                  <a:gd name="T11" fmla="*/ 0 h 63"/>
                  <a:gd name="T12" fmla="*/ 10468 w 69"/>
                  <a:gd name="T13" fmla="*/ 3225 h 63"/>
                  <a:gd name="T14" fmla="*/ 14495 w 69"/>
                  <a:gd name="T15" fmla="*/ 6451 h 6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9"/>
                  <a:gd name="T25" fmla="*/ 0 h 63"/>
                  <a:gd name="T26" fmla="*/ 69 w 69"/>
                  <a:gd name="T27" fmla="*/ 63 h 6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9" h="63">
                    <a:moveTo>
                      <a:pt x="69" y="31"/>
                    </a:moveTo>
                    <a:lnTo>
                      <a:pt x="69" y="31"/>
                    </a:lnTo>
                    <a:lnTo>
                      <a:pt x="52" y="48"/>
                    </a:lnTo>
                    <a:lnTo>
                      <a:pt x="18" y="63"/>
                    </a:lnTo>
                    <a:lnTo>
                      <a:pt x="0" y="48"/>
                    </a:lnTo>
                    <a:lnTo>
                      <a:pt x="35" y="0"/>
                    </a:lnTo>
                    <a:lnTo>
                      <a:pt x="52" y="15"/>
                    </a:lnTo>
                    <a:lnTo>
                      <a:pt x="69" y="31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39" name="Freeform 275">
                <a:extLst>
                  <a:ext uri="{FF2B5EF4-FFF2-40B4-BE49-F238E27FC236}">
                    <a16:creationId xmlns:a16="http://schemas.microsoft.com/office/drawing/2014/main" id="{E81B35A4-2A71-624A-92B7-B6175D0E9BEF}"/>
                  </a:ext>
                </a:extLst>
              </p:cNvPr>
              <p:cNvSpPr>
                <a:spLocks/>
              </p:cNvSpPr>
              <p:nvPr>
                <p:custDataLst>
                  <p:tags r:id="rId301"/>
                </p:custDataLst>
              </p:nvPr>
            </p:nvSpPr>
            <p:spPr bwMode="auto">
              <a:xfrm>
                <a:off x="5356224" y="4656138"/>
                <a:ext cx="234950" cy="215900"/>
              </a:xfrm>
              <a:custGeom>
                <a:avLst/>
                <a:gdLst>
                  <a:gd name="T0" fmla="*/ 20637 w 296"/>
                  <a:gd name="T1" fmla="*/ 44779 h 270"/>
                  <a:gd name="T2" fmla="*/ 20637 w 296"/>
                  <a:gd name="T3" fmla="*/ 44779 h 270"/>
                  <a:gd name="T4" fmla="*/ 10319 w 296"/>
                  <a:gd name="T5" fmla="*/ 38382 h 270"/>
                  <a:gd name="T6" fmla="*/ 7144 w 296"/>
                  <a:gd name="T7" fmla="*/ 38382 h 270"/>
                  <a:gd name="T8" fmla="*/ 0 w 296"/>
                  <a:gd name="T9" fmla="*/ 28787 h 270"/>
                  <a:gd name="T10" fmla="*/ 0 w 296"/>
                  <a:gd name="T11" fmla="*/ 19191 h 270"/>
                  <a:gd name="T12" fmla="*/ 7144 w 296"/>
                  <a:gd name="T13" fmla="*/ 12794 h 270"/>
                  <a:gd name="T14" fmla="*/ 7144 w 296"/>
                  <a:gd name="T15" fmla="*/ 9596 h 270"/>
                  <a:gd name="T16" fmla="*/ 7144 w 296"/>
                  <a:gd name="T17" fmla="*/ 6397 h 270"/>
                  <a:gd name="T18" fmla="*/ 7144 w 296"/>
                  <a:gd name="T19" fmla="*/ 0 h 270"/>
                  <a:gd name="T20" fmla="*/ 14288 w 296"/>
                  <a:gd name="T21" fmla="*/ 0 h 270"/>
                  <a:gd name="T22" fmla="*/ 23812 w 296"/>
                  <a:gd name="T23" fmla="*/ 0 h 270"/>
                  <a:gd name="T24" fmla="*/ 27781 w 296"/>
                  <a:gd name="T25" fmla="*/ 0 h 270"/>
                  <a:gd name="T26" fmla="*/ 44450 w 296"/>
                  <a:gd name="T27" fmla="*/ 9596 h 270"/>
                  <a:gd name="T28" fmla="*/ 44450 w 296"/>
                  <a:gd name="T29" fmla="*/ 15993 h 270"/>
                  <a:gd name="T30" fmla="*/ 55563 w 296"/>
                  <a:gd name="T31" fmla="*/ 19191 h 270"/>
                  <a:gd name="T32" fmla="*/ 52388 w 296"/>
                  <a:gd name="T33" fmla="*/ 25588 h 270"/>
                  <a:gd name="T34" fmla="*/ 55563 w 296"/>
                  <a:gd name="T35" fmla="*/ 31985 h 270"/>
                  <a:gd name="T36" fmla="*/ 55563 w 296"/>
                  <a:gd name="T37" fmla="*/ 41581 h 270"/>
                  <a:gd name="T38" fmla="*/ 55563 w 296"/>
                  <a:gd name="T39" fmla="*/ 44779 h 270"/>
                  <a:gd name="T40" fmla="*/ 58738 w 296"/>
                  <a:gd name="T41" fmla="*/ 47978 h 270"/>
                  <a:gd name="T42" fmla="*/ 52388 w 296"/>
                  <a:gd name="T43" fmla="*/ 55174 h 270"/>
                  <a:gd name="T44" fmla="*/ 37306 w 296"/>
                  <a:gd name="T45" fmla="*/ 55174 h 270"/>
                  <a:gd name="T46" fmla="*/ 30956 w 296"/>
                  <a:gd name="T47" fmla="*/ 55174 h 270"/>
                  <a:gd name="T48" fmla="*/ 27781 w 296"/>
                  <a:gd name="T49" fmla="*/ 44779 h 270"/>
                  <a:gd name="T50" fmla="*/ 23812 w 296"/>
                  <a:gd name="T51" fmla="*/ 44779 h 270"/>
                  <a:gd name="T52" fmla="*/ 20637 w 296"/>
                  <a:gd name="T53" fmla="*/ 44779 h 27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296"/>
                  <a:gd name="T82" fmla="*/ 0 h 270"/>
                  <a:gd name="T83" fmla="*/ 296 w 296"/>
                  <a:gd name="T84" fmla="*/ 270 h 270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296" h="270">
                    <a:moveTo>
                      <a:pt x="104" y="222"/>
                    </a:moveTo>
                    <a:lnTo>
                      <a:pt x="104" y="222"/>
                    </a:lnTo>
                    <a:lnTo>
                      <a:pt x="52" y="191"/>
                    </a:lnTo>
                    <a:lnTo>
                      <a:pt x="35" y="191"/>
                    </a:lnTo>
                    <a:lnTo>
                      <a:pt x="0" y="143"/>
                    </a:lnTo>
                    <a:lnTo>
                      <a:pt x="0" y="95"/>
                    </a:lnTo>
                    <a:lnTo>
                      <a:pt x="35" y="63"/>
                    </a:lnTo>
                    <a:lnTo>
                      <a:pt x="35" y="47"/>
                    </a:lnTo>
                    <a:lnTo>
                      <a:pt x="35" y="30"/>
                    </a:lnTo>
                    <a:lnTo>
                      <a:pt x="35" y="0"/>
                    </a:lnTo>
                    <a:lnTo>
                      <a:pt x="69" y="0"/>
                    </a:lnTo>
                    <a:lnTo>
                      <a:pt x="121" y="0"/>
                    </a:lnTo>
                    <a:lnTo>
                      <a:pt x="139" y="0"/>
                    </a:lnTo>
                    <a:lnTo>
                      <a:pt x="225" y="47"/>
                    </a:lnTo>
                    <a:lnTo>
                      <a:pt x="225" y="78"/>
                    </a:lnTo>
                    <a:lnTo>
                      <a:pt x="279" y="95"/>
                    </a:lnTo>
                    <a:lnTo>
                      <a:pt x="261" y="126"/>
                    </a:lnTo>
                    <a:lnTo>
                      <a:pt x="279" y="159"/>
                    </a:lnTo>
                    <a:lnTo>
                      <a:pt x="279" y="207"/>
                    </a:lnTo>
                    <a:lnTo>
                      <a:pt x="279" y="222"/>
                    </a:lnTo>
                    <a:lnTo>
                      <a:pt x="296" y="239"/>
                    </a:lnTo>
                    <a:lnTo>
                      <a:pt x="261" y="270"/>
                    </a:lnTo>
                    <a:lnTo>
                      <a:pt x="190" y="270"/>
                    </a:lnTo>
                    <a:lnTo>
                      <a:pt x="156" y="270"/>
                    </a:lnTo>
                    <a:lnTo>
                      <a:pt x="139" y="222"/>
                    </a:lnTo>
                    <a:lnTo>
                      <a:pt x="121" y="222"/>
                    </a:lnTo>
                    <a:lnTo>
                      <a:pt x="104" y="222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40" name="Freeform 276">
                <a:extLst>
                  <a:ext uri="{FF2B5EF4-FFF2-40B4-BE49-F238E27FC236}">
                    <a16:creationId xmlns:a16="http://schemas.microsoft.com/office/drawing/2014/main" id="{D9F26D19-9129-6A4F-ADF6-EC2A7826821D}"/>
                  </a:ext>
                </a:extLst>
              </p:cNvPr>
              <p:cNvSpPr>
                <a:spLocks/>
              </p:cNvSpPr>
              <p:nvPr>
                <p:custDataLst>
                  <p:tags r:id="rId302"/>
                </p:custDataLst>
              </p:nvPr>
            </p:nvSpPr>
            <p:spPr bwMode="auto">
              <a:xfrm>
                <a:off x="4900613" y="4592638"/>
                <a:ext cx="125413" cy="127000"/>
              </a:xfrm>
              <a:custGeom>
                <a:avLst/>
                <a:gdLst>
                  <a:gd name="T0" fmla="*/ 6271 w 160"/>
                  <a:gd name="T1" fmla="*/ 7189 h 159"/>
                  <a:gd name="T2" fmla="*/ 6271 w 160"/>
                  <a:gd name="T3" fmla="*/ 7189 h 159"/>
                  <a:gd name="T4" fmla="*/ 13325 w 160"/>
                  <a:gd name="T5" fmla="*/ 7189 h 159"/>
                  <a:gd name="T6" fmla="*/ 13325 w 160"/>
                  <a:gd name="T7" fmla="*/ 0 h 159"/>
                  <a:gd name="T8" fmla="*/ 23515 w 160"/>
                  <a:gd name="T9" fmla="*/ 0 h 159"/>
                  <a:gd name="T10" fmla="*/ 23515 w 160"/>
                  <a:gd name="T11" fmla="*/ 7189 h 159"/>
                  <a:gd name="T12" fmla="*/ 27434 w 160"/>
                  <a:gd name="T13" fmla="*/ 3195 h 159"/>
                  <a:gd name="T14" fmla="*/ 30569 w 160"/>
                  <a:gd name="T15" fmla="*/ 7189 h 159"/>
                  <a:gd name="T16" fmla="*/ 30569 w 160"/>
                  <a:gd name="T17" fmla="*/ 9585 h 159"/>
                  <a:gd name="T18" fmla="*/ 30569 w 160"/>
                  <a:gd name="T19" fmla="*/ 22365 h 159"/>
                  <a:gd name="T20" fmla="*/ 20380 w 160"/>
                  <a:gd name="T21" fmla="*/ 22365 h 159"/>
                  <a:gd name="T22" fmla="*/ 17244 w 160"/>
                  <a:gd name="T23" fmla="*/ 25560 h 159"/>
                  <a:gd name="T24" fmla="*/ 17244 w 160"/>
                  <a:gd name="T25" fmla="*/ 28755 h 159"/>
                  <a:gd name="T26" fmla="*/ 13325 w 160"/>
                  <a:gd name="T27" fmla="*/ 28755 h 159"/>
                  <a:gd name="T28" fmla="*/ 13325 w 160"/>
                  <a:gd name="T29" fmla="*/ 31950 h 159"/>
                  <a:gd name="T30" fmla="*/ 6271 w 160"/>
                  <a:gd name="T31" fmla="*/ 25560 h 159"/>
                  <a:gd name="T32" fmla="*/ 0 w 160"/>
                  <a:gd name="T33" fmla="*/ 16774 h 159"/>
                  <a:gd name="T34" fmla="*/ 3135 w 160"/>
                  <a:gd name="T35" fmla="*/ 12780 h 159"/>
                  <a:gd name="T36" fmla="*/ 3135 w 160"/>
                  <a:gd name="T37" fmla="*/ 9585 h 159"/>
                  <a:gd name="T38" fmla="*/ 6271 w 160"/>
                  <a:gd name="T39" fmla="*/ 7189 h 15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60"/>
                  <a:gd name="T61" fmla="*/ 0 h 159"/>
                  <a:gd name="T62" fmla="*/ 160 w 160"/>
                  <a:gd name="T63" fmla="*/ 159 h 15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60" h="159">
                    <a:moveTo>
                      <a:pt x="35" y="33"/>
                    </a:moveTo>
                    <a:lnTo>
                      <a:pt x="35" y="33"/>
                    </a:lnTo>
                    <a:lnTo>
                      <a:pt x="71" y="33"/>
                    </a:lnTo>
                    <a:lnTo>
                      <a:pt x="71" y="0"/>
                    </a:lnTo>
                    <a:lnTo>
                      <a:pt x="123" y="0"/>
                    </a:lnTo>
                    <a:lnTo>
                      <a:pt x="123" y="33"/>
                    </a:lnTo>
                    <a:lnTo>
                      <a:pt x="142" y="15"/>
                    </a:lnTo>
                    <a:lnTo>
                      <a:pt x="160" y="33"/>
                    </a:lnTo>
                    <a:lnTo>
                      <a:pt x="160" y="48"/>
                    </a:lnTo>
                    <a:lnTo>
                      <a:pt x="160" y="111"/>
                    </a:lnTo>
                    <a:lnTo>
                      <a:pt x="106" y="111"/>
                    </a:lnTo>
                    <a:lnTo>
                      <a:pt x="89" y="128"/>
                    </a:lnTo>
                    <a:lnTo>
                      <a:pt x="89" y="144"/>
                    </a:lnTo>
                    <a:lnTo>
                      <a:pt x="71" y="144"/>
                    </a:lnTo>
                    <a:lnTo>
                      <a:pt x="71" y="159"/>
                    </a:lnTo>
                    <a:lnTo>
                      <a:pt x="35" y="128"/>
                    </a:lnTo>
                    <a:lnTo>
                      <a:pt x="0" y="81"/>
                    </a:lnTo>
                    <a:lnTo>
                      <a:pt x="18" y="63"/>
                    </a:lnTo>
                    <a:lnTo>
                      <a:pt x="18" y="48"/>
                    </a:lnTo>
                    <a:lnTo>
                      <a:pt x="35" y="33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41" name="Freeform 277">
                <a:extLst>
                  <a:ext uri="{FF2B5EF4-FFF2-40B4-BE49-F238E27FC236}">
                    <a16:creationId xmlns:a16="http://schemas.microsoft.com/office/drawing/2014/main" id="{4FC35054-3FFC-5B41-B0EF-A19DCC6122A9}"/>
                  </a:ext>
                </a:extLst>
              </p:cNvPr>
              <p:cNvSpPr>
                <a:spLocks/>
              </p:cNvSpPr>
              <p:nvPr>
                <p:custDataLst>
                  <p:tags r:id="rId303"/>
                </p:custDataLst>
              </p:nvPr>
            </p:nvSpPr>
            <p:spPr bwMode="auto">
              <a:xfrm>
                <a:off x="4956174" y="4567238"/>
                <a:ext cx="165100" cy="177800"/>
              </a:xfrm>
              <a:custGeom>
                <a:avLst/>
                <a:gdLst>
                  <a:gd name="T0" fmla="*/ 27781 w 208"/>
                  <a:gd name="T1" fmla="*/ 3161 h 225"/>
                  <a:gd name="T2" fmla="*/ 27781 w 208"/>
                  <a:gd name="T3" fmla="*/ 3161 h 225"/>
                  <a:gd name="T4" fmla="*/ 27781 w 208"/>
                  <a:gd name="T5" fmla="*/ 9483 h 225"/>
                  <a:gd name="T6" fmla="*/ 10319 w 208"/>
                  <a:gd name="T7" fmla="*/ 6322 h 225"/>
                  <a:gd name="T8" fmla="*/ 10319 w 208"/>
                  <a:gd name="T9" fmla="*/ 12644 h 225"/>
                  <a:gd name="T10" fmla="*/ 14288 w 208"/>
                  <a:gd name="T11" fmla="*/ 9483 h 225"/>
                  <a:gd name="T12" fmla="*/ 17463 w 208"/>
                  <a:gd name="T13" fmla="*/ 12644 h 225"/>
                  <a:gd name="T14" fmla="*/ 17463 w 208"/>
                  <a:gd name="T15" fmla="*/ 15804 h 225"/>
                  <a:gd name="T16" fmla="*/ 17463 w 208"/>
                  <a:gd name="T17" fmla="*/ 28448 h 225"/>
                  <a:gd name="T18" fmla="*/ 7144 w 208"/>
                  <a:gd name="T19" fmla="*/ 28448 h 225"/>
                  <a:gd name="T20" fmla="*/ 3969 w 208"/>
                  <a:gd name="T21" fmla="*/ 31609 h 225"/>
                  <a:gd name="T22" fmla="*/ 3969 w 208"/>
                  <a:gd name="T23" fmla="*/ 34770 h 225"/>
                  <a:gd name="T24" fmla="*/ 0 w 208"/>
                  <a:gd name="T25" fmla="*/ 34770 h 225"/>
                  <a:gd name="T26" fmla="*/ 0 w 208"/>
                  <a:gd name="T27" fmla="*/ 37931 h 225"/>
                  <a:gd name="T28" fmla="*/ 7144 w 208"/>
                  <a:gd name="T29" fmla="*/ 44252 h 225"/>
                  <a:gd name="T30" fmla="*/ 7144 w 208"/>
                  <a:gd name="T31" fmla="*/ 41092 h 225"/>
                  <a:gd name="T32" fmla="*/ 10319 w 208"/>
                  <a:gd name="T33" fmla="*/ 41092 h 225"/>
                  <a:gd name="T34" fmla="*/ 17463 w 208"/>
                  <a:gd name="T35" fmla="*/ 41092 h 225"/>
                  <a:gd name="T36" fmla="*/ 23812 w 208"/>
                  <a:gd name="T37" fmla="*/ 37931 h 225"/>
                  <a:gd name="T38" fmla="*/ 27781 w 208"/>
                  <a:gd name="T39" fmla="*/ 28448 h 225"/>
                  <a:gd name="T40" fmla="*/ 34925 w 208"/>
                  <a:gd name="T41" fmla="*/ 22126 h 225"/>
                  <a:gd name="T42" fmla="*/ 41275 w 208"/>
                  <a:gd name="T43" fmla="*/ 0 h 225"/>
                  <a:gd name="T44" fmla="*/ 30956 w 208"/>
                  <a:gd name="T45" fmla="*/ 3161 h 225"/>
                  <a:gd name="T46" fmla="*/ 27781 w 208"/>
                  <a:gd name="T47" fmla="*/ 3161 h 22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08"/>
                  <a:gd name="T73" fmla="*/ 0 h 225"/>
                  <a:gd name="T74" fmla="*/ 208 w 208"/>
                  <a:gd name="T75" fmla="*/ 225 h 22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08" h="225">
                    <a:moveTo>
                      <a:pt x="139" y="18"/>
                    </a:moveTo>
                    <a:lnTo>
                      <a:pt x="139" y="18"/>
                    </a:lnTo>
                    <a:lnTo>
                      <a:pt x="139" y="48"/>
                    </a:lnTo>
                    <a:lnTo>
                      <a:pt x="52" y="33"/>
                    </a:lnTo>
                    <a:lnTo>
                      <a:pt x="52" y="66"/>
                    </a:lnTo>
                    <a:lnTo>
                      <a:pt x="70" y="48"/>
                    </a:lnTo>
                    <a:lnTo>
                      <a:pt x="87" y="66"/>
                    </a:lnTo>
                    <a:lnTo>
                      <a:pt x="87" y="81"/>
                    </a:lnTo>
                    <a:lnTo>
                      <a:pt x="87" y="144"/>
                    </a:lnTo>
                    <a:lnTo>
                      <a:pt x="35" y="144"/>
                    </a:lnTo>
                    <a:lnTo>
                      <a:pt x="18" y="161"/>
                    </a:lnTo>
                    <a:lnTo>
                      <a:pt x="18" y="177"/>
                    </a:lnTo>
                    <a:lnTo>
                      <a:pt x="0" y="177"/>
                    </a:lnTo>
                    <a:lnTo>
                      <a:pt x="0" y="192"/>
                    </a:lnTo>
                    <a:lnTo>
                      <a:pt x="35" y="225"/>
                    </a:lnTo>
                    <a:lnTo>
                      <a:pt x="35" y="209"/>
                    </a:lnTo>
                    <a:lnTo>
                      <a:pt x="52" y="209"/>
                    </a:lnTo>
                    <a:lnTo>
                      <a:pt x="87" y="209"/>
                    </a:lnTo>
                    <a:lnTo>
                      <a:pt x="121" y="192"/>
                    </a:lnTo>
                    <a:lnTo>
                      <a:pt x="139" y="144"/>
                    </a:lnTo>
                    <a:lnTo>
                      <a:pt x="173" y="114"/>
                    </a:lnTo>
                    <a:lnTo>
                      <a:pt x="208" y="0"/>
                    </a:lnTo>
                    <a:lnTo>
                      <a:pt x="156" y="18"/>
                    </a:lnTo>
                    <a:lnTo>
                      <a:pt x="139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42" name="Freeform 278">
                <a:extLst>
                  <a:ext uri="{FF2B5EF4-FFF2-40B4-BE49-F238E27FC236}">
                    <a16:creationId xmlns:a16="http://schemas.microsoft.com/office/drawing/2014/main" id="{E4D830AC-B064-A44E-A43A-E8269AC5BCDC}"/>
                  </a:ext>
                </a:extLst>
              </p:cNvPr>
              <p:cNvSpPr>
                <a:spLocks/>
              </p:cNvSpPr>
              <p:nvPr>
                <p:custDataLst>
                  <p:tags r:id="rId304"/>
                </p:custDataLst>
              </p:nvPr>
            </p:nvSpPr>
            <p:spPr bwMode="auto">
              <a:xfrm>
                <a:off x="4983162" y="4541838"/>
                <a:ext cx="414338" cy="368300"/>
              </a:xfrm>
              <a:custGeom>
                <a:avLst/>
                <a:gdLst>
                  <a:gd name="T0" fmla="*/ 83664 w 520"/>
                  <a:gd name="T1" fmla="*/ 0 h 462"/>
                  <a:gd name="T2" fmla="*/ 83664 w 520"/>
                  <a:gd name="T3" fmla="*/ 0 h 462"/>
                  <a:gd name="T4" fmla="*/ 58963 w 520"/>
                  <a:gd name="T5" fmla="*/ 0 h 462"/>
                  <a:gd name="T6" fmla="*/ 55776 w 520"/>
                  <a:gd name="T7" fmla="*/ 3189 h 462"/>
                  <a:gd name="T8" fmla="*/ 45418 w 520"/>
                  <a:gd name="T9" fmla="*/ 3189 h 462"/>
                  <a:gd name="T10" fmla="*/ 41434 w 520"/>
                  <a:gd name="T11" fmla="*/ 0 h 462"/>
                  <a:gd name="T12" fmla="*/ 38247 w 520"/>
                  <a:gd name="T13" fmla="*/ 0 h 462"/>
                  <a:gd name="T14" fmla="*/ 35059 w 520"/>
                  <a:gd name="T15" fmla="*/ 6377 h 462"/>
                  <a:gd name="T16" fmla="*/ 27888 w 520"/>
                  <a:gd name="T17" fmla="*/ 28699 h 462"/>
                  <a:gd name="T18" fmla="*/ 20717 w 520"/>
                  <a:gd name="T19" fmla="*/ 35076 h 462"/>
                  <a:gd name="T20" fmla="*/ 17530 w 520"/>
                  <a:gd name="T21" fmla="*/ 44642 h 462"/>
                  <a:gd name="T22" fmla="*/ 10358 w 520"/>
                  <a:gd name="T23" fmla="*/ 47831 h 462"/>
                  <a:gd name="T24" fmla="*/ 3984 w 520"/>
                  <a:gd name="T25" fmla="*/ 47831 h 462"/>
                  <a:gd name="T26" fmla="*/ 0 w 520"/>
                  <a:gd name="T27" fmla="*/ 54209 h 462"/>
                  <a:gd name="T28" fmla="*/ 0 w 520"/>
                  <a:gd name="T29" fmla="*/ 57397 h 462"/>
                  <a:gd name="T30" fmla="*/ 7171 w 520"/>
                  <a:gd name="T31" fmla="*/ 54209 h 462"/>
                  <a:gd name="T32" fmla="*/ 20717 w 520"/>
                  <a:gd name="T33" fmla="*/ 54209 h 462"/>
                  <a:gd name="T34" fmla="*/ 24701 w 520"/>
                  <a:gd name="T35" fmla="*/ 54209 h 462"/>
                  <a:gd name="T36" fmla="*/ 24701 w 520"/>
                  <a:gd name="T37" fmla="*/ 60586 h 462"/>
                  <a:gd name="T38" fmla="*/ 31075 w 520"/>
                  <a:gd name="T39" fmla="*/ 66964 h 462"/>
                  <a:gd name="T40" fmla="*/ 38247 w 520"/>
                  <a:gd name="T41" fmla="*/ 63775 h 462"/>
                  <a:gd name="T42" fmla="*/ 38247 w 520"/>
                  <a:gd name="T43" fmla="*/ 60586 h 462"/>
                  <a:gd name="T44" fmla="*/ 45418 w 520"/>
                  <a:gd name="T45" fmla="*/ 60586 h 462"/>
                  <a:gd name="T46" fmla="*/ 51792 w 520"/>
                  <a:gd name="T47" fmla="*/ 63775 h 462"/>
                  <a:gd name="T48" fmla="*/ 51792 w 520"/>
                  <a:gd name="T49" fmla="*/ 73341 h 462"/>
                  <a:gd name="T50" fmla="*/ 55776 w 520"/>
                  <a:gd name="T51" fmla="*/ 76530 h 462"/>
                  <a:gd name="T52" fmla="*/ 51792 w 520"/>
                  <a:gd name="T53" fmla="*/ 79719 h 462"/>
                  <a:gd name="T54" fmla="*/ 51792 w 520"/>
                  <a:gd name="T55" fmla="*/ 82907 h 462"/>
                  <a:gd name="T56" fmla="*/ 62151 w 520"/>
                  <a:gd name="T57" fmla="*/ 79719 h 462"/>
                  <a:gd name="T58" fmla="*/ 76493 w 520"/>
                  <a:gd name="T59" fmla="*/ 86096 h 462"/>
                  <a:gd name="T60" fmla="*/ 79680 w 520"/>
                  <a:gd name="T61" fmla="*/ 82907 h 462"/>
                  <a:gd name="T62" fmla="*/ 90039 w 520"/>
                  <a:gd name="T63" fmla="*/ 89285 h 462"/>
                  <a:gd name="T64" fmla="*/ 94023 w 520"/>
                  <a:gd name="T65" fmla="*/ 93271 h 462"/>
                  <a:gd name="T66" fmla="*/ 94023 w 520"/>
                  <a:gd name="T67" fmla="*/ 86096 h 462"/>
                  <a:gd name="T68" fmla="*/ 90039 w 520"/>
                  <a:gd name="T69" fmla="*/ 86096 h 462"/>
                  <a:gd name="T70" fmla="*/ 90039 w 520"/>
                  <a:gd name="T71" fmla="*/ 82907 h 462"/>
                  <a:gd name="T72" fmla="*/ 90039 w 520"/>
                  <a:gd name="T73" fmla="*/ 70152 h 462"/>
                  <a:gd name="T74" fmla="*/ 90039 w 520"/>
                  <a:gd name="T75" fmla="*/ 66964 h 462"/>
                  <a:gd name="T76" fmla="*/ 100397 w 520"/>
                  <a:gd name="T77" fmla="*/ 66964 h 462"/>
                  <a:gd name="T78" fmla="*/ 94023 w 520"/>
                  <a:gd name="T79" fmla="*/ 57397 h 462"/>
                  <a:gd name="T80" fmla="*/ 94023 w 520"/>
                  <a:gd name="T81" fmla="*/ 47831 h 462"/>
                  <a:gd name="T82" fmla="*/ 94023 w 520"/>
                  <a:gd name="T83" fmla="*/ 41454 h 462"/>
                  <a:gd name="T84" fmla="*/ 94023 w 520"/>
                  <a:gd name="T85" fmla="*/ 38265 h 462"/>
                  <a:gd name="T86" fmla="*/ 90039 w 520"/>
                  <a:gd name="T87" fmla="*/ 38265 h 462"/>
                  <a:gd name="T88" fmla="*/ 94023 w 520"/>
                  <a:gd name="T89" fmla="*/ 31887 h 462"/>
                  <a:gd name="T90" fmla="*/ 97210 w 520"/>
                  <a:gd name="T91" fmla="*/ 22321 h 462"/>
                  <a:gd name="T92" fmla="*/ 100397 w 520"/>
                  <a:gd name="T93" fmla="*/ 19132 h 462"/>
                  <a:gd name="T94" fmla="*/ 104381 w 520"/>
                  <a:gd name="T95" fmla="*/ 12755 h 462"/>
                  <a:gd name="T96" fmla="*/ 100397 w 520"/>
                  <a:gd name="T97" fmla="*/ 12755 h 462"/>
                  <a:gd name="T98" fmla="*/ 100397 w 520"/>
                  <a:gd name="T99" fmla="*/ 6377 h 462"/>
                  <a:gd name="T100" fmla="*/ 97210 w 520"/>
                  <a:gd name="T101" fmla="*/ 3189 h 462"/>
                  <a:gd name="T102" fmla="*/ 86852 w 520"/>
                  <a:gd name="T103" fmla="*/ 3189 h 462"/>
                  <a:gd name="T104" fmla="*/ 83664 w 520"/>
                  <a:gd name="T105" fmla="*/ 0 h 46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20"/>
                  <a:gd name="T160" fmla="*/ 0 h 462"/>
                  <a:gd name="T161" fmla="*/ 520 w 520"/>
                  <a:gd name="T162" fmla="*/ 462 h 46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20" h="462">
                    <a:moveTo>
                      <a:pt x="417" y="0"/>
                    </a:moveTo>
                    <a:lnTo>
                      <a:pt x="417" y="0"/>
                    </a:lnTo>
                    <a:lnTo>
                      <a:pt x="294" y="0"/>
                    </a:lnTo>
                    <a:lnTo>
                      <a:pt x="276" y="15"/>
                    </a:lnTo>
                    <a:lnTo>
                      <a:pt x="225" y="15"/>
                    </a:lnTo>
                    <a:lnTo>
                      <a:pt x="207" y="0"/>
                    </a:lnTo>
                    <a:lnTo>
                      <a:pt x="190" y="0"/>
                    </a:lnTo>
                    <a:lnTo>
                      <a:pt x="173" y="30"/>
                    </a:lnTo>
                    <a:lnTo>
                      <a:pt x="138" y="144"/>
                    </a:lnTo>
                    <a:lnTo>
                      <a:pt x="104" y="174"/>
                    </a:lnTo>
                    <a:lnTo>
                      <a:pt x="86" y="222"/>
                    </a:lnTo>
                    <a:lnTo>
                      <a:pt x="52" y="239"/>
                    </a:lnTo>
                    <a:lnTo>
                      <a:pt x="17" y="239"/>
                    </a:lnTo>
                    <a:lnTo>
                      <a:pt x="0" y="270"/>
                    </a:lnTo>
                    <a:lnTo>
                      <a:pt x="0" y="287"/>
                    </a:lnTo>
                    <a:lnTo>
                      <a:pt x="35" y="270"/>
                    </a:lnTo>
                    <a:lnTo>
                      <a:pt x="104" y="270"/>
                    </a:lnTo>
                    <a:lnTo>
                      <a:pt x="121" y="270"/>
                    </a:lnTo>
                    <a:lnTo>
                      <a:pt x="121" y="303"/>
                    </a:lnTo>
                    <a:lnTo>
                      <a:pt x="155" y="335"/>
                    </a:lnTo>
                    <a:lnTo>
                      <a:pt x="190" y="318"/>
                    </a:lnTo>
                    <a:lnTo>
                      <a:pt x="190" y="303"/>
                    </a:lnTo>
                    <a:lnTo>
                      <a:pt x="225" y="303"/>
                    </a:lnTo>
                    <a:lnTo>
                      <a:pt x="259" y="318"/>
                    </a:lnTo>
                    <a:lnTo>
                      <a:pt x="259" y="366"/>
                    </a:lnTo>
                    <a:lnTo>
                      <a:pt x="276" y="383"/>
                    </a:lnTo>
                    <a:lnTo>
                      <a:pt x="259" y="399"/>
                    </a:lnTo>
                    <a:lnTo>
                      <a:pt x="259" y="414"/>
                    </a:lnTo>
                    <a:lnTo>
                      <a:pt x="311" y="399"/>
                    </a:lnTo>
                    <a:lnTo>
                      <a:pt x="380" y="431"/>
                    </a:lnTo>
                    <a:lnTo>
                      <a:pt x="397" y="414"/>
                    </a:lnTo>
                    <a:lnTo>
                      <a:pt x="451" y="447"/>
                    </a:lnTo>
                    <a:lnTo>
                      <a:pt x="468" y="462"/>
                    </a:lnTo>
                    <a:lnTo>
                      <a:pt x="468" y="431"/>
                    </a:lnTo>
                    <a:lnTo>
                      <a:pt x="451" y="431"/>
                    </a:lnTo>
                    <a:lnTo>
                      <a:pt x="451" y="414"/>
                    </a:lnTo>
                    <a:lnTo>
                      <a:pt x="451" y="351"/>
                    </a:lnTo>
                    <a:lnTo>
                      <a:pt x="451" y="335"/>
                    </a:lnTo>
                    <a:lnTo>
                      <a:pt x="503" y="335"/>
                    </a:lnTo>
                    <a:lnTo>
                      <a:pt x="468" y="287"/>
                    </a:lnTo>
                    <a:lnTo>
                      <a:pt x="468" y="239"/>
                    </a:lnTo>
                    <a:lnTo>
                      <a:pt x="468" y="207"/>
                    </a:lnTo>
                    <a:lnTo>
                      <a:pt x="468" y="191"/>
                    </a:lnTo>
                    <a:lnTo>
                      <a:pt x="451" y="191"/>
                    </a:lnTo>
                    <a:lnTo>
                      <a:pt x="468" y="159"/>
                    </a:lnTo>
                    <a:lnTo>
                      <a:pt x="486" y="111"/>
                    </a:lnTo>
                    <a:lnTo>
                      <a:pt x="503" y="96"/>
                    </a:lnTo>
                    <a:lnTo>
                      <a:pt x="520" y="63"/>
                    </a:lnTo>
                    <a:lnTo>
                      <a:pt x="503" y="63"/>
                    </a:lnTo>
                    <a:lnTo>
                      <a:pt x="503" y="30"/>
                    </a:lnTo>
                    <a:lnTo>
                      <a:pt x="486" y="15"/>
                    </a:lnTo>
                    <a:lnTo>
                      <a:pt x="434" y="15"/>
                    </a:lnTo>
                    <a:lnTo>
                      <a:pt x="417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43" name="Freeform 279">
                <a:extLst>
                  <a:ext uri="{FF2B5EF4-FFF2-40B4-BE49-F238E27FC236}">
                    <a16:creationId xmlns:a16="http://schemas.microsoft.com/office/drawing/2014/main" id="{4D854143-4E9C-DA47-B3B8-79F5025DC69A}"/>
                  </a:ext>
                </a:extLst>
              </p:cNvPr>
              <p:cNvSpPr>
                <a:spLocks/>
              </p:cNvSpPr>
              <p:nvPr>
                <p:custDataLst>
                  <p:tags r:id="rId305"/>
                </p:custDataLst>
              </p:nvPr>
            </p:nvSpPr>
            <p:spPr bwMode="auto">
              <a:xfrm>
                <a:off x="5189537" y="4808538"/>
                <a:ext cx="261938" cy="190500"/>
              </a:xfrm>
              <a:custGeom>
                <a:avLst/>
                <a:gdLst>
                  <a:gd name="T0" fmla="*/ 10319 w 330"/>
                  <a:gd name="T1" fmla="*/ 12700 h 240"/>
                  <a:gd name="T2" fmla="*/ 10319 w 330"/>
                  <a:gd name="T3" fmla="*/ 12700 h 240"/>
                  <a:gd name="T4" fmla="*/ 23813 w 330"/>
                  <a:gd name="T5" fmla="*/ 19050 h 240"/>
                  <a:gd name="T6" fmla="*/ 27781 w 330"/>
                  <a:gd name="T7" fmla="*/ 15875 h 240"/>
                  <a:gd name="T8" fmla="*/ 38100 w 330"/>
                  <a:gd name="T9" fmla="*/ 22225 h 240"/>
                  <a:gd name="T10" fmla="*/ 41275 w 330"/>
                  <a:gd name="T11" fmla="*/ 24606 h 240"/>
                  <a:gd name="T12" fmla="*/ 41275 w 330"/>
                  <a:gd name="T13" fmla="*/ 19050 h 240"/>
                  <a:gd name="T14" fmla="*/ 38100 w 330"/>
                  <a:gd name="T15" fmla="*/ 19050 h 240"/>
                  <a:gd name="T16" fmla="*/ 38100 w 330"/>
                  <a:gd name="T17" fmla="*/ 15875 h 240"/>
                  <a:gd name="T18" fmla="*/ 38100 w 330"/>
                  <a:gd name="T19" fmla="*/ 3175 h 240"/>
                  <a:gd name="T20" fmla="*/ 38100 w 330"/>
                  <a:gd name="T21" fmla="*/ 0 h 240"/>
                  <a:gd name="T22" fmla="*/ 48419 w 330"/>
                  <a:gd name="T23" fmla="*/ 0 h 240"/>
                  <a:gd name="T24" fmla="*/ 52388 w 330"/>
                  <a:gd name="T25" fmla="*/ 0 h 240"/>
                  <a:gd name="T26" fmla="*/ 62706 w 330"/>
                  <a:gd name="T27" fmla="*/ 6350 h 240"/>
                  <a:gd name="T28" fmla="*/ 65881 w 330"/>
                  <a:gd name="T29" fmla="*/ 12700 h 240"/>
                  <a:gd name="T30" fmla="*/ 62706 w 330"/>
                  <a:gd name="T31" fmla="*/ 15875 h 240"/>
                  <a:gd name="T32" fmla="*/ 62706 w 330"/>
                  <a:gd name="T33" fmla="*/ 19050 h 240"/>
                  <a:gd name="T34" fmla="*/ 58738 w 330"/>
                  <a:gd name="T35" fmla="*/ 24606 h 240"/>
                  <a:gd name="T36" fmla="*/ 62706 w 330"/>
                  <a:gd name="T37" fmla="*/ 28575 h 240"/>
                  <a:gd name="T38" fmla="*/ 44450 w 330"/>
                  <a:gd name="T39" fmla="*/ 34925 h 240"/>
                  <a:gd name="T40" fmla="*/ 44450 w 330"/>
                  <a:gd name="T41" fmla="*/ 38100 h 240"/>
                  <a:gd name="T42" fmla="*/ 38100 w 330"/>
                  <a:gd name="T43" fmla="*/ 38100 h 240"/>
                  <a:gd name="T44" fmla="*/ 38100 w 330"/>
                  <a:gd name="T45" fmla="*/ 41275 h 240"/>
                  <a:gd name="T46" fmla="*/ 27781 w 330"/>
                  <a:gd name="T47" fmla="*/ 47625 h 240"/>
                  <a:gd name="T48" fmla="*/ 17463 w 330"/>
                  <a:gd name="T49" fmla="*/ 47625 h 240"/>
                  <a:gd name="T50" fmla="*/ 10319 w 330"/>
                  <a:gd name="T51" fmla="*/ 44450 h 240"/>
                  <a:gd name="T52" fmla="*/ 7144 w 330"/>
                  <a:gd name="T53" fmla="*/ 47625 h 240"/>
                  <a:gd name="T54" fmla="*/ 0 w 330"/>
                  <a:gd name="T55" fmla="*/ 41275 h 240"/>
                  <a:gd name="T56" fmla="*/ 0 w 330"/>
                  <a:gd name="T57" fmla="*/ 24606 h 240"/>
                  <a:gd name="T58" fmla="*/ 14288 w 330"/>
                  <a:gd name="T59" fmla="*/ 22225 h 240"/>
                  <a:gd name="T60" fmla="*/ 10319 w 330"/>
                  <a:gd name="T61" fmla="*/ 12700 h 24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30"/>
                  <a:gd name="T94" fmla="*/ 0 h 240"/>
                  <a:gd name="T95" fmla="*/ 330 w 330"/>
                  <a:gd name="T96" fmla="*/ 240 h 24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30" h="240">
                    <a:moveTo>
                      <a:pt x="52" y="64"/>
                    </a:moveTo>
                    <a:lnTo>
                      <a:pt x="52" y="64"/>
                    </a:lnTo>
                    <a:lnTo>
                      <a:pt x="123" y="96"/>
                    </a:lnTo>
                    <a:lnTo>
                      <a:pt x="140" y="79"/>
                    </a:lnTo>
                    <a:lnTo>
                      <a:pt x="192" y="112"/>
                    </a:lnTo>
                    <a:lnTo>
                      <a:pt x="209" y="127"/>
                    </a:lnTo>
                    <a:lnTo>
                      <a:pt x="209" y="96"/>
                    </a:lnTo>
                    <a:lnTo>
                      <a:pt x="192" y="96"/>
                    </a:lnTo>
                    <a:lnTo>
                      <a:pt x="192" y="79"/>
                    </a:lnTo>
                    <a:lnTo>
                      <a:pt x="192" y="16"/>
                    </a:lnTo>
                    <a:lnTo>
                      <a:pt x="192" y="0"/>
                    </a:lnTo>
                    <a:lnTo>
                      <a:pt x="244" y="0"/>
                    </a:lnTo>
                    <a:lnTo>
                      <a:pt x="261" y="0"/>
                    </a:lnTo>
                    <a:lnTo>
                      <a:pt x="313" y="31"/>
                    </a:lnTo>
                    <a:lnTo>
                      <a:pt x="330" y="64"/>
                    </a:lnTo>
                    <a:lnTo>
                      <a:pt x="313" y="79"/>
                    </a:lnTo>
                    <a:lnTo>
                      <a:pt x="313" y="96"/>
                    </a:lnTo>
                    <a:lnTo>
                      <a:pt x="296" y="127"/>
                    </a:lnTo>
                    <a:lnTo>
                      <a:pt x="313" y="144"/>
                    </a:lnTo>
                    <a:lnTo>
                      <a:pt x="227" y="175"/>
                    </a:lnTo>
                    <a:lnTo>
                      <a:pt x="227" y="192"/>
                    </a:lnTo>
                    <a:lnTo>
                      <a:pt x="192" y="192"/>
                    </a:lnTo>
                    <a:lnTo>
                      <a:pt x="192" y="208"/>
                    </a:lnTo>
                    <a:lnTo>
                      <a:pt x="140" y="240"/>
                    </a:lnTo>
                    <a:lnTo>
                      <a:pt x="88" y="240"/>
                    </a:lnTo>
                    <a:lnTo>
                      <a:pt x="52" y="223"/>
                    </a:lnTo>
                    <a:lnTo>
                      <a:pt x="35" y="240"/>
                    </a:lnTo>
                    <a:lnTo>
                      <a:pt x="0" y="208"/>
                    </a:lnTo>
                    <a:lnTo>
                      <a:pt x="0" y="127"/>
                    </a:lnTo>
                    <a:lnTo>
                      <a:pt x="69" y="112"/>
                    </a:lnTo>
                    <a:lnTo>
                      <a:pt x="52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44" name="Freeform 280">
                <a:extLst>
                  <a:ext uri="{FF2B5EF4-FFF2-40B4-BE49-F238E27FC236}">
                    <a16:creationId xmlns:a16="http://schemas.microsoft.com/office/drawing/2014/main" id="{01E96BC0-6B4D-1340-A816-BE55BCD35559}"/>
                  </a:ext>
                </a:extLst>
              </p:cNvPr>
              <p:cNvSpPr>
                <a:spLocks/>
              </p:cNvSpPr>
              <p:nvPr>
                <p:custDataLst>
                  <p:tags r:id="rId306"/>
                </p:custDataLst>
              </p:nvPr>
            </p:nvSpPr>
            <p:spPr bwMode="auto">
              <a:xfrm>
                <a:off x="4972049" y="4757738"/>
                <a:ext cx="274638" cy="254000"/>
              </a:xfrm>
              <a:custGeom>
                <a:avLst/>
                <a:gdLst>
                  <a:gd name="T0" fmla="*/ 0 w 345"/>
                  <a:gd name="T1" fmla="*/ 56972 h 321"/>
                  <a:gd name="T2" fmla="*/ 0 w 345"/>
                  <a:gd name="T3" fmla="*/ 56972 h 321"/>
                  <a:gd name="T4" fmla="*/ 7164 w 345"/>
                  <a:gd name="T5" fmla="*/ 56972 h 321"/>
                  <a:gd name="T6" fmla="*/ 14329 w 345"/>
                  <a:gd name="T7" fmla="*/ 56972 h 321"/>
                  <a:gd name="T8" fmla="*/ 34230 w 345"/>
                  <a:gd name="T9" fmla="*/ 60137 h 321"/>
                  <a:gd name="T10" fmla="*/ 41395 w 345"/>
                  <a:gd name="T11" fmla="*/ 60137 h 321"/>
                  <a:gd name="T12" fmla="*/ 54928 w 345"/>
                  <a:gd name="T13" fmla="*/ 63302 h 321"/>
                  <a:gd name="T14" fmla="*/ 62092 w 345"/>
                  <a:gd name="T15" fmla="*/ 60137 h 321"/>
                  <a:gd name="T16" fmla="*/ 54928 w 345"/>
                  <a:gd name="T17" fmla="*/ 53807 h 321"/>
                  <a:gd name="T18" fmla="*/ 54928 w 345"/>
                  <a:gd name="T19" fmla="*/ 37981 h 321"/>
                  <a:gd name="T20" fmla="*/ 69257 w 345"/>
                  <a:gd name="T21" fmla="*/ 34816 h 321"/>
                  <a:gd name="T22" fmla="*/ 65276 w 345"/>
                  <a:gd name="T23" fmla="*/ 25321 h 321"/>
                  <a:gd name="T24" fmla="*/ 54928 w 345"/>
                  <a:gd name="T25" fmla="*/ 28486 h 321"/>
                  <a:gd name="T26" fmla="*/ 54928 w 345"/>
                  <a:gd name="T27" fmla="*/ 25321 h 321"/>
                  <a:gd name="T28" fmla="*/ 58908 w 345"/>
                  <a:gd name="T29" fmla="*/ 22156 h 321"/>
                  <a:gd name="T30" fmla="*/ 54928 w 345"/>
                  <a:gd name="T31" fmla="*/ 18991 h 321"/>
                  <a:gd name="T32" fmla="*/ 54928 w 345"/>
                  <a:gd name="T33" fmla="*/ 9495 h 321"/>
                  <a:gd name="T34" fmla="*/ 48559 w 345"/>
                  <a:gd name="T35" fmla="*/ 6330 h 321"/>
                  <a:gd name="T36" fmla="*/ 41395 w 345"/>
                  <a:gd name="T37" fmla="*/ 6330 h 321"/>
                  <a:gd name="T38" fmla="*/ 41395 w 345"/>
                  <a:gd name="T39" fmla="*/ 9495 h 321"/>
                  <a:gd name="T40" fmla="*/ 34230 w 345"/>
                  <a:gd name="T41" fmla="*/ 12660 h 321"/>
                  <a:gd name="T42" fmla="*/ 27862 w 345"/>
                  <a:gd name="T43" fmla="*/ 6330 h 321"/>
                  <a:gd name="T44" fmla="*/ 27862 w 345"/>
                  <a:gd name="T45" fmla="*/ 0 h 321"/>
                  <a:gd name="T46" fmla="*/ 24678 w 345"/>
                  <a:gd name="T47" fmla="*/ 0 h 321"/>
                  <a:gd name="T48" fmla="*/ 10349 w 345"/>
                  <a:gd name="T49" fmla="*/ 0 h 321"/>
                  <a:gd name="T50" fmla="*/ 3980 w 345"/>
                  <a:gd name="T51" fmla="*/ 3165 h 321"/>
                  <a:gd name="T52" fmla="*/ 7164 w 345"/>
                  <a:gd name="T53" fmla="*/ 12660 h 321"/>
                  <a:gd name="T54" fmla="*/ 7164 w 345"/>
                  <a:gd name="T55" fmla="*/ 15826 h 321"/>
                  <a:gd name="T56" fmla="*/ 10349 w 345"/>
                  <a:gd name="T57" fmla="*/ 28486 h 321"/>
                  <a:gd name="T58" fmla="*/ 10349 w 345"/>
                  <a:gd name="T59" fmla="*/ 34816 h 321"/>
                  <a:gd name="T60" fmla="*/ 3980 w 345"/>
                  <a:gd name="T61" fmla="*/ 37981 h 321"/>
                  <a:gd name="T62" fmla="*/ 0 w 345"/>
                  <a:gd name="T63" fmla="*/ 50642 h 321"/>
                  <a:gd name="T64" fmla="*/ 0 w 345"/>
                  <a:gd name="T65" fmla="*/ 56972 h 3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45"/>
                  <a:gd name="T100" fmla="*/ 0 h 321"/>
                  <a:gd name="T101" fmla="*/ 345 w 345"/>
                  <a:gd name="T102" fmla="*/ 321 h 32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45" h="321">
                    <a:moveTo>
                      <a:pt x="0" y="288"/>
                    </a:moveTo>
                    <a:lnTo>
                      <a:pt x="0" y="288"/>
                    </a:lnTo>
                    <a:lnTo>
                      <a:pt x="34" y="288"/>
                    </a:lnTo>
                    <a:lnTo>
                      <a:pt x="69" y="288"/>
                    </a:lnTo>
                    <a:lnTo>
                      <a:pt x="172" y="305"/>
                    </a:lnTo>
                    <a:lnTo>
                      <a:pt x="207" y="305"/>
                    </a:lnTo>
                    <a:lnTo>
                      <a:pt x="276" y="321"/>
                    </a:lnTo>
                    <a:lnTo>
                      <a:pt x="311" y="305"/>
                    </a:lnTo>
                    <a:lnTo>
                      <a:pt x="276" y="273"/>
                    </a:lnTo>
                    <a:lnTo>
                      <a:pt x="276" y="192"/>
                    </a:lnTo>
                    <a:lnTo>
                      <a:pt x="345" y="177"/>
                    </a:lnTo>
                    <a:lnTo>
                      <a:pt x="328" y="129"/>
                    </a:lnTo>
                    <a:lnTo>
                      <a:pt x="276" y="144"/>
                    </a:lnTo>
                    <a:lnTo>
                      <a:pt x="276" y="129"/>
                    </a:lnTo>
                    <a:lnTo>
                      <a:pt x="293" y="113"/>
                    </a:lnTo>
                    <a:lnTo>
                      <a:pt x="276" y="96"/>
                    </a:lnTo>
                    <a:lnTo>
                      <a:pt x="276" y="48"/>
                    </a:lnTo>
                    <a:lnTo>
                      <a:pt x="241" y="33"/>
                    </a:lnTo>
                    <a:lnTo>
                      <a:pt x="207" y="33"/>
                    </a:lnTo>
                    <a:lnTo>
                      <a:pt x="207" y="48"/>
                    </a:lnTo>
                    <a:lnTo>
                      <a:pt x="172" y="65"/>
                    </a:lnTo>
                    <a:lnTo>
                      <a:pt x="138" y="33"/>
                    </a:lnTo>
                    <a:lnTo>
                      <a:pt x="138" y="0"/>
                    </a:lnTo>
                    <a:lnTo>
                      <a:pt x="121" y="0"/>
                    </a:lnTo>
                    <a:lnTo>
                      <a:pt x="51" y="0"/>
                    </a:lnTo>
                    <a:lnTo>
                      <a:pt x="17" y="17"/>
                    </a:lnTo>
                    <a:lnTo>
                      <a:pt x="34" y="65"/>
                    </a:lnTo>
                    <a:lnTo>
                      <a:pt x="34" y="81"/>
                    </a:lnTo>
                    <a:lnTo>
                      <a:pt x="51" y="144"/>
                    </a:lnTo>
                    <a:lnTo>
                      <a:pt x="51" y="177"/>
                    </a:lnTo>
                    <a:lnTo>
                      <a:pt x="17" y="192"/>
                    </a:lnTo>
                    <a:lnTo>
                      <a:pt x="0" y="257"/>
                    </a:lnTo>
                    <a:lnTo>
                      <a:pt x="0" y="288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45" name="Freeform 281">
                <a:extLst>
                  <a:ext uri="{FF2B5EF4-FFF2-40B4-BE49-F238E27FC236}">
                    <a16:creationId xmlns:a16="http://schemas.microsoft.com/office/drawing/2014/main" id="{2803E953-22AD-B44B-8E6B-0A9D1682A0E4}"/>
                  </a:ext>
                </a:extLst>
              </p:cNvPr>
              <p:cNvSpPr>
                <a:spLocks/>
              </p:cNvSpPr>
              <p:nvPr>
                <p:custDataLst>
                  <p:tags r:id="rId307"/>
                </p:custDataLst>
              </p:nvPr>
            </p:nvSpPr>
            <p:spPr bwMode="auto">
              <a:xfrm>
                <a:off x="4913313" y="3944938"/>
                <a:ext cx="346075" cy="304800"/>
              </a:xfrm>
              <a:custGeom>
                <a:avLst/>
                <a:gdLst>
                  <a:gd name="T0" fmla="*/ 14320 w 435"/>
                  <a:gd name="T1" fmla="*/ 54769 h 384"/>
                  <a:gd name="T2" fmla="*/ 14320 w 435"/>
                  <a:gd name="T3" fmla="*/ 54769 h 384"/>
                  <a:gd name="T4" fmla="*/ 10342 w 435"/>
                  <a:gd name="T5" fmla="*/ 47625 h 384"/>
                  <a:gd name="T6" fmla="*/ 7160 w 435"/>
                  <a:gd name="T7" fmla="*/ 47625 h 384"/>
                  <a:gd name="T8" fmla="*/ 0 w 435"/>
                  <a:gd name="T9" fmla="*/ 38100 h 384"/>
                  <a:gd name="T10" fmla="*/ 3978 w 435"/>
                  <a:gd name="T11" fmla="*/ 35719 h 384"/>
                  <a:gd name="T12" fmla="*/ 3978 w 435"/>
                  <a:gd name="T13" fmla="*/ 28575 h 384"/>
                  <a:gd name="T14" fmla="*/ 3978 w 435"/>
                  <a:gd name="T15" fmla="*/ 22225 h 384"/>
                  <a:gd name="T16" fmla="*/ 0 w 435"/>
                  <a:gd name="T17" fmla="*/ 19050 h 384"/>
                  <a:gd name="T18" fmla="*/ 0 w 435"/>
                  <a:gd name="T19" fmla="*/ 16669 h 384"/>
                  <a:gd name="T20" fmla="*/ 3978 w 435"/>
                  <a:gd name="T21" fmla="*/ 12700 h 384"/>
                  <a:gd name="T22" fmla="*/ 3978 w 435"/>
                  <a:gd name="T23" fmla="*/ 9525 h 384"/>
                  <a:gd name="T24" fmla="*/ 10342 w 435"/>
                  <a:gd name="T25" fmla="*/ 3175 h 384"/>
                  <a:gd name="T26" fmla="*/ 10342 w 435"/>
                  <a:gd name="T27" fmla="*/ 0 h 384"/>
                  <a:gd name="T28" fmla="*/ 17503 w 435"/>
                  <a:gd name="T29" fmla="*/ 0 h 384"/>
                  <a:gd name="T30" fmla="*/ 27845 w 435"/>
                  <a:gd name="T31" fmla="*/ 3175 h 384"/>
                  <a:gd name="T32" fmla="*/ 35005 w 435"/>
                  <a:gd name="T33" fmla="*/ 3175 h 384"/>
                  <a:gd name="T34" fmla="*/ 35005 w 435"/>
                  <a:gd name="T35" fmla="*/ 9525 h 384"/>
                  <a:gd name="T36" fmla="*/ 55690 w 435"/>
                  <a:gd name="T37" fmla="*/ 16669 h 384"/>
                  <a:gd name="T38" fmla="*/ 58873 w 435"/>
                  <a:gd name="T39" fmla="*/ 12700 h 384"/>
                  <a:gd name="T40" fmla="*/ 58873 w 435"/>
                  <a:gd name="T41" fmla="*/ 7144 h 384"/>
                  <a:gd name="T42" fmla="*/ 70011 w 435"/>
                  <a:gd name="T43" fmla="*/ 0 h 384"/>
                  <a:gd name="T44" fmla="*/ 76375 w 435"/>
                  <a:gd name="T45" fmla="*/ 3175 h 384"/>
                  <a:gd name="T46" fmla="*/ 76375 w 435"/>
                  <a:gd name="T47" fmla="*/ 7144 h 384"/>
                  <a:gd name="T48" fmla="*/ 86718 w 435"/>
                  <a:gd name="T49" fmla="*/ 7144 h 384"/>
                  <a:gd name="T50" fmla="*/ 83535 w 435"/>
                  <a:gd name="T51" fmla="*/ 19050 h 384"/>
                  <a:gd name="T52" fmla="*/ 86718 w 435"/>
                  <a:gd name="T53" fmla="*/ 26194 h 384"/>
                  <a:gd name="T54" fmla="*/ 86718 w 435"/>
                  <a:gd name="T55" fmla="*/ 60325 h 384"/>
                  <a:gd name="T56" fmla="*/ 86718 w 435"/>
                  <a:gd name="T57" fmla="*/ 69850 h 384"/>
                  <a:gd name="T58" fmla="*/ 83535 w 435"/>
                  <a:gd name="T59" fmla="*/ 73819 h 384"/>
                  <a:gd name="T60" fmla="*/ 80353 w 435"/>
                  <a:gd name="T61" fmla="*/ 76200 h 384"/>
                  <a:gd name="T62" fmla="*/ 38188 w 435"/>
                  <a:gd name="T63" fmla="*/ 54769 h 384"/>
                  <a:gd name="T64" fmla="*/ 31823 w 435"/>
                  <a:gd name="T65" fmla="*/ 57150 h 384"/>
                  <a:gd name="T66" fmla="*/ 27845 w 435"/>
                  <a:gd name="T67" fmla="*/ 54769 h 384"/>
                  <a:gd name="T68" fmla="*/ 14320 w 435"/>
                  <a:gd name="T69" fmla="*/ 54769 h 38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435"/>
                  <a:gd name="T106" fmla="*/ 0 h 384"/>
                  <a:gd name="T107" fmla="*/ 435 w 435"/>
                  <a:gd name="T108" fmla="*/ 384 h 38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435" h="384">
                    <a:moveTo>
                      <a:pt x="69" y="273"/>
                    </a:moveTo>
                    <a:lnTo>
                      <a:pt x="69" y="273"/>
                    </a:lnTo>
                    <a:lnTo>
                      <a:pt x="51" y="240"/>
                    </a:lnTo>
                    <a:lnTo>
                      <a:pt x="34" y="240"/>
                    </a:lnTo>
                    <a:lnTo>
                      <a:pt x="0" y="192"/>
                    </a:lnTo>
                    <a:lnTo>
                      <a:pt x="17" y="177"/>
                    </a:lnTo>
                    <a:lnTo>
                      <a:pt x="17" y="144"/>
                    </a:lnTo>
                    <a:lnTo>
                      <a:pt x="17" y="112"/>
                    </a:lnTo>
                    <a:lnTo>
                      <a:pt x="0" y="96"/>
                    </a:lnTo>
                    <a:lnTo>
                      <a:pt x="0" y="81"/>
                    </a:lnTo>
                    <a:lnTo>
                      <a:pt x="17" y="64"/>
                    </a:lnTo>
                    <a:lnTo>
                      <a:pt x="17" y="48"/>
                    </a:lnTo>
                    <a:lnTo>
                      <a:pt x="51" y="16"/>
                    </a:lnTo>
                    <a:lnTo>
                      <a:pt x="51" y="0"/>
                    </a:lnTo>
                    <a:lnTo>
                      <a:pt x="86" y="0"/>
                    </a:lnTo>
                    <a:lnTo>
                      <a:pt x="140" y="16"/>
                    </a:lnTo>
                    <a:lnTo>
                      <a:pt x="174" y="16"/>
                    </a:lnTo>
                    <a:lnTo>
                      <a:pt x="174" y="48"/>
                    </a:lnTo>
                    <a:lnTo>
                      <a:pt x="278" y="81"/>
                    </a:lnTo>
                    <a:lnTo>
                      <a:pt x="295" y="64"/>
                    </a:lnTo>
                    <a:lnTo>
                      <a:pt x="295" y="33"/>
                    </a:lnTo>
                    <a:lnTo>
                      <a:pt x="349" y="0"/>
                    </a:lnTo>
                    <a:lnTo>
                      <a:pt x="384" y="16"/>
                    </a:lnTo>
                    <a:lnTo>
                      <a:pt x="384" y="33"/>
                    </a:lnTo>
                    <a:lnTo>
                      <a:pt x="435" y="33"/>
                    </a:lnTo>
                    <a:lnTo>
                      <a:pt x="418" y="96"/>
                    </a:lnTo>
                    <a:lnTo>
                      <a:pt x="435" y="129"/>
                    </a:lnTo>
                    <a:lnTo>
                      <a:pt x="435" y="304"/>
                    </a:lnTo>
                    <a:lnTo>
                      <a:pt x="435" y="352"/>
                    </a:lnTo>
                    <a:lnTo>
                      <a:pt x="418" y="369"/>
                    </a:lnTo>
                    <a:lnTo>
                      <a:pt x="401" y="384"/>
                    </a:lnTo>
                    <a:lnTo>
                      <a:pt x="192" y="273"/>
                    </a:lnTo>
                    <a:lnTo>
                      <a:pt x="157" y="288"/>
                    </a:lnTo>
                    <a:lnTo>
                      <a:pt x="140" y="273"/>
                    </a:lnTo>
                    <a:lnTo>
                      <a:pt x="69" y="27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46" name="Freeform 282">
                <a:extLst>
                  <a:ext uri="{FF2B5EF4-FFF2-40B4-BE49-F238E27FC236}">
                    <a16:creationId xmlns:a16="http://schemas.microsoft.com/office/drawing/2014/main" id="{F47FED19-8D5C-8F46-822E-59EEC9B451D4}"/>
                  </a:ext>
                </a:extLst>
              </p:cNvPr>
              <p:cNvSpPr>
                <a:spLocks/>
              </p:cNvSpPr>
              <p:nvPr>
                <p:custDataLst>
                  <p:tags r:id="rId308"/>
                </p:custDataLst>
              </p:nvPr>
            </p:nvSpPr>
            <p:spPr bwMode="auto">
              <a:xfrm>
                <a:off x="5246687" y="3971926"/>
                <a:ext cx="246063" cy="227013"/>
              </a:xfrm>
              <a:custGeom>
                <a:avLst/>
                <a:gdLst>
                  <a:gd name="T0" fmla="*/ 60922 w 311"/>
                  <a:gd name="T1" fmla="*/ 49659 h 288"/>
                  <a:gd name="T2" fmla="*/ 60922 w 311"/>
                  <a:gd name="T3" fmla="*/ 49659 h 288"/>
                  <a:gd name="T4" fmla="*/ 50637 w 311"/>
                  <a:gd name="T5" fmla="*/ 55965 h 288"/>
                  <a:gd name="T6" fmla="*/ 47472 w 311"/>
                  <a:gd name="T7" fmla="*/ 52812 h 288"/>
                  <a:gd name="T8" fmla="*/ 3165 w 311"/>
                  <a:gd name="T9" fmla="*/ 52812 h 288"/>
                  <a:gd name="T10" fmla="*/ 3165 w 311"/>
                  <a:gd name="T11" fmla="*/ 18918 h 288"/>
                  <a:gd name="T12" fmla="*/ 0 w 311"/>
                  <a:gd name="T13" fmla="*/ 11824 h 288"/>
                  <a:gd name="T14" fmla="*/ 3165 w 311"/>
                  <a:gd name="T15" fmla="*/ 0 h 288"/>
                  <a:gd name="T16" fmla="*/ 3165 w 311"/>
                  <a:gd name="T17" fmla="*/ 2365 h 288"/>
                  <a:gd name="T18" fmla="*/ 13450 w 311"/>
                  <a:gd name="T19" fmla="*/ 2365 h 288"/>
                  <a:gd name="T20" fmla="*/ 23736 w 311"/>
                  <a:gd name="T21" fmla="*/ 5518 h 288"/>
                  <a:gd name="T22" fmla="*/ 37186 w 311"/>
                  <a:gd name="T23" fmla="*/ 2365 h 288"/>
                  <a:gd name="T24" fmla="*/ 40351 w 311"/>
                  <a:gd name="T25" fmla="*/ 2365 h 288"/>
                  <a:gd name="T26" fmla="*/ 40351 w 311"/>
                  <a:gd name="T27" fmla="*/ 5518 h 288"/>
                  <a:gd name="T28" fmla="*/ 44307 w 311"/>
                  <a:gd name="T29" fmla="*/ 2365 h 288"/>
                  <a:gd name="T30" fmla="*/ 44307 w 311"/>
                  <a:gd name="T31" fmla="*/ 5518 h 288"/>
                  <a:gd name="T32" fmla="*/ 50637 w 311"/>
                  <a:gd name="T33" fmla="*/ 2365 h 288"/>
                  <a:gd name="T34" fmla="*/ 54593 w 311"/>
                  <a:gd name="T35" fmla="*/ 14977 h 288"/>
                  <a:gd name="T36" fmla="*/ 50637 w 311"/>
                  <a:gd name="T37" fmla="*/ 24435 h 288"/>
                  <a:gd name="T38" fmla="*/ 47472 w 311"/>
                  <a:gd name="T39" fmla="*/ 18918 h 288"/>
                  <a:gd name="T40" fmla="*/ 44307 w 311"/>
                  <a:gd name="T41" fmla="*/ 9459 h 288"/>
                  <a:gd name="T42" fmla="*/ 44307 w 311"/>
                  <a:gd name="T43" fmla="*/ 11824 h 288"/>
                  <a:gd name="T44" fmla="*/ 44307 w 311"/>
                  <a:gd name="T45" fmla="*/ 14977 h 288"/>
                  <a:gd name="T46" fmla="*/ 60922 w 311"/>
                  <a:gd name="T47" fmla="*/ 49659 h 28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311"/>
                  <a:gd name="T73" fmla="*/ 0 h 288"/>
                  <a:gd name="T74" fmla="*/ 311 w 311"/>
                  <a:gd name="T75" fmla="*/ 288 h 288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311" h="288">
                    <a:moveTo>
                      <a:pt x="311" y="255"/>
                    </a:moveTo>
                    <a:lnTo>
                      <a:pt x="311" y="255"/>
                    </a:lnTo>
                    <a:lnTo>
                      <a:pt x="259" y="288"/>
                    </a:lnTo>
                    <a:lnTo>
                      <a:pt x="242" y="271"/>
                    </a:lnTo>
                    <a:lnTo>
                      <a:pt x="17" y="271"/>
                    </a:lnTo>
                    <a:lnTo>
                      <a:pt x="17" y="96"/>
                    </a:lnTo>
                    <a:lnTo>
                      <a:pt x="0" y="63"/>
                    </a:lnTo>
                    <a:lnTo>
                      <a:pt x="17" y="0"/>
                    </a:lnTo>
                    <a:lnTo>
                      <a:pt x="17" y="15"/>
                    </a:lnTo>
                    <a:lnTo>
                      <a:pt x="69" y="15"/>
                    </a:lnTo>
                    <a:lnTo>
                      <a:pt x="121" y="31"/>
                    </a:lnTo>
                    <a:lnTo>
                      <a:pt x="190" y="15"/>
                    </a:lnTo>
                    <a:lnTo>
                      <a:pt x="207" y="15"/>
                    </a:lnTo>
                    <a:lnTo>
                      <a:pt x="207" y="31"/>
                    </a:lnTo>
                    <a:lnTo>
                      <a:pt x="225" y="15"/>
                    </a:lnTo>
                    <a:lnTo>
                      <a:pt x="225" y="31"/>
                    </a:lnTo>
                    <a:lnTo>
                      <a:pt x="259" y="15"/>
                    </a:lnTo>
                    <a:lnTo>
                      <a:pt x="277" y="79"/>
                    </a:lnTo>
                    <a:lnTo>
                      <a:pt x="259" y="127"/>
                    </a:lnTo>
                    <a:lnTo>
                      <a:pt x="242" y="96"/>
                    </a:lnTo>
                    <a:lnTo>
                      <a:pt x="225" y="48"/>
                    </a:lnTo>
                    <a:lnTo>
                      <a:pt x="225" y="63"/>
                    </a:lnTo>
                    <a:lnTo>
                      <a:pt x="225" y="79"/>
                    </a:lnTo>
                    <a:lnTo>
                      <a:pt x="311" y="25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47" name="Freeform 283">
                <a:extLst>
                  <a:ext uri="{FF2B5EF4-FFF2-40B4-BE49-F238E27FC236}">
                    <a16:creationId xmlns:a16="http://schemas.microsoft.com/office/drawing/2014/main" id="{FD74EECD-03EF-5A40-A7A9-9F5B9F6E53CB}"/>
                  </a:ext>
                </a:extLst>
              </p:cNvPr>
              <p:cNvSpPr>
                <a:spLocks/>
              </p:cNvSpPr>
              <p:nvPr>
                <p:custDataLst>
                  <p:tags r:id="rId309"/>
                </p:custDataLst>
              </p:nvPr>
            </p:nvSpPr>
            <p:spPr bwMode="auto">
              <a:xfrm>
                <a:off x="5602287" y="4402138"/>
                <a:ext cx="220663" cy="266700"/>
              </a:xfrm>
              <a:custGeom>
                <a:avLst/>
                <a:gdLst>
                  <a:gd name="T0" fmla="*/ 6327 w 279"/>
                  <a:gd name="T1" fmla="*/ 40481 h 336"/>
                  <a:gd name="T2" fmla="*/ 6327 w 279"/>
                  <a:gd name="T3" fmla="*/ 40481 h 336"/>
                  <a:gd name="T4" fmla="*/ 0 w 279"/>
                  <a:gd name="T5" fmla="*/ 47625 h 336"/>
                  <a:gd name="T6" fmla="*/ 0 w 279"/>
                  <a:gd name="T7" fmla="*/ 64294 h 336"/>
                  <a:gd name="T8" fmla="*/ 3164 w 279"/>
                  <a:gd name="T9" fmla="*/ 66675 h 336"/>
                  <a:gd name="T10" fmla="*/ 13445 w 279"/>
                  <a:gd name="T11" fmla="*/ 57150 h 336"/>
                  <a:gd name="T12" fmla="*/ 27682 w 279"/>
                  <a:gd name="T13" fmla="*/ 47625 h 336"/>
                  <a:gd name="T14" fmla="*/ 37964 w 279"/>
                  <a:gd name="T15" fmla="*/ 38100 h 336"/>
                  <a:gd name="T16" fmla="*/ 44291 w 279"/>
                  <a:gd name="T17" fmla="*/ 31750 h 336"/>
                  <a:gd name="T18" fmla="*/ 54573 w 279"/>
                  <a:gd name="T19" fmla="*/ 7144 h 336"/>
                  <a:gd name="T20" fmla="*/ 54573 w 279"/>
                  <a:gd name="T21" fmla="*/ 0 h 336"/>
                  <a:gd name="T22" fmla="*/ 51409 w 279"/>
                  <a:gd name="T23" fmla="*/ 0 h 336"/>
                  <a:gd name="T24" fmla="*/ 44291 w 279"/>
                  <a:gd name="T25" fmla="*/ 2381 h 336"/>
                  <a:gd name="T26" fmla="*/ 20564 w 279"/>
                  <a:gd name="T27" fmla="*/ 9525 h 336"/>
                  <a:gd name="T28" fmla="*/ 16609 w 279"/>
                  <a:gd name="T29" fmla="*/ 7144 h 336"/>
                  <a:gd name="T30" fmla="*/ 13445 w 279"/>
                  <a:gd name="T31" fmla="*/ 2381 h 336"/>
                  <a:gd name="T32" fmla="*/ 10282 w 279"/>
                  <a:gd name="T33" fmla="*/ 7144 h 336"/>
                  <a:gd name="T34" fmla="*/ 10282 w 279"/>
                  <a:gd name="T35" fmla="*/ 9525 h 336"/>
                  <a:gd name="T36" fmla="*/ 16609 w 279"/>
                  <a:gd name="T37" fmla="*/ 16669 h 336"/>
                  <a:gd name="T38" fmla="*/ 34009 w 279"/>
                  <a:gd name="T39" fmla="*/ 19050 h 336"/>
                  <a:gd name="T40" fmla="*/ 37964 w 279"/>
                  <a:gd name="T41" fmla="*/ 19050 h 336"/>
                  <a:gd name="T42" fmla="*/ 23727 w 279"/>
                  <a:gd name="T43" fmla="*/ 34925 h 336"/>
                  <a:gd name="T44" fmla="*/ 13445 w 279"/>
                  <a:gd name="T45" fmla="*/ 34925 h 336"/>
                  <a:gd name="T46" fmla="*/ 6327 w 279"/>
                  <a:gd name="T47" fmla="*/ 40481 h 3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79"/>
                  <a:gd name="T73" fmla="*/ 0 h 336"/>
                  <a:gd name="T74" fmla="*/ 279 w 279"/>
                  <a:gd name="T75" fmla="*/ 336 h 3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79" h="336">
                    <a:moveTo>
                      <a:pt x="35" y="207"/>
                    </a:moveTo>
                    <a:lnTo>
                      <a:pt x="35" y="207"/>
                    </a:lnTo>
                    <a:lnTo>
                      <a:pt x="0" y="240"/>
                    </a:lnTo>
                    <a:lnTo>
                      <a:pt x="0" y="321"/>
                    </a:lnTo>
                    <a:lnTo>
                      <a:pt x="18" y="336"/>
                    </a:lnTo>
                    <a:lnTo>
                      <a:pt x="69" y="288"/>
                    </a:lnTo>
                    <a:lnTo>
                      <a:pt x="141" y="240"/>
                    </a:lnTo>
                    <a:lnTo>
                      <a:pt x="192" y="192"/>
                    </a:lnTo>
                    <a:lnTo>
                      <a:pt x="227" y="159"/>
                    </a:lnTo>
                    <a:lnTo>
                      <a:pt x="279" y="33"/>
                    </a:lnTo>
                    <a:lnTo>
                      <a:pt x="279" y="0"/>
                    </a:lnTo>
                    <a:lnTo>
                      <a:pt x="261" y="0"/>
                    </a:lnTo>
                    <a:lnTo>
                      <a:pt x="227" y="15"/>
                    </a:lnTo>
                    <a:lnTo>
                      <a:pt x="104" y="48"/>
                    </a:lnTo>
                    <a:lnTo>
                      <a:pt x="87" y="33"/>
                    </a:lnTo>
                    <a:lnTo>
                      <a:pt x="69" y="15"/>
                    </a:lnTo>
                    <a:lnTo>
                      <a:pt x="52" y="33"/>
                    </a:lnTo>
                    <a:lnTo>
                      <a:pt x="52" y="48"/>
                    </a:lnTo>
                    <a:lnTo>
                      <a:pt x="87" y="81"/>
                    </a:lnTo>
                    <a:lnTo>
                      <a:pt x="175" y="96"/>
                    </a:lnTo>
                    <a:lnTo>
                      <a:pt x="192" y="96"/>
                    </a:lnTo>
                    <a:lnTo>
                      <a:pt x="121" y="177"/>
                    </a:lnTo>
                    <a:lnTo>
                      <a:pt x="69" y="177"/>
                    </a:lnTo>
                    <a:lnTo>
                      <a:pt x="35" y="20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48" name="Freeform 284">
                <a:extLst>
                  <a:ext uri="{FF2B5EF4-FFF2-40B4-BE49-F238E27FC236}">
                    <a16:creationId xmlns:a16="http://schemas.microsoft.com/office/drawing/2014/main" id="{3B641BD8-A145-C345-8FE8-BDFD1BCE1F6C}"/>
                  </a:ext>
                </a:extLst>
              </p:cNvPr>
              <p:cNvSpPr>
                <a:spLocks/>
              </p:cNvSpPr>
              <p:nvPr>
                <p:custDataLst>
                  <p:tags r:id="rId310"/>
                </p:custDataLst>
              </p:nvPr>
            </p:nvSpPr>
            <p:spPr bwMode="auto">
              <a:xfrm>
                <a:off x="5024437" y="4414838"/>
                <a:ext cx="288925" cy="165100"/>
              </a:xfrm>
              <a:custGeom>
                <a:avLst/>
                <a:gdLst>
                  <a:gd name="T0" fmla="*/ 44572 w 363"/>
                  <a:gd name="T1" fmla="*/ 0 h 210"/>
                  <a:gd name="T2" fmla="*/ 44572 w 363"/>
                  <a:gd name="T3" fmla="*/ 0 h 210"/>
                  <a:gd name="T4" fmla="*/ 51736 w 363"/>
                  <a:gd name="T5" fmla="*/ 6290 h 210"/>
                  <a:gd name="T6" fmla="*/ 51736 w 363"/>
                  <a:gd name="T7" fmla="*/ 12579 h 210"/>
                  <a:gd name="T8" fmla="*/ 58899 w 363"/>
                  <a:gd name="T9" fmla="*/ 15724 h 210"/>
                  <a:gd name="T10" fmla="*/ 72430 w 363"/>
                  <a:gd name="T11" fmla="*/ 31448 h 210"/>
                  <a:gd name="T12" fmla="*/ 48552 w 363"/>
                  <a:gd name="T13" fmla="*/ 31448 h 210"/>
                  <a:gd name="T14" fmla="*/ 44572 w 363"/>
                  <a:gd name="T15" fmla="*/ 34592 h 210"/>
                  <a:gd name="T16" fmla="*/ 35021 w 363"/>
                  <a:gd name="T17" fmla="*/ 34592 h 210"/>
                  <a:gd name="T18" fmla="*/ 31042 w 363"/>
                  <a:gd name="T19" fmla="*/ 31448 h 210"/>
                  <a:gd name="T20" fmla="*/ 27858 w 363"/>
                  <a:gd name="T21" fmla="*/ 31448 h 210"/>
                  <a:gd name="T22" fmla="*/ 24674 w 363"/>
                  <a:gd name="T23" fmla="*/ 36951 h 210"/>
                  <a:gd name="T24" fmla="*/ 14327 w 363"/>
                  <a:gd name="T25" fmla="*/ 40882 h 210"/>
                  <a:gd name="T26" fmla="*/ 10347 w 363"/>
                  <a:gd name="T27" fmla="*/ 40882 h 210"/>
                  <a:gd name="T28" fmla="*/ 3980 w 363"/>
                  <a:gd name="T29" fmla="*/ 31448 h 210"/>
                  <a:gd name="T30" fmla="*/ 0 w 363"/>
                  <a:gd name="T31" fmla="*/ 27517 h 210"/>
                  <a:gd name="T32" fmla="*/ 7163 w 363"/>
                  <a:gd name="T33" fmla="*/ 18869 h 210"/>
                  <a:gd name="T34" fmla="*/ 24674 w 363"/>
                  <a:gd name="T35" fmla="*/ 15724 h 210"/>
                  <a:gd name="T36" fmla="*/ 27858 w 363"/>
                  <a:gd name="T37" fmla="*/ 12579 h 210"/>
                  <a:gd name="T38" fmla="*/ 24674 w 363"/>
                  <a:gd name="T39" fmla="*/ 12579 h 210"/>
                  <a:gd name="T40" fmla="*/ 35021 w 363"/>
                  <a:gd name="T41" fmla="*/ 9434 h 210"/>
                  <a:gd name="T42" fmla="*/ 41389 w 363"/>
                  <a:gd name="T43" fmla="*/ 3145 h 210"/>
                  <a:gd name="T44" fmla="*/ 44572 w 363"/>
                  <a:gd name="T45" fmla="*/ 0 h 21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63"/>
                  <a:gd name="T70" fmla="*/ 0 h 210"/>
                  <a:gd name="T71" fmla="*/ 363 w 363"/>
                  <a:gd name="T72" fmla="*/ 210 h 21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63" h="210">
                    <a:moveTo>
                      <a:pt x="224" y="0"/>
                    </a:moveTo>
                    <a:lnTo>
                      <a:pt x="224" y="0"/>
                    </a:lnTo>
                    <a:lnTo>
                      <a:pt x="259" y="33"/>
                    </a:lnTo>
                    <a:lnTo>
                      <a:pt x="259" y="66"/>
                    </a:lnTo>
                    <a:lnTo>
                      <a:pt x="294" y="81"/>
                    </a:lnTo>
                    <a:lnTo>
                      <a:pt x="363" y="162"/>
                    </a:lnTo>
                    <a:lnTo>
                      <a:pt x="242" y="162"/>
                    </a:lnTo>
                    <a:lnTo>
                      <a:pt x="224" y="177"/>
                    </a:lnTo>
                    <a:lnTo>
                      <a:pt x="173" y="177"/>
                    </a:lnTo>
                    <a:lnTo>
                      <a:pt x="155" y="162"/>
                    </a:lnTo>
                    <a:lnTo>
                      <a:pt x="138" y="162"/>
                    </a:lnTo>
                    <a:lnTo>
                      <a:pt x="121" y="192"/>
                    </a:lnTo>
                    <a:lnTo>
                      <a:pt x="69" y="210"/>
                    </a:lnTo>
                    <a:lnTo>
                      <a:pt x="52" y="210"/>
                    </a:lnTo>
                    <a:lnTo>
                      <a:pt x="17" y="162"/>
                    </a:lnTo>
                    <a:lnTo>
                      <a:pt x="0" y="144"/>
                    </a:lnTo>
                    <a:lnTo>
                      <a:pt x="34" y="96"/>
                    </a:lnTo>
                    <a:lnTo>
                      <a:pt x="121" y="81"/>
                    </a:lnTo>
                    <a:lnTo>
                      <a:pt x="138" y="66"/>
                    </a:lnTo>
                    <a:lnTo>
                      <a:pt x="121" y="66"/>
                    </a:lnTo>
                    <a:lnTo>
                      <a:pt x="173" y="48"/>
                    </a:lnTo>
                    <a:lnTo>
                      <a:pt x="207" y="18"/>
                    </a:lnTo>
                    <a:lnTo>
                      <a:pt x="22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49" name="Freeform 285">
                <a:extLst>
                  <a:ext uri="{FF2B5EF4-FFF2-40B4-BE49-F238E27FC236}">
                    <a16:creationId xmlns:a16="http://schemas.microsoft.com/office/drawing/2014/main" id="{D756D1A4-E399-9A48-AE5C-33C9C683732B}"/>
                  </a:ext>
                </a:extLst>
              </p:cNvPr>
              <p:cNvSpPr>
                <a:spLocks/>
              </p:cNvSpPr>
              <p:nvPr>
                <p:custDataLst>
                  <p:tags r:id="rId311"/>
                </p:custDataLst>
              </p:nvPr>
            </p:nvSpPr>
            <p:spPr bwMode="auto">
              <a:xfrm>
                <a:off x="5013324" y="4160838"/>
                <a:ext cx="217488" cy="330200"/>
              </a:xfrm>
              <a:custGeom>
                <a:avLst/>
                <a:gdLst>
                  <a:gd name="T0" fmla="*/ 6327 w 275"/>
                  <a:gd name="T1" fmla="*/ 3190 h 414"/>
                  <a:gd name="T2" fmla="*/ 6327 w 275"/>
                  <a:gd name="T3" fmla="*/ 3190 h 414"/>
                  <a:gd name="T4" fmla="*/ 6327 w 275"/>
                  <a:gd name="T5" fmla="*/ 9571 h 414"/>
                  <a:gd name="T6" fmla="*/ 13445 w 275"/>
                  <a:gd name="T7" fmla="*/ 15952 h 414"/>
                  <a:gd name="T8" fmla="*/ 10281 w 275"/>
                  <a:gd name="T9" fmla="*/ 35094 h 414"/>
                  <a:gd name="T10" fmla="*/ 0 w 275"/>
                  <a:gd name="T11" fmla="*/ 48653 h 414"/>
                  <a:gd name="T12" fmla="*/ 0 w 275"/>
                  <a:gd name="T13" fmla="*/ 51045 h 414"/>
                  <a:gd name="T14" fmla="*/ 3163 w 275"/>
                  <a:gd name="T15" fmla="*/ 54236 h 414"/>
                  <a:gd name="T16" fmla="*/ 3163 w 275"/>
                  <a:gd name="T17" fmla="*/ 58224 h 414"/>
                  <a:gd name="T18" fmla="*/ 10281 w 275"/>
                  <a:gd name="T19" fmla="*/ 70187 h 414"/>
                  <a:gd name="T20" fmla="*/ 3163 w 275"/>
                  <a:gd name="T21" fmla="*/ 70187 h 414"/>
                  <a:gd name="T22" fmla="*/ 3163 w 275"/>
                  <a:gd name="T23" fmla="*/ 73378 h 414"/>
                  <a:gd name="T24" fmla="*/ 6327 w 275"/>
                  <a:gd name="T25" fmla="*/ 77366 h 414"/>
                  <a:gd name="T26" fmla="*/ 10281 w 275"/>
                  <a:gd name="T27" fmla="*/ 83746 h 414"/>
                  <a:gd name="T28" fmla="*/ 26889 w 275"/>
                  <a:gd name="T29" fmla="*/ 79758 h 414"/>
                  <a:gd name="T30" fmla="*/ 30053 w 275"/>
                  <a:gd name="T31" fmla="*/ 77366 h 414"/>
                  <a:gd name="T32" fmla="*/ 26889 w 275"/>
                  <a:gd name="T33" fmla="*/ 77366 h 414"/>
                  <a:gd name="T34" fmla="*/ 37171 w 275"/>
                  <a:gd name="T35" fmla="*/ 73378 h 414"/>
                  <a:gd name="T36" fmla="*/ 43498 w 275"/>
                  <a:gd name="T37" fmla="*/ 67795 h 414"/>
                  <a:gd name="T38" fmla="*/ 47452 w 275"/>
                  <a:gd name="T39" fmla="*/ 63807 h 414"/>
                  <a:gd name="T40" fmla="*/ 50615 w 275"/>
                  <a:gd name="T41" fmla="*/ 63807 h 414"/>
                  <a:gd name="T42" fmla="*/ 43498 w 275"/>
                  <a:gd name="T43" fmla="*/ 54236 h 414"/>
                  <a:gd name="T44" fmla="*/ 50615 w 275"/>
                  <a:gd name="T45" fmla="*/ 41474 h 414"/>
                  <a:gd name="T46" fmla="*/ 53779 w 275"/>
                  <a:gd name="T47" fmla="*/ 41474 h 414"/>
                  <a:gd name="T48" fmla="*/ 53779 w 275"/>
                  <a:gd name="T49" fmla="*/ 38284 h 414"/>
                  <a:gd name="T50" fmla="*/ 53779 w 275"/>
                  <a:gd name="T51" fmla="*/ 22332 h 414"/>
                  <a:gd name="T52" fmla="*/ 13445 w 275"/>
                  <a:gd name="T53" fmla="*/ 0 h 414"/>
                  <a:gd name="T54" fmla="*/ 6327 w 275"/>
                  <a:gd name="T55" fmla="*/ 3190 h 41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75"/>
                  <a:gd name="T85" fmla="*/ 0 h 414"/>
                  <a:gd name="T86" fmla="*/ 275 w 275"/>
                  <a:gd name="T87" fmla="*/ 414 h 41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75" h="414">
                    <a:moveTo>
                      <a:pt x="35" y="15"/>
                    </a:moveTo>
                    <a:lnTo>
                      <a:pt x="35" y="15"/>
                    </a:lnTo>
                    <a:lnTo>
                      <a:pt x="35" y="48"/>
                    </a:lnTo>
                    <a:lnTo>
                      <a:pt x="70" y="79"/>
                    </a:lnTo>
                    <a:lnTo>
                      <a:pt x="52" y="175"/>
                    </a:lnTo>
                    <a:lnTo>
                      <a:pt x="0" y="240"/>
                    </a:lnTo>
                    <a:lnTo>
                      <a:pt x="0" y="255"/>
                    </a:lnTo>
                    <a:lnTo>
                      <a:pt x="18" y="270"/>
                    </a:lnTo>
                    <a:lnTo>
                      <a:pt x="18" y="288"/>
                    </a:lnTo>
                    <a:lnTo>
                      <a:pt x="52" y="351"/>
                    </a:lnTo>
                    <a:lnTo>
                      <a:pt x="18" y="351"/>
                    </a:lnTo>
                    <a:lnTo>
                      <a:pt x="18" y="366"/>
                    </a:lnTo>
                    <a:lnTo>
                      <a:pt x="35" y="384"/>
                    </a:lnTo>
                    <a:lnTo>
                      <a:pt x="52" y="414"/>
                    </a:lnTo>
                    <a:lnTo>
                      <a:pt x="137" y="399"/>
                    </a:lnTo>
                    <a:lnTo>
                      <a:pt x="154" y="384"/>
                    </a:lnTo>
                    <a:lnTo>
                      <a:pt x="137" y="384"/>
                    </a:lnTo>
                    <a:lnTo>
                      <a:pt x="189" y="366"/>
                    </a:lnTo>
                    <a:lnTo>
                      <a:pt x="223" y="336"/>
                    </a:lnTo>
                    <a:lnTo>
                      <a:pt x="240" y="318"/>
                    </a:lnTo>
                    <a:lnTo>
                      <a:pt x="258" y="318"/>
                    </a:lnTo>
                    <a:lnTo>
                      <a:pt x="223" y="270"/>
                    </a:lnTo>
                    <a:lnTo>
                      <a:pt x="258" y="207"/>
                    </a:lnTo>
                    <a:lnTo>
                      <a:pt x="275" y="207"/>
                    </a:lnTo>
                    <a:lnTo>
                      <a:pt x="275" y="192"/>
                    </a:lnTo>
                    <a:lnTo>
                      <a:pt x="275" y="111"/>
                    </a:lnTo>
                    <a:lnTo>
                      <a:pt x="70" y="0"/>
                    </a:lnTo>
                    <a:lnTo>
                      <a:pt x="35" y="1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50" name="Freeform 286">
                <a:extLst>
                  <a:ext uri="{FF2B5EF4-FFF2-40B4-BE49-F238E27FC236}">
                    <a16:creationId xmlns:a16="http://schemas.microsoft.com/office/drawing/2014/main" id="{2349EBF6-1D72-B14B-8E57-958750D57861}"/>
                  </a:ext>
                </a:extLst>
              </p:cNvPr>
              <p:cNvSpPr>
                <a:spLocks/>
              </p:cNvSpPr>
              <p:nvPr>
                <p:custDataLst>
                  <p:tags r:id="rId312"/>
                </p:custDataLst>
              </p:nvPr>
            </p:nvSpPr>
            <p:spPr bwMode="auto">
              <a:xfrm>
                <a:off x="5508624" y="4275138"/>
                <a:ext cx="134938" cy="114300"/>
              </a:xfrm>
              <a:custGeom>
                <a:avLst/>
                <a:gdLst>
                  <a:gd name="T0" fmla="*/ 29986 w 171"/>
                  <a:gd name="T1" fmla="*/ 28575 h 144"/>
                  <a:gd name="T2" fmla="*/ 29986 w 171"/>
                  <a:gd name="T3" fmla="*/ 28575 h 144"/>
                  <a:gd name="T4" fmla="*/ 33143 w 171"/>
                  <a:gd name="T5" fmla="*/ 28575 h 144"/>
                  <a:gd name="T6" fmla="*/ 22884 w 171"/>
                  <a:gd name="T7" fmla="*/ 19050 h 144"/>
                  <a:gd name="T8" fmla="*/ 16571 w 171"/>
                  <a:gd name="T9" fmla="*/ 11906 h 144"/>
                  <a:gd name="T10" fmla="*/ 10258 w 171"/>
                  <a:gd name="T11" fmla="*/ 0 h 144"/>
                  <a:gd name="T12" fmla="*/ 10258 w 171"/>
                  <a:gd name="T13" fmla="*/ 2381 h 144"/>
                  <a:gd name="T14" fmla="*/ 3156 w 171"/>
                  <a:gd name="T15" fmla="*/ 5556 h 144"/>
                  <a:gd name="T16" fmla="*/ 0 w 171"/>
                  <a:gd name="T17" fmla="*/ 19050 h 144"/>
                  <a:gd name="T18" fmla="*/ 3156 w 171"/>
                  <a:gd name="T19" fmla="*/ 19050 h 144"/>
                  <a:gd name="T20" fmla="*/ 6313 w 171"/>
                  <a:gd name="T21" fmla="*/ 21431 h 144"/>
                  <a:gd name="T22" fmla="*/ 6313 w 171"/>
                  <a:gd name="T23" fmla="*/ 15081 h 144"/>
                  <a:gd name="T24" fmla="*/ 10258 w 171"/>
                  <a:gd name="T25" fmla="*/ 19050 h 144"/>
                  <a:gd name="T26" fmla="*/ 19728 w 171"/>
                  <a:gd name="T27" fmla="*/ 19050 h 144"/>
                  <a:gd name="T28" fmla="*/ 29986 w 171"/>
                  <a:gd name="T29" fmla="*/ 28575 h 14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1"/>
                  <a:gd name="T46" fmla="*/ 0 h 144"/>
                  <a:gd name="T47" fmla="*/ 171 w 171"/>
                  <a:gd name="T48" fmla="*/ 144 h 14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1" h="144">
                    <a:moveTo>
                      <a:pt x="154" y="144"/>
                    </a:moveTo>
                    <a:lnTo>
                      <a:pt x="154" y="144"/>
                    </a:lnTo>
                    <a:lnTo>
                      <a:pt x="171" y="144"/>
                    </a:lnTo>
                    <a:lnTo>
                      <a:pt x="119" y="96"/>
                    </a:lnTo>
                    <a:lnTo>
                      <a:pt x="85" y="63"/>
                    </a:lnTo>
                    <a:lnTo>
                      <a:pt x="52" y="0"/>
                    </a:lnTo>
                    <a:lnTo>
                      <a:pt x="52" y="15"/>
                    </a:lnTo>
                    <a:lnTo>
                      <a:pt x="18" y="31"/>
                    </a:lnTo>
                    <a:lnTo>
                      <a:pt x="0" y="96"/>
                    </a:lnTo>
                    <a:lnTo>
                      <a:pt x="18" y="96"/>
                    </a:lnTo>
                    <a:lnTo>
                      <a:pt x="35" y="111"/>
                    </a:lnTo>
                    <a:lnTo>
                      <a:pt x="35" y="78"/>
                    </a:lnTo>
                    <a:lnTo>
                      <a:pt x="52" y="96"/>
                    </a:lnTo>
                    <a:lnTo>
                      <a:pt x="102" y="96"/>
                    </a:lnTo>
                    <a:lnTo>
                      <a:pt x="154" y="14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51" name="Freeform 287b">
                <a:extLst>
                  <a:ext uri="{FF2B5EF4-FFF2-40B4-BE49-F238E27FC236}">
                    <a16:creationId xmlns:a16="http://schemas.microsoft.com/office/drawing/2014/main" id="{7095CABA-11EA-344A-9774-6D97F9FC24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1814" y="4394683"/>
                <a:ext cx="263729" cy="172554"/>
              </a:xfrm>
              <a:custGeom>
                <a:avLst/>
                <a:gdLst/>
                <a:ahLst/>
                <a:cxnLst>
                  <a:cxn ang="0">
                    <a:pos x="248" y="137"/>
                  </a:cxn>
                  <a:cxn ang="0">
                    <a:pos x="220" y="99"/>
                  </a:cxn>
                  <a:cxn ang="0">
                    <a:pos x="205" y="85"/>
                  </a:cxn>
                  <a:cxn ang="0">
                    <a:pos x="217" y="75"/>
                  </a:cxn>
                  <a:cxn ang="0">
                    <a:pos x="220" y="73"/>
                  </a:cxn>
                  <a:cxn ang="0">
                    <a:pos x="231" y="40"/>
                  </a:cxn>
                  <a:cxn ang="0">
                    <a:pos x="213" y="28"/>
                  </a:cxn>
                  <a:cxn ang="0">
                    <a:pos x="213" y="0"/>
                  </a:cxn>
                  <a:cxn ang="0">
                    <a:pos x="187" y="4"/>
                  </a:cxn>
                  <a:cxn ang="0">
                    <a:pos x="189" y="35"/>
                  </a:cxn>
                  <a:cxn ang="0">
                    <a:pos x="170" y="56"/>
                  </a:cxn>
                  <a:cxn ang="0">
                    <a:pos x="139" y="44"/>
                  </a:cxn>
                  <a:cxn ang="0">
                    <a:pos x="99" y="61"/>
                  </a:cxn>
                  <a:cxn ang="0">
                    <a:pos x="73" y="59"/>
                  </a:cxn>
                  <a:cxn ang="0">
                    <a:pos x="52" y="37"/>
                  </a:cxn>
                  <a:cxn ang="0">
                    <a:pos x="38" y="40"/>
                  </a:cxn>
                  <a:cxn ang="0">
                    <a:pos x="28" y="54"/>
                  </a:cxn>
                  <a:cxn ang="0">
                    <a:pos x="12" y="73"/>
                  </a:cxn>
                  <a:cxn ang="0">
                    <a:pos x="0" y="73"/>
                  </a:cxn>
                  <a:cxn ang="0">
                    <a:pos x="5" y="75"/>
                  </a:cxn>
                  <a:cxn ang="0">
                    <a:pos x="28" y="85"/>
                  </a:cxn>
                  <a:cxn ang="0">
                    <a:pos x="83" y="151"/>
                  </a:cxn>
                  <a:cxn ang="0">
                    <a:pos x="97" y="163"/>
                  </a:cxn>
                  <a:cxn ang="0">
                    <a:pos x="137" y="163"/>
                  </a:cxn>
                  <a:cxn ang="0">
                    <a:pos x="151" y="174"/>
                  </a:cxn>
                  <a:cxn ang="0">
                    <a:pos x="179" y="174"/>
                  </a:cxn>
                  <a:cxn ang="0">
                    <a:pos x="220" y="163"/>
                  </a:cxn>
                  <a:cxn ang="0">
                    <a:pos x="234" y="163"/>
                  </a:cxn>
                  <a:cxn ang="0">
                    <a:pos x="262" y="163"/>
                  </a:cxn>
                  <a:cxn ang="0">
                    <a:pos x="262" y="137"/>
                  </a:cxn>
                  <a:cxn ang="0">
                    <a:pos x="248" y="137"/>
                  </a:cxn>
                </a:cxnLst>
                <a:rect l="0" t="0" r="r" b="b"/>
                <a:pathLst>
                  <a:path w="262" h="174">
                    <a:moveTo>
                      <a:pt x="248" y="137"/>
                    </a:moveTo>
                    <a:lnTo>
                      <a:pt x="220" y="99"/>
                    </a:lnTo>
                    <a:lnTo>
                      <a:pt x="205" y="85"/>
                    </a:lnTo>
                    <a:lnTo>
                      <a:pt x="217" y="75"/>
                    </a:lnTo>
                    <a:lnTo>
                      <a:pt x="220" y="73"/>
                    </a:lnTo>
                    <a:lnTo>
                      <a:pt x="231" y="40"/>
                    </a:lnTo>
                    <a:lnTo>
                      <a:pt x="213" y="28"/>
                    </a:lnTo>
                    <a:lnTo>
                      <a:pt x="213" y="0"/>
                    </a:lnTo>
                    <a:lnTo>
                      <a:pt x="187" y="4"/>
                    </a:lnTo>
                    <a:lnTo>
                      <a:pt x="189" y="35"/>
                    </a:lnTo>
                    <a:lnTo>
                      <a:pt x="170" y="56"/>
                    </a:lnTo>
                    <a:lnTo>
                      <a:pt x="139" y="44"/>
                    </a:lnTo>
                    <a:lnTo>
                      <a:pt x="99" y="61"/>
                    </a:lnTo>
                    <a:lnTo>
                      <a:pt x="73" y="59"/>
                    </a:lnTo>
                    <a:lnTo>
                      <a:pt x="52" y="37"/>
                    </a:lnTo>
                    <a:lnTo>
                      <a:pt x="38" y="40"/>
                    </a:lnTo>
                    <a:lnTo>
                      <a:pt x="28" y="54"/>
                    </a:lnTo>
                    <a:lnTo>
                      <a:pt x="12" y="73"/>
                    </a:lnTo>
                    <a:lnTo>
                      <a:pt x="0" y="73"/>
                    </a:lnTo>
                    <a:lnTo>
                      <a:pt x="5" y="75"/>
                    </a:lnTo>
                    <a:lnTo>
                      <a:pt x="28" y="85"/>
                    </a:lnTo>
                    <a:lnTo>
                      <a:pt x="83" y="151"/>
                    </a:lnTo>
                    <a:lnTo>
                      <a:pt x="97" y="163"/>
                    </a:lnTo>
                    <a:lnTo>
                      <a:pt x="137" y="163"/>
                    </a:lnTo>
                    <a:lnTo>
                      <a:pt x="151" y="174"/>
                    </a:lnTo>
                    <a:lnTo>
                      <a:pt x="179" y="174"/>
                    </a:lnTo>
                    <a:lnTo>
                      <a:pt x="220" y="163"/>
                    </a:lnTo>
                    <a:lnTo>
                      <a:pt x="234" y="163"/>
                    </a:lnTo>
                    <a:lnTo>
                      <a:pt x="262" y="163"/>
                    </a:lnTo>
                    <a:lnTo>
                      <a:pt x="262" y="137"/>
                    </a:lnTo>
                    <a:lnTo>
                      <a:pt x="248" y="13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52" name="Freeform 287a">
                <a:extLst>
                  <a:ext uri="{FF2B5EF4-FFF2-40B4-BE49-F238E27FC236}">
                    <a16:creationId xmlns:a16="http://schemas.microsoft.com/office/drawing/2014/main" id="{3CE94D04-E605-2046-830C-F991F907B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537" y="4173537"/>
                <a:ext cx="360363" cy="293540"/>
              </a:xfrm>
              <a:custGeom>
                <a:avLst/>
                <a:gdLst/>
                <a:ahLst/>
                <a:cxnLst>
                  <a:cxn ang="0">
                    <a:pos x="347" y="90"/>
                  </a:cxn>
                  <a:cxn ang="0">
                    <a:pos x="332" y="15"/>
                  </a:cxn>
                  <a:cxn ang="0">
                    <a:pos x="304" y="0"/>
                  </a:cxn>
                  <a:cxn ang="0">
                    <a:pos x="262" y="26"/>
                  </a:cxn>
                  <a:cxn ang="0">
                    <a:pos x="247" y="15"/>
                  </a:cxn>
                  <a:cxn ang="0">
                    <a:pos x="70" y="15"/>
                  </a:cxn>
                  <a:cxn ang="0">
                    <a:pos x="70" y="52"/>
                  </a:cxn>
                  <a:cxn ang="0">
                    <a:pos x="56" y="67"/>
                  </a:cxn>
                  <a:cxn ang="0">
                    <a:pos x="42" y="78"/>
                  </a:cxn>
                  <a:cxn ang="0">
                    <a:pos x="42" y="142"/>
                  </a:cxn>
                  <a:cxn ang="0">
                    <a:pos x="42" y="154"/>
                  </a:cxn>
                  <a:cxn ang="0">
                    <a:pos x="28" y="154"/>
                  </a:cxn>
                  <a:cxn ang="0">
                    <a:pos x="0" y="206"/>
                  </a:cxn>
                  <a:cxn ang="0">
                    <a:pos x="28" y="244"/>
                  </a:cxn>
                  <a:cxn ang="0">
                    <a:pos x="14" y="244"/>
                  </a:cxn>
                  <a:cxn ang="0">
                    <a:pos x="42" y="270"/>
                  </a:cxn>
                  <a:cxn ang="0">
                    <a:pos x="42" y="296"/>
                  </a:cxn>
                  <a:cxn ang="0">
                    <a:pos x="42" y="296"/>
                  </a:cxn>
                  <a:cxn ang="0">
                    <a:pos x="54" y="296"/>
                  </a:cxn>
                  <a:cxn ang="0">
                    <a:pos x="70" y="277"/>
                  </a:cxn>
                  <a:cxn ang="0">
                    <a:pos x="80" y="263"/>
                  </a:cxn>
                  <a:cxn ang="0">
                    <a:pos x="94" y="260"/>
                  </a:cxn>
                  <a:cxn ang="0">
                    <a:pos x="115" y="282"/>
                  </a:cxn>
                  <a:cxn ang="0">
                    <a:pos x="141" y="284"/>
                  </a:cxn>
                  <a:cxn ang="0">
                    <a:pos x="181" y="267"/>
                  </a:cxn>
                  <a:cxn ang="0">
                    <a:pos x="212" y="279"/>
                  </a:cxn>
                  <a:cxn ang="0">
                    <a:pos x="231" y="258"/>
                  </a:cxn>
                  <a:cxn ang="0">
                    <a:pos x="229" y="227"/>
                  </a:cxn>
                  <a:cxn ang="0">
                    <a:pos x="255" y="223"/>
                  </a:cxn>
                  <a:cxn ang="0">
                    <a:pos x="255" y="251"/>
                  </a:cxn>
                  <a:cxn ang="0">
                    <a:pos x="273" y="263"/>
                  </a:cxn>
                  <a:cxn ang="0">
                    <a:pos x="276" y="258"/>
                  </a:cxn>
                  <a:cxn ang="0">
                    <a:pos x="318" y="206"/>
                  </a:cxn>
                  <a:cxn ang="0">
                    <a:pos x="318" y="182"/>
                  </a:cxn>
                  <a:cxn ang="0">
                    <a:pos x="332" y="130"/>
                  </a:cxn>
                  <a:cxn ang="0">
                    <a:pos x="358" y="116"/>
                  </a:cxn>
                  <a:cxn ang="0">
                    <a:pos x="358" y="104"/>
                  </a:cxn>
                  <a:cxn ang="0">
                    <a:pos x="347" y="90"/>
                  </a:cxn>
                </a:cxnLst>
                <a:rect l="0" t="0" r="r" b="b"/>
                <a:pathLst>
                  <a:path w="358" h="296">
                    <a:moveTo>
                      <a:pt x="347" y="90"/>
                    </a:moveTo>
                    <a:lnTo>
                      <a:pt x="332" y="15"/>
                    </a:lnTo>
                    <a:lnTo>
                      <a:pt x="304" y="0"/>
                    </a:lnTo>
                    <a:lnTo>
                      <a:pt x="262" y="26"/>
                    </a:lnTo>
                    <a:lnTo>
                      <a:pt x="247" y="15"/>
                    </a:lnTo>
                    <a:lnTo>
                      <a:pt x="70" y="15"/>
                    </a:lnTo>
                    <a:lnTo>
                      <a:pt x="70" y="52"/>
                    </a:lnTo>
                    <a:lnTo>
                      <a:pt x="56" y="67"/>
                    </a:lnTo>
                    <a:lnTo>
                      <a:pt x="42" y="78"/>
                    </a:lnTo>
                    <a:lnTo>
                      <a:pt x="42" y="142"/>
                    </a:lnTo>
                    <a:lnTo>
                      <a:pt x="42" y="154"/>
                    </a:lnTo>
                    <a:lnTo>
                      <a:pt x="28" y="154"/>
                    </a:lnTo>
                    <a:lnTo>
                      <a:pt x="0" y="206"/>
                    </a:lnTo>
                    <a:lnTo>
                      <a:pt x="28" y="244"/>
                    </a:lnTo>
                    <a:lnTo>
                      <a:pt x="14" y="244"/>
                    </a:lnTo>
                    <a:lnTo>
                      <a:pt x="42" y="270"/>
                    </a:lnTo>
                    <a:lnTo>
                      <a:pt x="42" y="296"/>
                    </a:lnTo>
                    <a:lnTo>
                      <a:pt x="42" y="296"/>
                    </a:lnTo>
                    <a:lnTo>
                      <a:pt x="54" y="296"/>
                    </a:lnTo>
                    <a:lnTo>
                      <a:pt x="70" y="277"/>
                    </a:lnTo>
                    <a:lnTo>
                      <a:pt x="80" y="263"/>
                    </a:lnTo>
                    <a:lnTo>
                      <a:pt x="94" y="260"/>
                    </a:lnTo>
                    <a:lnTo>
                      <a:pt x="115" y="282"/>
                    </a:lnTo>
                    <a:lnTo>
                      <a:pt x="141" y="284"/>
                    </a:lnTo>
                    <a:lnTo>
                      <a:pt x="181" y="267"/>
                    </a:lnTo>
                    <a:lnTo>
                      <a:pt x="212" y="279"/>
                    </a:lnTo>
                    <a:lnTo>
                      <a:pt x="231" y="258"/>
                    </a:lnTo>
                    <a:lnTo>
                      <a:pt x="229" y="227"/>
                    </a:lnTo>
                    <a:lnTo>
                      <a:pt x="255" y="223"/>
                    </a:lnTo>
                    <a:lnTo>
                      <a:pt x="255" y="251"/>
                    </a:lnTo>
                    <a:lnTo>
                      <a:pt x="273" y="263"/>
                    </a:lnTo>
                    <a:lnTo>
                      <a:pt x="276" y="258"/>
                    </a:lnTo>
                    <a:lnTo>
                      <a:pt x="318" y="206"/>
                    </a:lnTo>
                    <a:lnTo>
                      <a:pt x="318" y="182"/>
                    </a:lnTo>
                    <a:lnTo>
                      <a:pt x="332" y="130"/>
                    </a:lnTo>
                    <a:lnTo>
                      <a:pt x="358" y="116"/>
                    </a:lnTo>
                    <a:lnTo>
                      <a:pt x="358" y="104"/>
                    </a:lnTo>
                    <a:lnTo>
                      <a:pt x="347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53" name="Freeform 288">
                <a:extLst>
                  <a:ext uri="{FF2B5EF4-FFF2-40B4-BE49-F238E27FC236}">
                    <a16:creationId xmlns:a16="http://schemas.microsoft.com/office/drawing/2014/main" id="{E28B87B7-F7B9-6745-809D-52E9C7B90E3D}"/>
                  </a:ext>
                </a:extLst>
              </p:cNvPr>
              <p:cNvSpPr>
                <a:spLocks/>
              </p:cNvSpPr>
              <p:nvPr>
                <p:custDataLst>
                  <p:tags r:id="rId313"/>
                </p:custDataLst>
              </p:nvPr>
            </p:nvSpPr>
            <p:spPr bwMode="auto">
              <a:xfrm>
                <a:off x="4900613" y="4376738"/>
                <a:ext cx="166688" cy="228600"/>
              </a:xfrm>
              <a:custGeom>
                <a:avLst/>
                <a:gdLst>
                  <a:gd name="T0" fmla="*/ 0 w 212"/>
                  <a:gd name="T1" fmla="*/ 41275 h 288"/>
                  <a:gd name="T2" fmla="*/ 0 w 212"/>
                  <a:gd name="T3" fmla="*/ 41275 h 288"/>
                  <a:gd name="T4" fmla="*/ 6290 w 212"/>
                  <a:gd name="T5" fmla="*/ 31750 h 288"/>
                  <a:gd name="T6" fmla="*/ 10221 w 212"/>
                  <a:gd name="T7" fmla="*/ 31750 h 288"/>
                  <a:gd name="T8" fmla="*/ 13366 w 212"/>
                  <a:gd name="T9" fmla="*/ 34925 h 288"/>
                  <a:gd name="T10" fmla="*/ 17298 w 212"/>
                  <a:gd name="T11" fmla="*/ 31750 h 288"/>
                  <a:gd name="T12" fmla="*/ 23588 w 212"/>
                  <a:gd name="T13" fmla="*/ 22225 h 288"/>
                  <a:gd name="T14" fmla="*/ 27519 w 212"/>
                  <a:gd name="T15" fmla="*/ 13494 h 288"/>
                  <a:gd name="T16" fmla="*/ 30664 w 212"/>
                  <a:gd name="T17" fmla="*/ 7144 h 288"/>
                  <a:gd name="T18" fmla="*/ 30664 w 212"/>
                  <a:gd name="T19" fmla="*/ 3969 h 288"/>
                  <a:gd name="T20" fmla="*/ 30664 w 212"/>
                  <a:gd name="T21" fmla="*/ 0 h 288"/>
                  <a:gd name="T22" fmla="*/ 30664 w 212"/>
                  <a:gd name="T23" fmla="*/ 3969 h 288"/>
                  <a:gd name="T24" fmla="*/ 37741 w 212"/>
                  <a:gd name="T25" fmla="*/ 15875 h 288"/>
                  <a:gd name="T26" fmla="*/ 30664 w 212"/>
                  <a:gd name="T27" fmla="*/ 15875 h 288"/>
                  <a:gd name="T28" fmla="*/ 30664 w 212"/>
                  <a:gd name="T29" fmla="*/ 19050 h 288"/>
                  <a:gd name="T30" fmla="*/ 34596 w 212"/>
                  <a:gd name="T31" fmla="*/ 22225 h 288"/>
                  <a:gd name="T32" fmla="*/ 37741 w 212"/>
                  <a:gd name="T33" fmla="*/ 28575 h 288"/>
                  <a:gd name="T34" fmla="*/ 30664 w 212"/>
                  <a:gd name="T35" fmla="*/ 38100 h 288"/>
                  <a:gd name="T36" fmla="*/ 34596 w 212"/>
                  <a:gd name="T37" fmla="*/ 41275 h 288"/>
                  <a:gd name="T38" fmla="*/ 40886 w 212"/>
                  <a:gd name="T39" fmla="*/ 51594 h 288"/>
                  <a:gd name="T40" fmla="*/ 40886 w 212"/>
                  <a:gd name="T41" fmla="*/ 57150 h 288"/>
                  <a:gd name="T42" fmla="*/ 23588 w 212"/>
                  <a:gd name="T43" fmla="*/ 54769 h 288"/>
                  <a:gd name="T44" fmla="*/ 13366 w 212"/>
                  <a:gd name="T45" fmla="*/ 54769 h 288"/>
                  <a:gd name="T46" fmla="*/ 6290 w 212"/>
                  <a:gd name="T47" fmla="*/ 54769 h 288"/>
                  <a:gd name="T48" fmla="*/ 6290 w 212"/>
                  <a:gd name="T49" fmla="*/ 51594 h 288"/>
                  <a:gd name="T50" fmla="*/ 3145 w 212"/>
                  <a:gd name="T51" fmla="*/ 47625 h 288"/>
                  <a:gd name="T52" fmla="*/ 0 w 212"/>
                  <a:gd name="T53" fmla="*/ 44450 h 288"/>
                  <a:gd name="T54" fmla="*/ 0 w 212"/>
                  <a:gd name="T55" fmla="*/ 41275 h 288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12"/>
                  <a:gd name="T85" fmla="*/ 0 h 288"/>
                  <a:gd name="T86" fmla="*/ 212 w 212"/>
                  <a:gd name="T87" fmla="*/ 288 h 288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12" h="288">
                    <a:moveTo>
                      <a:pt x="0" y="210"/>
                    </a:moveTo>
                    <a:lnTo>
                      <a:pt x="0" y="210"/>
                    </a:lnTo>
                    <a:lnTo>
                      <a:pt x="35" y="162"/>
                    </a:lnTo>
                    <a:lnTo>
                      <a:pt x="52" y="162"/>
                    </a:lnTo>
                    <a:lnTo>
                      <a:pt x="69" y="177"/>
                    </a:lnTo>
                    <a:lnTo>
                      <a:pt x="89" y="162"/>
                    </a:lnTo>
                    <a:lnTo>
                      <a:pt x="123" y="114"/>
                    </a:lnTo>
                    <a:lnTo>
                      <a:pt x="141" y="66"/>
                    </a:lnTo>
                    <a:lnTo>
                      <a:pt x="158" y="33"/>
                    </a:lnTo>
                    <a:lnTo>
                      <a:pt x="158" y="18"/>
                    </a:lnTo>
                    <a:lnTo>
                      <a:pt x="158" y="0"/>
                    </a:lnTo>
                    <a:lnTo>
                      <a:pt x="158" y="18"/>
                    </a:lnTo>
                    <a:lnTo>
                      <a:pt x="194" y="81"/>
                    </a:lnTo>
                    <a:lnTo>
                      <a:pt x="158" y="81"/>
                    </a:lnTo>
                    <a:lnTo>
                      <a:pt x="158" y="96"/>
                    </a:lnTo>
                    <a:lnTo>
                      <a:pt x="177" y="114"/>
                    </a:lnTo>
                    <a:lnTo>
                      <a:pt x="194" y="144"/>
                    </a:lnTo>
                    <a:lnTo>
                      <a:pt x="158" y="192"/>
                    </a:lnTo>
                    <a:lnTo>
                      <a:pt x="177" y="210"/>
                    </a:lnTo>
                    <a:lnTo>
                      <a:pt x="212" y="258"/>
                    </a:lnTo>
                    <a:lnTo>
                      <a:pt x="212" y="288"/>
                    </a:lnTo>
                    <a:lnTo>
                      <a:pt x="123" y="273"/>
                    </a:lnTo>
                    <a:lnTo>
                      <a:pt x="69" y="273"/>
                    </a:lnTo>
                    <a:lnTo>
                      <a:pt x="35" y="273"/>
                    </a:lnTo>
                    <a:lnTo>
                      <a:pt x="35" y="258"/>
                    </a:lnTo>
                    <a:lnTo>
                      <a:pt x="18" y="240"/>
                    </a:lnTo>
                    <a:lnTo>
                      <a:pt x="0" y="225"/>
                    </a:lnTo>
                    <a:lnTo>
                      <a:pt x="0" y="21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54" name="Freeform 289">
                <a:extLst>
                  <a:ext uri="{FF2B5EF4-FFF2-40B4-BE49-F238E27FC236}">
                    <a16:creationId xmlns:a16="http://schemas.microsoft.com/office/drawing/2014/main" id="{C09F6128-F897-A447-AEA7-8A7FD3B4C0B3}"/>
                  </a:ext>
                </a:extLst>
              </p:cNvPr>
              <p:cNvSpPr>
                <a:spLocks/>
              </p:cNvSpPr>
              <p:nvPr>
                <p:custDataLst>
                  <p:tags r:id="rId314"/>
                </p:custDataLst>
              </p:nvPr>
            </p:nvSpPr>
            <p:spPr bwMode="auto">
              <a:xfrm>
                <a:off x="4913313" y="4592638"/>
                <a:ext cx="42863" cy="25400"/>
              </a:xfrm>
              <a:custGeom>
                <a:avLst/>
                <a:gdLst>
                  <a:gd name="T0" fmla="*/ 11322 w 53"/>
                  <a:gd name="T1" fmla="*/ 0 h 33"/>
                  <a:gd name="T2" fmla="*/ 11322 w 53"/>
                  <a:gd name="T3" fmla="*/ 0 h 33"/>
                  <a:gd name="T4" fmla="*/ 11322 w 53"/>
                  <a:gd name="T5" fmla="*/ 6158 h 33"/>
                  <a:gd name="T6" fmla="*/ 4044 w 53"/>
                  <a:gd name="T7" fmla="*/ 6158 h 33"/>
                  <a:gd name="T8" fmla="*/ 0 w 53"/>
                  <a:gd name="T9" fmla="*/ 6158 h 33"/>
                  <a:gd name="T10" fmla="*/ 4044 w 53"/>
                  <a:gd name="T11" fmla="*/ 0 h 33"/>
                  <a:gd name="T12" fmla="*/ 11322 w 53"/>
                  <a:gd name="T13" fmla="*/ 0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3"/>
                  <a:gd name="T22" fmla="*/ 0 h 33"/>
                  <a:gd name="T23" fmla="*/ 53 w 53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3" h="33">
                    <a:moveTo>
                      <a:pt x="53" y="0"/>
                    </a:moveTo>
                    <a:lnTo>
                      <a:pt x="53" y="0"/>
                    </a:lnTo>
                    <a:lnTo>
                      <a:pt x="53" y="33"/>
                    </a:lnTo>
                    <a:lnTo>
                      <a:pt x="17" y="33"/>
                    </a:lnTo>
                    <a:lnTo>
                      <a:pt x="0" y="33"/>
                    </a:lnTo>
                    <a:lnTo>
                      <a:pt x="17" y="0"/>
                    </a:lnTo>
                    <a:lnTo>
                      <a:pt x="53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55" name="Freeform 290">
                <a:extLst>
                  <a:ext uri="{FF2B5EF4-FFF2-40B4-BE49-F238E27FC236}">
                    <a16:creationId xmlns:a16="http://schemas.microsoft.com/office/drawing/2014/main" id="{1EDF728A-E670-1943-A3CE-087A6DD6A199}"/>
                  </a:ext>
                </a:extLst>
              </p:cNvPr>
              <p:cNvSpPr>
                <a:spLocks/>
              </p:cNvSpPr>
              <p:nvPr>
                <p:custDataLst>
                  <p:tags r:id="rId315"/>
                </p:custDataLst>
              </p:nvPr>
            </p:nvSpPr>
            <p:spPr bwMode="auto">
              <a:xfrm>
                <a:off x="5438774" y="4338638"/>
                <a:ext cx="315913" cy="228600"/>
              </a:xfrm>
              <a:custGeom>
                <a:avLst/>
                <a:gdLst>
                  <a:gd name="T0" fmla="*/ 48297 w 399"/>
                  <a:gd name="T1" fmla="*/ 13494 h 288"/>
                  <a:gd name="T2" fmla="*/ 48297 w 399"/>
                  <a:gd name="T3" fmla="*/ 13494 h 288"/>
                  <a:gd name="T4" fmla="*/ 48297 w 399"/>
                  <a:gd name="T5" fmla="*/ 19050 h 288"/>
                  <a:gd name="T6" fmla="*/ 48297 w 399"/>
                  <a:gd name="T7" fmla="*/ 22225 h 288"/>
                  <a:gd name="T8" fmla="*/ 51465 w 399"/>
                  <a:gd name="T9" fmla="*/ 22225 h 288"/>
                  <a:gd name="T10" fmla="*/ 51465 w 399"/>
                  <a:gd name="T11" fmla="*/ 26194 h 288"/>
                  <a:gd name="T12" fmla="*/ 58590 w 399"/>
                  <a:gd name="T13" fmla="*/ 31750 h 288"/>
                  <a:gd name="T14" fmla="*/ 75217 w 399"/>
                  <a:gd name="T15" fmla="*/ 34925 h 288"/>
                  <a:gd name="T16" fmla="*/ 78384 w 399"/>
                  <a:gd name="T17" fmla="*/ 34925 h 288"/>
                  <a:gd name="T18" fmla="*/ 64924 w 399"/>
                  <a:gd name="T19" fmla="*/ 51594 h 288"/>
                  <a:gd name="T20" fmla="*/ 54632 w 399"/>
                  <a:gd name="T21" fmla="*/ 51594 h 288"/>
                  <a:gd name="T22" fmla="*/ 48297 w 399"/>
                  <a:gd name="T23" fmla="*/ 57150 h 288"/>
                  <a:gd name="T24" fmla="*/ 40380 w 399"/>
                  <a:gd name="T25" fmla="*/ 54769 h 288"/>
                  <a:gd name="T26" fmla="*/ 30879 w 399"/>
                  <a:gd name="T27" fmla="*/ 57150 h 288"/>
                  <a:gd name="T28" fmla="*/ 13460 w 399"/>
                  <a:gd name="T29" fmla="*/ 54769 h 288"/>
                  <a:gd name="T30" fmla="*/ 13460 w 399"/>
                  <a:gd name="T31" fmla="*/ 47625 h 288"/>
                  <a:gd name="T32" fmla="*/ 10293 w 399"/>
                  <a:gd name="T33" fmla="*/ 47625 h 288"/>
                  <a:gd name="T34" fmla="*/ 3167 w 399"/>
                  <a:gd name="T35" fmla="*/ 38100 h 288"/>
                  <a:gd name="T36" fmla="*/ 0 w 399"/>
                  <a:gd name="T37" fmla="*/ 34925 h 288"/>
                  <a:gd name="T38" fmla="*/ 3167 w 399"/>
                  <a:gd name="T39" fmla="*/ 31750 h 288"/>
                  <a:gd name="T40" fmla="*/ 6334 w 399"/>
                  <a:gd name="T41" fmla="*/ 22225 h 288"/>
                  <a:gd name="T42" fmla="*/ 16627 w 399"/>
                  <a:gd name="T43" fmla="*/ 9525 h 288"/>
                  <a:gd name="T44" fmla="*/ 16627 w 399"/>
                  <a:gd name="T45" fmla="*/ 3969 h 288"/>
                  <a:gd name="T46" fmla="*/ 20586 w 399"/>
                  <a:gd name="T47" fmla="*/ 3969 h 288"/>
                  <a:gd name="T48" fmla="*/ 23753 w 399"/>
                  <a:gd name="T49" fmla="*/ 7144 h 288"/>
                  <a:gd name="T50" fmla="*/ 23753 w 399"/>
                  <a:gd name="T51" fmla="*/ 0 h 288"/>
                  <a:gd name="T52" fmla="*/ 26920 w 399"/>
                  <a:gd name="T53" fmla="*/ 3969 h 288"/>
                  <a:gd name="T54" fmla="*/ 37213 w 399"/>
                  <a:gd name="T55" fmla="*/ 3969 h 288"/>
                  <a:gd name="T56" fmla="*/ 48297 w 399"/>
                  <a:gd name="T57" fmla="*/ 13494 h 28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399"/>
                  <a:gd name="T88" fmla="*/ 0 h 288"/>
                  <a:gd name="T89" fmla="*/ 399 w 399"/>
                  <a:gd name="T90" fmla="*/ 288 h 28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399" h="288">
                    <a:moveTo>
                      <a:pt x="244" y="66"/>
                    </a:moveTo>
                    <a:lnTo>
                      <a:pt x="244" y="66"/>
                    </a:lnTo>
                    <a:lnTo>
                      <a:pt x="244" y="96"/>
                    </a:lnTo>
                    <a:lnTo>
                      <a:pt x="244" y="114"/>
                    </a:lnTo>
                    <a:lnTo>
                      <a:pt x="261" y="114"/>
                    </a:lnTo>
                    <a:lnTo>
                      <a:pt x="261" y="129"/>
                    </a:lnTo>
                    <a:lnTo>
                      <a:pt x="296" y="162"/>
                    </a:lnTo>
                    <a:lnTo>
                      <a:pt x="382" y="177"/>
                    </a:lnTo>
                    <a:lnTo>
                      <a:pt x="399" y="177"/>
                    </a:lnTo>
                    <a:lnTo>
                      <a:pt x="330" y="258"/>
                    </a:lnTo>
                    <a:lnTo>
                      <a:pt x="278" y="258"/>
                    </a:lnTo>
                    <a:lnTo>
                      <a:pt x="244" y="288"/>
                    </a:lnTo>
                    <a:lnTo>
                      <a:pt x="207" y="273"/>
                    </a:lnTo>
                    <a:lnTo>
                      <a:pt x="156" y="288"/>
                    </a:lnTo>
                    <a:lnTo>
                      <a:pt x="69" y="273"/>
                    </a:lnTo>
                    <a:lnTo>
                      <a:pt x="69" y="240"/>
                    </a:lnTo>
                    <a:lnTo>
                      <a:pt x="52" y="240"/>
                    </a:lnTo>
                    <a:lnTo>
                      <a:pt x="17" y="192"/>
                    </a:lnTo>
                    <a:lnTo>
                      <a:pt x="0" y="177"/>
                    </a:lnTo>
                    <a:lnTo>
                      <a:pt x="17" y="162"/>
                    </a:lnTo>
                    <a:lnTo>
                      <a:pt x="35" y="114"/>
                    </a:lnTo>
                    <a:lnTo>
                      <a:pt x="86" y="48"/>
                    </a:lnTo>
                    <a:lnTo>
                      <a:pt x="86" y="18"/>
                    </a:lnTo>
                    <a:lnTo>
                      <a:pt x="104" y="18"/>
                    </a:lnTo>
                    <a:lnTo>
                      <a:pt x="121" y="33"/>
                    </a:lnTo>
                    <a:lnTo>
                      <a:pt x="121" y="0"/>
                    </a:lnTo>
                    <a:lnTo>
                      <a:pt x="138" y="18"/>
                    </a:lnTo>
                    <a:lnTo>
                      <a:pt x="190" y="18"/>
                    </a:lnTo>
                    <a:lnTo>
                      <a:pt x="244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56" name="Freeform 291">
                <a:extLst>
                  <a:ext uri="{FF2B5EF4-FFF2-40B4-BE49-F238E27FC236}">
                    <a16:creationId xmlns:a16="http://schemas.microsoft.com/office/drawing/2014/main" id="{64FB9998-9895-0448-8B02-A26499ECF282}"/>
                  </a:ext>
                </a:extLst>
              </p:cNvPr>
              <p:cNvSpPr>
                <a:spLocks/>
              </p:cNvSpPr>
              <p:nvPr>
                <p:custDataLst>
                  <p:tags r:id="rId316"/>
                </p:custDataLst>
              </p:nvPr>
            </p:nvSpPr>
            <p:spPr bwMode="auto">
              <a:xfrm>
                <a:off x="5630862" y="4389438"/>
                <a:ext cx="28575" cy="38100"/>
              </a:xfrm>
              <a:custGeom>
                <a:avLst/>
                <a:gdLst>
                  <a:gd name="T0" fmla="*/ 4202 w 34"/>
                  <a:gd name="T1" fmla="*/ 9525 h 48"/>
                  <a:gd name="T2" fmla="*/ 4202 w 34"/>
                  <a:gd name="T3" fmla="*/ 9525 h 48"/>
                  <a:gd name="T4" fmla="*/ 0 w 34"/>
                  <a:gd name="T5" fmla="*/ 9525 h 48"/>
                  <a:gd name="T6" fmla="*/ 0 w 34"/>
                  <a:gd name="T7" fmla="*/ 5556 h 48"/>
                  <a:gd name="T8" fmla="*/ 0 w 34"/>
                  <a:gd name="T9" fmla="*/ 0 h 48"/>
                  <a:gd name="T10" fmla="*/ 4202 w 34"/>
                  <a:gd name="T11" fmla="*/ 0 h 48"/>
                  <a:gd name="T12" fmla="*/ 8404 w 34"/>
                  <a:gd name="T13" fmla="*/ 0 h 48"/>
                  <a:gd name="T14" fmla="*/ 8404 w 34"/>
                  <a:gd name="T15" fmla="*/ 2381 h 48"/>
                  <a:gd name="T16" fmla="*/ 4202 w 34"/>
                  <a:gd name="T17" fmla="*/ 2381 h 48"/>
                  <a:gd name="T18" fmla="*/ 8404 w 34"/>
                  <a:gd name="T19" fmla="*/ 5556 h 48"/>
                  <a:gd name="T20" fmla="*/ 4202 w 34"/>
                  <a:gd name="T21" fmla="*/ 9525 h 4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4"/>
                  <a:gd name="T34" fmla="*/ 0 h 48"/>
                  <a:gd name="T35" fmla="*/ 34 w 34"/>
                  <a:gd name="T36" fmla="*/ 48 h 4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4" h="48">
                    <a:moveTo>
                      <a:pt x="17" y="48"/>
                    </a:moveTo>
                    <a:lnTo>
                      <a:pt x="17" y="48"/>
                    </a:lnTo>
                    <a:lnTo>
                      <a:pt x="0" y="48"/>
                    </a:lnTo>
                    <a:lnTo>
                      <a:pt x="0" y="30"/>
                    </a:lnTo>
                    <a:lnTo>
                      <a:pt x="0" y="0"/>
                    </a:lnTo>
                    <a:lnTo>
                      <a:pt x="17" y="0"/>
                    </a:lnTo>
                    <a:lnTo>
                      <a:pt x="34" y="0"/>
                    </a:lnTo>
                    <a:lnTo>
                      <a:pt x="34" y="15"/>
                    </a:lnTo>
                    <a:lnTo>
                      <a:pt x="17" y="15"/>
                    </a:lnTo>
                    <a:lnTo>
                      <a:pt x="34" y="30"/>
                    </a:lnTo>
                    <a:lnTo>
                      <a:pt x="17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57" name="Freeform 292">
                <a:extLst>
                  <a:ext uri="{FF2B5EF4-FFF2-40B4-BE49-F238E27FC236}">
                    <a16:creationId xmlns:a16="http://schemas.microsoft.com/office/drawing/2014/main" id="{0D0C3971-BCBE-D046-B709-513C3C674F11}"/>
                  </a:ext>
                </a:extLst>
              </p:cNvPr>
              <p:cNvSpPr>
                <a:spLocks/>
              </p:cNvSpPr>
              <p:nvPr>
                <p:custDataLst>
                  <p:tags r:id="rId317"/>
                </p:custDataLst>
              </p:nvPr>
            </p:nvSpPr>
            <p:spPr bwMode="auto">
              <a:xfrm>
                <a:off x="5451474" y="4554538"/>
                <a:ext cx="179388" cy="177800"/>
              </a:xfrm>
              <a:custGeom>
                <a:avLst/>
                <a:gdLst>
                  <a:gd name="T0" fmla="*/ 44254 w 227"/>
                  <a:gd name="T1" fmla="*/ 3175 h 224"/>
                  <a:gd name="T2" fmla="*/ 44254 w 227"/>
                  <a:gd name="T3" fmla="*/ 3175 h 224"/>
                  <a:gd name="T4" fmla="*/ 37932 w 227"/>
                  <a:gd name="T5" fmla="*/ 0 h 224"/>
                  <a:gd name="T6" fmla="*/ 27659 w 227"/>
                  <a:gd name="T7" fmla="*/ 3175 h 224"/>
                  <a:gd name="T8" fmla="*/ 10273 w 227"/>
                  <a:gd name="T9" fmla="*/ 0 h 224"/>
                  <a:gd name="T10" fmla="*/ 3161 w 227"/>
                  <a:gd name="T11" fmla="*/ 0 h 224"/>
                  <a:gd name="T12" fmla="*/ 0 w 227"/>
                  <a:gd name="T13" fmla="*/ 0 h 224"/>
                  <a:gd name="T14" fmla="*/ 3161 w 227"/>
                  <a:gd name="T15" fmla="*/ 3175 h 224"/>
                  <a:gd name="T16" fmla="*/ 6322 w 227"/>
                  <a:gd name="T17" fmla="*/ 11906 h 224"/>
                  <a:gd name="T18" fmla="*/ 0 w 227"/>
                  <a:gd name="T19" fmla="*/ 22225 h 224"/>
                  <a:gd name="T20" fmla="*/ 0 w 227"/>
                  <a:gd name="T21" fmla="*/ 26194 h 224"/>
                  <a:gd name="T22" fmla="*/ 3161 w 227"/>
                  <a:gd name="T23" fmla="*/ 26194 h 224"/>
                  <a:gd name="T24" fmla="*/ 20547 w 227"/>
                  <a:gd name="T25" fmla="*/ 34925 h 224"/>
                  <a:gd name="T26" fmla="*/ 20547 w 227"/>
                  <a:gd name="T27" fmla="*/ 41275 h 224"/>
                  <a:gd name="T28" fmla="*/ 30820 w 227"/>
                  <a:gd name="T29" fmla="*/ 44450 h 224"/>
                  <a:gd name="T30" fmla="*/ 33981 w 227"/>
                  <a:gd name="T31" fmla="*/ 34925 h 224"/>
                  <a:gd name="T32" fmla="*/ 37932 w 227"/>
                  <a:gd name="T33" fmla="*/ 34925 h 224"/>
                  <a:gd name="T34" fmla="*/ 41093 w 227"/>
                  <a:gd name="T35" fmla="*/ 28575 h 224"/>
                  <a:gd name="T36" fmla="*/ 37932 w 227"/>
                  <a:gd name="T37" fmla="*/ 26194 h 224"/>
                  <a:gd name="T38" fmla="*/ 37932 w 227"/>
                  <a:gd name="T39" fmla="*/ 9525 h 224"/>
                  <a:gd name="T40" fmla="*/ 44254 w 227"/>
                  <a:gd name="T41" fmla="*/ 3175 h 22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27"/>
                  <a:gd name="T64" fmla="*/ 0 h 224"/>
                  <a:gd name="T65" fmla="*/ 227 w 227"/>
                  <a:gd name="T66" fmla="*/ 224 h 22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27" h="224">
                    <a:moveTo>
                      <a:pt x="227" y="15"/>
                    </a:moveTo>
                    <a:lnTo>
                      <a:pt x="227" y="15"/>
                    </a:lnTo>
                    <a:lnTo>
                      <a:pt x="192" y="0"/>
                    </a:lnTo>
                    <a:lnTo>
                      <a:pt x="140" y="15"/>
                    </a:lnTo>
                    <a:lnTo>
                      <a:pt x="52" y="0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15"/>
                    </a:lnTo>
                    <a:lnTo>
                      <a:pt x="35" y="63"/>
                    </a:lnTo>
                    <a:lnTo>
                      <a:pt x="0" y="111"/>
                    </a:lnTo>
                    <a:lnTo>
                      <a:pt x="0" y="129"/>
                    </a:lnTo>
                    <a:lnTo>
                      <a:pt x="18" y="129"/>
                    </a:lnTo>
                    <a:lnTo>
                      <a:pt x="104" y="176"/>
                    </a:lnTo>
                    <a:lnTo>
                      <a:pt x="104" y="207"/>
                    </a:lnTo>
                    <a:lnTo>
                      <a:pt x="158" y="224"/>
                    </a:lnTo>
                    <a:lnTo>
                      <a:pt x="175" y="176"/>
                    </a:lnTo>
                    <a:lnTo>
                      <a:pt x="192" y="176"/>
                    </a:lnTo>
                    <a:lnTo>
                      <a:pt x="210" y="144"/>
                    </a:lnTo>
                    <a:lnTo>
                      <a:pt x="192" y="129"/>
                    </a:lnTo>
                    <a:lnTo>
                      <a:pt x="192" y="48"/>
                    </a:lnTo>
                    <a:lnTo>
                      <a:pt x="227" y="1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58" name="Freeform 293">
                <a:extLst>
                  <a:ext uri="{FF2B5EF4-FFF2-40B4-BE49-F238E27FC236}">
                    <a16:creationId xmlns:a16="http://schemas.microsoft.com/office/drawing/2014/main" id="{29D3BE43-FE96-8A4A-B378-B2B13FCD7F05}"/>
                  </a:ext>
                </a:extLst>
              </p:cNvPr>
              <p:cNvSpPr>
                <a:spLocks/>
              </p:cNvSpPr>
              <p:nvPr>
                <p:custDataLst>
                  <p:tags r:id="rId318"/>
                </p:custDataLst>
              </p:nvPr>
            </p:nvSpPr>
            <p:spPr bwMode="auto">
              <a:xfrm>
                <a:off x="5356224" y="4554538"/>
                <a:ext cx="122238" cy="114300"/>
              </a:xfrm>
              <a:custGeom>
                <a:avLst/>
                <a:gdLst>
                  <a:gd name="T0" fmla="*/ 23507 w 156"/>
                  <a:gd name="T1" fmla="*/ 0 h 144"/>
                  <a:gd name="T2" fmla="*/ 23507 w 156"/>
                  <a:gd name="T3" fmla="*/ 0 h 144"/>
                  <a:gd name="T4" fmla="*/ 26642 w 156"/>
                  <a:gd name="T5" fmla="*/ 2381 h 144"/>
                  <a:gd name="T6" fmla="*/ 29776 w 156"/>
                  <a:gd name="T7" fmla="*/ 11906 h 144"/>
                  <a:gd name="T8" fmla="*/ 23507 w 156"/>
                  <a:gd name="T9" fmla="*/ 21431 h 144"/>
                  <a:gd name="T10" fmla="*/ 23507 w 156"/>
                  <a:gd name="T11" fmla="*/ 26194 h 144"/>
                  <a:gd name="T12" fmla="*/ 13321 w 156"/>
                  <a:gd name="T13" fmla="*/ 26194 h 144"/>
                  <a:gd name="T14" fmla="*/ 6269 w 156"/>
                  <a:gd name="T15" fmla="*/ 26194 h 144"/>
                  <a:gd name="T16" fmla="*/ 0 w 156"/>
                  <a:gd name="T17" fmla="*/ 28575 h 144"/>
                  <a:gd name="T18" fmla="*/ 3134 w 156"/>
                  <a:gd name="T19" fmla="*/ 19050 h 144"/>
                  <a:gd name="T20" fmla="*/ 6269 w 156"/>
                  <a:gd name="T21" fmla="*/ 15875 h 144"/>
                  <a:gd name="T22" fmla="*/ 10186 w 156"/>
                  <a:gd name="T23" fmla="*/ 9525 h 144"/>
                  <a:gd name="T24" fmla="*/ 6269 w 156"/>
                  <a:gd name="T25" fmla="*/ 9525 h 144"/>
                  <a:gd name="T26" fmla="*/ 6269 w 156"/>
                  <a:gd name="T27" fmla="*/ 2381 h 144"/>
                  <a:gd name="T28" fmla="*/ 13321 w 156"/>
                  <a:gd name="T29" fmla="*/ 2381 h 144"/>
                  <a:gd name="T30" fmla="*/ 23507 w 156"/>
                  <a:gd name="T31" fmla="*/ 0 h 14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56"/>
                  <a:gd name="T49" fmla="*/ 0 h 144"/>
                  <a:gd name="T50" fmla="*/ 156 w 156"/>
                  <a:gd name="T51" fmla="*/ 144 h 14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56" h="144">
                    <a:moveTo>
                      <a:pt x="121" y="0"/>
                    </a:moveTo>
                    <a:lnTo>
                      <a:pt x="121" y="0"/>
                    </a:lnTo>
                    <a:lnTo>
                      <a:pt x="139" y="15"/>
                    </a:lnTo>
                    <a:lnTo>
                      <a:pt x="156" y="63"/>
                    </a:lnTo>
                    <a:lnTo>
                      <a:pt x="121" y="111"/>
                    </a:lnTo>
                    <a:lnTo>
                      <a:pt x="121" y="129"/>
                    </a:lnTo>
                    <a:lnTo>
                      <a:pt x="69" y="129"/>
                    </a:lnTo>
                    <a:lnTo>
                      <a:pt x="35" y="129"/>
                    </a:lnTo>
                    <a:lnTo>
                      <a:pt x="0" y="144"/>
                    </a:lnTo>
                    <a:lnTo>
                      <a:pt x="18" y="96"/>
                    </a:lnTo>
                    <a:lnTo>
                      <a:pt x="35" y="81"/>
                    </a:lnTo>
                    <a:lnTo>
                      <a:pt x="52" y="48"/>
                    </a:lnTo>
                    <a:lnTo>
                      <a:pt x="35" y="48"/>
                    </a:lnTo>
                    <a:lnTo>
                      <a:pt x="35" y="15"/>
                    </a:lnTo>
                    <a:lnTo>
                      <a:pt x="69" y="15"/>
                    </a:lnTo>
                    <a:lnTo>
                      <a:pt x="12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59" name="Freeform 294">
                <a:extLst>
                  <a:ext uri="{FF2B5EF4-FFF2-40B4-BE49-F238E27FC236}">
                    <a16:creationId xmlns:a16="http://schemas.microsoft.com/office/drawing/2014/main" id="{3F0EA35E-A2E1-A84B-9760-7FAE0FD38BAE}"/>
                  </a:ext>
                </a:extLst>
              </p:cNvPr>
              <p:cNvSpPr>
                <a:spLocks/>
              </p:cNvSpPr>
              <p:nvPr>
                <p:custDataLst>
                  <p:tags r:id="rId319"/>
                </p:custDataLst>
              </p:nvPr>
            </p:nvSpPr>
            <p:spPr bwMode="auto">
              <a:xfrm>
                <a:off x="5341937" y="4656138"/>
                <a:ext cx="41275" cy="38100"/>
              </a:xfrm>
              <a:custGeom>
                <a:avLst/>
                <a:gdLst>
                  <a:gd name="T0" fmla="*/ 10319 w 52"/>
                  <a:gd name="T1" fmla="*/ 9728 h 47"/>
                  <a:gd name="T2" fmla="*/ 10319 w 52"/>
                  <a:gd name="T3" fmla="*/ 9728 h 47"/>
                  <a:gd name="T4" fmla="*/ 3969 w 52"/>
                  <a:gd name="T5" fmla="*/ 9728 h 47"/>
                  <a:gd name="T6" fmla="*/ 0 w 52"/>
                  <a:gd name="T7" fmla="*/ 9728 h 47"/>
                  <a:gd name="T8" fmla="*/ 3969 w 52"/>
                  <a:gd name="T9" fmla="*/ 3243 h 47"/>
                  <a:gd name="T10" fmla="*/ 10319 w 52"/>
                  <a:gd name="T11" fmla="*/ 0 h 47"/>
                  <a:gd name="T12" fmla="*/ 10319 w 52"/>
                  <a:gd name="T13" fmla="*/ 6485 h 47"/>
                  <a:gd name="T14" fmla="*/ 10319 w 52"/>
                  <a:gd name="T15" fmla="*/ 9728 h 4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2"/>
                  <a:gd name="T25" fmla="*/ 0 h 47"/>
                  <a:gd name="T26" fmla="*/ 52 w 52"/>
                  <a:gd name="T27" fmla="*/ 47 h 4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2" h="47">
                    <a:moveTo>
                      <a:pt x="52" y="47"/>
                    </a:moveTo>
                    <a:lnTo>
                      <a:pt x="52" y="47"/>
                    </a:lnTo>
                    <a:lnTo>
                      <a:pt x="17" y="47"/>
                    </a:lnTo>
                    <a:lnTo>
                      <a:pt x="0" y="47"/>
                    </a:lnTo>
                    <a:lnTo>
                      <a:pt x="17" y="15"/>
                    </a:lnTo>
                    <a:lnTo>
                      <a:pt x="52" y="0"/>
                    </a:lnTo>
                    <a:lnTo>
                      <a:pt x="52" y="30"/>
                    </a:lnTo>
                    <a:lnTo>
                      <a:pt x="52" y="4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60" name="Freeform 295">
                <a:extLst>
                  <a:ext uri="{FF2B5EF4-FFF2-40B4-BE49-F238E27FC236}">
                    <a16:creationId xmlns:a16="http://schemas.microsoft.com/office/drawing/2014/main" id="{F4EB8B19-DD4E-DE4F-B7EE-CB24673F9F97}"/>
                  </a:ext>
                </a:extLst>
              </p:cNvPr>
              <p:cNvSpPr>
                <a:spLocks/>
              </p:cNvSpPr>
              <p:nvPr>
                <p:custDataLst>
                  <p:tags r:id="rId320"/>
                </p:custDataLst>
              </p:nvPr>
            </p:nvSpPr>
            <p:spPr bwMode="auto">
              <a:xfrm>
                <a:off x="5356224" y="4694238"/>
                <a:ext cx="26988" cy="38100"/>
              </a:xfrm>
              <a:custGeom>
                <a:avLst/>
                <a:gdLst>
                  <a:gd name="T0" fmla="*/ 6169 w 35"/>
                  <a:gd name="T1" fmla="*/ 0 h 48"/>
                  <a:gd name="T2" fmla="*/ 6169 w 35"/>
                  <a:gd name="T3" fmla="*/ 0 h 48"/>
                  <a:gd name="T4" fmla="*/ 6169 w 35"/>
                  <a:gd name="T5" fmla="*/ 3175 h 48"/>
                  <a:gd name="T6" fmla="*/ 0 w 35"/>
                  <a:gd name="T7" fmla="*/ 9525 h 48"/>
                  <a:gd name="T8" fmla="*/ 0 w 35"/>
                  <a:gd name="T9" fmla="*/ 3175 h 48"/>
                  <a:gd name="T10" fmla="*/ 0 w 35"/>
                  <a:gd name="T11" fmla="*/ 0 h 48"/>
                  <a:gd name="T12" fmla="*/ 6169 w 35"/>
                  <a:gd name="T13" fmla="*/ 0 h 4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5"/>
                  <a:gd name="T22" fmla="*/ 0 h 48"/>
                  <a:gd name="T23" fmla="*/ 35 w 35"/>
                  <a:gd name="T24" fmla="*/ 48 h 4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5" h="48">
                    <a:moveTo>
                      <a:pt x="35" y="0"/>
                    </a:moveTo>
                    <a:lnTo>
                      <a:pt x="35" y="0"/>
                    </a:lnTo>
                    <a:lnTo>
                      <a:pt x="35" y="16"/>
                    </a:lnTo>
                    <a:lnTo>
                      <a:pt x="0" y="48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35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61" name="Freeform 296">
                <a:extLst>
                  <a:ext uri="{FF2B5EF4-FFF2-40B4-BE49-F238E27FC236}">
                    <a16:creationId xmlns:a16="http://schemas.microsoft.com/office/drawing/2014/main" id="{F83696E2-59BC-9740-BD4B-621B3B7BDB60}"/>
                  </a:ext>
                </a:extLst>
              </p:cNvPr>
              <p:cNvSpPr>
                <a:spLocks/>
              </p:cNvSpPr>
              <p:nvPr>
                <p:custDataLst>
                  <p:tags r:id="rId321"/>
                </p:custDataLst>
              </p:nvPr>
            </p:nvSpPr>
            <p:spPr bwMode="auto">
              <a:xfrm>
                <a:off x="4432300" y="3883026"/>
                <a:ext cx="261938" cy="190500"/>
              </a:xfrm>
              <a:custGeom>
                <a:avLst/>
                <a:gdLst>
                  <a:gd name="T0" fmla="*/ 58738 w 330"/>
                  <a:gd name="T1" fmla="*/ 3969 h 240"/>
                  <a:gd name="T2" fmla="*/ 58738 w 330"/>
                  <a:gd name="T3" fmla="*/ 3969 h 240"/>
                  <a:gd name="T4" fmla="*/ 62706 w 330"/>
                  <a:gd name="T5" fmla="*/ 3969 h 240"/>
                  <a:gd name="T6" fmla="*/ 65881 w 330"/>
                  <a:gd name="T7" fmla="*/ 19050 h 240"/>
                  <a:gd name="T8" fmla="*/ 52388 w 330"/>
                  <a:gd name="T9" fmla="*/ 23019 h 240"/>
                  <a:gd name="T10" fmla="*/ 52388 w 330"/>
                  <a:gd name="T11" fmla="*/ 25400 h 240"/>
                  <a:gd name="T12" fmla="*/ 41275 w 330"/>
                  <a:gd name="T13" fmla="*/ 32544 h 240"/>
                  <a:gd name="T14" fmla="*/ 27781 w 330"/>
                  <a:gd name="T15" fmla="*/ 38100 h 240"/>
                  <a:gd name="T16" fmla="*/ 23813 w 330"/>
                  <a:gd name="T17" fmla="*/ 42069 h 240"/>
                  <a:gd name="T18" fmla="*/ 23813 w 330"/>
                  <a:gd name="T19" fmla="*/ 47625 h 240"/>
                  <a:gd name="T20" fmla="*/ 0 w 330"/>
                  <a:gd name="T21" fmla="*/ 44450 h 240"/>
                  <a:gd name="T22" fmla="*/ 7144 w 330"/>
                  <a:gd name="T23" fmla="*/ 44450 h 240"/>
                  <a:gd name="T24" fmla="*/ 14288 w 330"/>
                  <a:gd name="T25" fmla="*/ 38100 h 240"/>
                  <a:gd name="T26" fmla="*/ 17463 w 330"/>
                  <a:gd name="T27" fmla="*/ 32544 h 240"/>
                  <a:gd name="T28" fmla="*/ 17463 w 330"/>
                  <a:gd name="T29" fmla="*/ 25400 h 240"/>
                  <a:gd name="T30" fmla="*/ 20638 w 330"/>
                  <a:gd name="T31" fmla="*/ 19050 h 240"/>
                  <a:gd name="T32" fmla="*/ 23813 w 330"/>
                  <a:gd name="T33" fmla="*/ 13494 h 240"/>
                  <a:gd name="T34" fmla="*/ 34131 w 330"/>
                  <a:gd name="T35" fmla="*/ 9525 h 240"/>
                  <a:gd name="T36" fmla="*/ 38100 w 330"/>
                  <a:gd name="T37" fmla="*/ 0 h 240"/>
                  <a:gd name="T38" fmla="*/ 41275 w 330"/>
                  <a:gd name="T39" fmla="*/ 0 h 240"/>
                  <a:gd name="T40" fmla="*/ 44450 w 330"/>
                  <a:gd name="T41" fmla="*/ 3969 h 240"/>
                  <a:gd name="T42" fmla="*/ 55563 w 330"/>
                  <a:gd name="T43" fmla="*/ 3969 h 240"/>
                  <a:gd name="T44" fmla="*/ 58738 w 330"/>
                  <a:gd name="T45" fmla="*/ 3969 h 24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0"/>
                  <a:gd name="T70" fmla="*/ 0 h 240"/>
                  <a:gd name="T71" fmla="*/ 330 w 330"/>
                  <a:gd name="T72" fmla="*/ 240 h 24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0" h="240">
                    <a:moveTo>
                      <a:pt x="296" y="17"/>
                    </a:moveTo>
                    <a:lnTo>
                      <a:pt x="296" y="17"/>
                    </a:lnTo>
                    <a:lnTo>
                      <a:pt x="313" y="17"/>
                    </a:lnTo>
                    <a:lnTo>
                      <a:pt x="330" y="96"/>
                    </a:lnTo>
                    <a:lnTo>
                      <a:pt x="261" y="113"/>
                    </a:lnTo>
                    <a:lnTo>
                      <a:pt x="261" y="128"/>
                    </a:lnTo>
                    <a:lnTo>
                      <a:pt x="209" y="161"/>
                    </a:lnTo>
                    <a:lnTo>
                      <a:pt x="140" y="192"/>
                    </a:lnTo>
                    <a:lnTo>
                      <a:pt x="123" y="209"/>
                    </a:lnTo>
                    <a:lnTo>
                      <a:pt x="123" y="240"/>
                    </a:lnTo>
                    <a:lnTo>
                      <a:pt x="0" y="224"/>
                    </a:lnTo>
                    <a:lnTo>
                      <a:pt x="36" y="224"/>
                    </a:lnTo>
                    <a:lnTo>
                      <a:pt x="71" y="192"/>
                    </a:lnTo>
                    <a:lnTo>
                      <a:pt x="88" y="161"/>
                    </a:lnTo>
                    <a:lnTo>
                      <a:pt x="88" y="128"/>
                    </a:lnTo>
                    <a:lnTo>
                      <a:pt x="106" y="96"/>
                    </a:lnTo>
                    <a:lnTo>
                      <a:pt x="123" y="65"/>
                    </a:lnTo>
                    <a:lnTo>
                      <a:pt x="175" y="48"/>
                    </a:lnTo>
                    <a:lnTo>
                      <a:pt x="192" y="0"/>
                    </a:lnTo>
                    <a:lnTo>
                      <a:pt x="209" y="0"/>
                    </a:lnTo>
                    <a:lnTo>
                      <a:pt x="227" y="17"/>
                    </a:lnTo>
                    <a:lnTo>
                      <a:pt x="278" y="17"/>
                    </a:lnTo>
                    <a:lnTo>
                      <a:pt x="296" y="17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62" name="Freeform 297">
                <a:extLst>
                  <a:ext uri="{FF2B5EF4-FFF2-40B4-BE49-F238E27FC236}">
                    <a16:creationId xmlns:a16="http://schemas.microsoft.com/office/drawing/2014/main" id="{10C42C42-F039-1B40-B4D6-D892E5AC5EDB}"/>
                  </a:ext>
                </a:extLst>
              </p:cNvPr>
              <p:cNvSpPr>
                <a:spLocks/>
              </p:cNvSpPr>
              <p:nvPr>
                <p:custDataLst>
                  <p:tags r:id="rId322"/>
                </p:custDataLst>
              </p:nvPr>
            </p:nvSpPr>
            <p:spPr bwMode="auto">
              <a:xfrm>
                <a:off x="4529138" y="3844926"/>
                <a:ext cx="441325" cy="406400"/>
              </a:xfrm>
              <a:custGeom>
                <a:avLst/>
                <a:gdLst>
                  <a:gd name="T0" fmla="*/ 34988 w 555"/>
                  <a:gd name="T1" fmla="*/ 12700 h 512"/>
                  <a:gd name="T2" fmla="*/ 34988 w 555"/>
                  <a:gd name="T3" fmla="*/ 12700 h 512"/>
                  <a:gd name="T4" fmla="*/ 38169 w 555"/>
                  <a:gd name="T5" fmla="*/ 12700 h 512"/>
                  <a:gd name="T6" fmla="*/ 42145 w 555"/>
                  <a:gd name="T7" fmla="*/ 28575 h 512"/>
                  <a:gd name="T8" fmla="*/ 27831 w 555"/>
                  <a:gd name="T9" fmla="*/ 31750 h 512"/>
                  <a:gd name="T10" fmla="*/ 27831 w 555"/>
                  <a:gd name="T11" fmla="*/ 34925 h 512"/>
                  <a:gd name="T12" fmla="*/ 17494 w 555"/>
                  <a:gd name="T13" fmla="*/ 41275 h 512"/>
                  <a:gd name="T14" fmla="*/ 3976 w 555"/>
                  <a:gd name="T15" fmla="*/ 47625 h 512"/>
                  <a:gd name="T16" fmla="*/ 0 w 555"/>
                  <a:gd name="T17" fmla="*/ 50800 h 512"/>
                  <a:gd name="T18" fmla="*/ 0 w 555"/>
                  <a:gd name="T19" fmla="*/ 57150 h 512"/>
                  <a:gd name="T20" fmla="*/ 20675 w 555"/>
                  <a:gd name="T21" fmla="*/ 69850 h 512"/>
                  <a:gd name="T22" fmla="*/ 52482 w 555"/>
                  <a:gd name="T23" fmla="*/ 92075 h 512"/>
                  <a:gd name="T24" fmla="*/ 55663 w 555"/>
                  <a:gd name="T25" fmla="*/ 95250 h 512"/>
                  <a:gd name="T26" fmla="*/ 62819 w 555"/>
                  <a:gd name="T27" fmla="*/ 98425 h 512"/>
                  <a:gd name="T28" fmla="*/ 66000 w 555"/>
                  <a:gd name="T29" fmla="*/ 101600 h 512"/>
                  <a:gd name="T30" fmla="*/ 69181 w 555"/>
                  <a:gd name="T31" fmla="*/ 101600 h 512"/>
                  <a:gd name="T32" fmla="*/ 76337 w 555"/>
                  <a:gd name="T33" fmla="*/ 101600 h 512"/>
                  <a:gd name="T34" fmla="*/ 110530 w 555"/>
                  <a:gd name="T35" fmla="*/ 79375 h 512"/>
                  <a:gd name="T36" fmla="*/ 107349 w 555"/>
                  <a:gd name="T37" fmla="*/ 73025 h 512"/>
                  <a:gd name="T38" fmla="*/ 103373 w 555"/>
                  <a:gd name="T39" fmla="*/ 73025 h 512"/>
                  <a:gd name="T40" fmla="*/ 97012 w 555"/>
                  <a:gd name="T41" fmla="*/ 63500 h 512"/>
                  <a:gd name="T42" fmla="*/ 100193 w 555"/>
                  <a:gd name="T43" fmla="*/ 60325 h 512"/>
                  <a:gd name="T44" fmla="*/ 100193 w 555"/>
                  <a:gd name="T45" fmla="*/ 53975 h 512"/>
                  <a:gd name="T46" fmla="*/ 100193 w 555"/>
                  <a:gd name="T47" fmla="*/ 47625 h 512"/>
                  <a:gd name="T48" fmla="*/ 97012 w 555"/>
                  <a:gd name="T49" fmla="*/ 44450 h 512"/>
                  <a:gd name="T50" fmla="*/ 97012 w 555"/>
                  <a:gd name="T51" fmla="*/ 41275 h 512"/>
                  <a:gd name="T52" fmla="*/ 97012 w 555"/>
                  <a:gd name="T53" fmla="*/ 31750 h 512"/>
                  <a:gd name="T54" fmla="*/ 89855 w 555"/>
                  <a:gd name="T55" fmla="*/ 28575 h 512"/>
                  <a:gd name="T56" fmla="*/ 86675 w 555"/>
                  <a:gd name="T57" fmla="*/ 22225 h 512"/>
                  <a:gd name="T58" fmla="*/ 93036 w 555"/>
                  <a:gd name="T59" fmla="*/ 15875 h 512"/>
                  <a:gd name="T60" fmla="*/ 89855 w 555"/>
                  <a:gd name="T61" fmla="*/ 3175 h 512"/>
                  <a:gd name="T62" fmla="*/ 93036 w 555"/>
                  <a:gd name="T63" fmla="*/ 0 h 512"/>
                  <a:gd name="T64" fmla="*/ 89855 w 555"/>
                  <a:gd name="T65" fmla="*/ 3175 h 512"/>
                  <a:gd name="T66" fmla="*/ 79518 w 555"/>
                  <a:gd name="T67" fmla="*/ 0 h 512"/>
                  <a:gd name="T68" fmla="*/ 76337 w 555"/>
                  <a:gd name="T69" fmla="*/ 3175 h 512"/>
                  <a:gd name="T70" fmla="*/ 69181 w 555"/>
                  <a:gd name="T71" fmla="*/ 0 h 512"/>
                  <a:gd name="T72" fmla="*/ 62819 w 555"/>
                  <a:gd name="T73" fmla="*/ 3175 h 512"/>
                  <a:gd name="T74" fmla="*/ 52482 w 555"/>
                  <a:gd name="T75" fmla="*/ 3175 h 512"/>
                  <a:gd name="T76" fmla="*/ 34988 w 555"/>
                  <a:gd name="T77" fmla="*/ 12700 h 51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55"/>
                  <a:gd name="T118" fmla="*/ 0 h 512"/>
                  <a:gd name="T119" fmla="*/ 555 w 555"/>
                  <a:gd name="T120" fmla="*/ 512 h 51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55" h="512">
                    <a:moveTo>
                      <a:pt x="173" y="65"/>
                    </a:moveTo>
                    <a:lnTo>
                      <a:pt x="173" y="65"/>
                    </a:lnTo>
                    <a:lnTo>
                      <a:pt x="192" y="65"/>
                    </a:lnTo>
                    <a:lnTo>
                      <a:pt x="209" y="144"/>
                    </a:lnTo>
                    <a:lnTo>
                      <a:pt x="138" y="161"/>
                    </a:lnTo>
                    <a:lnTo>
                      <a:pt x="138" y="176"/>
                    </a:lnTo>
                    <a:lnTo>
                      <a:pt x="86" y="209"/>
                    </a:lnTo>
                    <a:lnTo>
                      <a:pt x="17" y="240"/>
                    </a:lnTo>
                    <a:lnTo>
                      <a:pt x="0" y="257"/>
                    </a:lnTo>
                    <a:lnTo>
                      <a:pt x="0" y="288"/>
                    </a:lnTo>
                    <a:lnTo>
                      <a:pt x="104" y="353"/>
                    </a:lnTo>
                    <a:lnTo>
                      <a:pt x="261" y="464"/>
                    </a:lnTo>
                    <a:lnTo>
                      <a:pt x="278" y="480"/>
                    </a:lnTo>
                    <a:lnTo>
                      <a:pt x="313" y="497"/>
                    </a:lnTo>
                    <a:lnTo>
                      <a:pt x="330" y="512"/>
                    </a:lnTo>
                    <a:lnTo>
                      <a:pt x="347" y="512"/>
                    </a:lnTo>
                    <a:lnTo>
                      <a:pt x="382" y="512"/>
                    </a:lnTo>
                    <a:lnTo>
                      <a:pt x="555" y="401"/>
                    </a:lnTo>
                    <a:lnTo>
                      <a:pt x="537" y="368"/>
                    </a:lnTo>
                    <a:lnTo>
                      <a:pt x="520" y="368"/>
                    </a:lnTo>
                    <a:lnTo>
                      <a:pt x="486" y="320"/>
                    </a:lnTo>
                    <a:lnTo>
                      <a:pt x="503" y="305"/>
                    </a:lnTo>
                    <a:lnTo>
                      <a:pt x="503" y="272"/>
                    </a:lnTo>
                    <a:lnTo>
                      <a:pt x="503" y="240"/>
                    </a:lnTo>
                    <a:lnTo>
                      <a:pt x="486" y="224"/>
                    </a:lnTo>
                    <a:lnTo>
                      <a:pt x="486" y="209"/>
                    </a:lnTo>
                    <a:lnTo>
                      <a:pt x="486" y="161"/>
                    </a:lnTo>
                    <a:lnTo>
                      <a:pt x="451" y="144"/>
                    </a:lnTo>
                    <a:lnTo>
                      <a:pt x="434" y="113"/>
                    </a:lnTo>
                    <a:lnTo>
                      <a:pt x="468" y="80"/>
                    </a:lnTo>
                    <a:lnTo>
                      <a:pt x="451" y="17"/>
                    </a:lnTo>
                    <a:lnTo>
                      <a:pt x="468" y="0"/>
                    </a:lnTo>
                    <a:lnTo>
                      <a:pt x="451" y="17"/>
                    </a:lnTo>
                    <a:lnTo>
                      <a:pt x="399" y="0"/>
                    </a:lnTo>
                    <a:lnTo>
                      <a:pt x="382" y="17"/>
                    </a:lnTo>
                    <a:lnTo>
                      <a:pt x="347" y="0"/>
                    </a:lnTo>
                    <a:lnTo>
                      <a:pt x="313" y="17"/>
                    </a:lnTo>
                    <a:lnTo>
                      <a:pt x="261" y="17"/>
                    </a:lnTo>
                    <a:lnTo>
                      <a:pt x="173" y="6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63" name="Freeform 298">
                <a:extLst>
                  <a:ext uri="{FF2B5EF4-FFF2-40B4-BE49-F238E27FC236}">
                    <a16:creationId xmlns:a16="http://schemas.microsoft.com/office/drawing/2014/main" id="{EDFE568E-3811-6242-96EC-583AEE29A9A6}"/>
                  </a:ext>
                </a:extLst>
              </p:cNvPr>
              <p:cNvSpPr>
                <a:spLocks/>
              </p:cNvSpPr>
              <p:nvPr>
                <p:custDataLst>
                  <p:tags r:id="rId323"/>
                </p:custDataLst>
              </p:nvPr>
            </p:nvSpPr>
            <p:spPr bwMode="auto">
              <a:xfrm>
                <a:off x="4872038" y="3844926"/>
                <a:ext cx="84138" cy="166688"/>
              </a:xfrm>
              <a:custGeom>
                <a:avLst/>
                <a:gdLst>
                  <a:gd name="T0" fmla="*/ 21635 w 105"/>
                  <a:gd name="T1" fmla="*/ 25522 h 209"/>
                  <a:gd name="T2" fmla="*/ 21635 w 105"/>
                  <a:gd name="T3" fmla="*/ 25522 h 209"/>
                  <a:gd name="T4" fmla="*/ 21635 w 105"/>
                  <a:gd name="T5" fmla="*/ 28712 h 209"/>
                  <a:gd name="T6" fmla="*/ 14424 w 105"/>
                  <a:gd name="T7" fmla="*/ 35092 h 209"/>
                  <a:gd name="T8" fmla="*/ 14424 w 105"/>
                  <a:gd name="T9" fmla="*/ 38282 h 209"/>
                  <a:gd name="T10" fmla="*/ 11218 w 105"/>
                  <a:gd name="T11" fmla="*/ 42270 h 209"/>
                  <a:gd name="T12" fmla="*/ 11218 w 105"/>
                  <a:gd name="T13" fmla="*/ 32700 h 209"/>
                  <a:gd name="T14" fmla="*/ 4007 w 105"/>
                  <a:gd name="T15" fmla="*/ 28712 h 209"/>
                  <a:gd name="T16" fmla="*/ 0 w 105"/>
                  <a:gd name="T17" fmla="*/ 23129 h 209"/>
                  <a:gd name="T18" fmla="*/ 7212 w 105"/>
                  <a:gd name="T19" fmla="*/ 15951 h 209"/>
                  <a:gd name="T20" fmla="*/ 4007 w 105"/>
                  <a:gd name="T21" fmla="*/ 3988 h 209"/>
                  <a:gd name="T22" fmla="*/ 7212 w 105"/>
                  <a:gd name="T23" fmla="*/ 0 h 209"/>
                  <a:gd name="T24" fmla="*/ 14424 w 105"/>
                  <a:gd name="T25" fmla="*/ 0 h 209"/>
                  <a:gd name="T26" fmla="*/ 17629 w 105"/>
                  <a:gd name="T27" fmla="*/ 3988 h 209"/>
                  <a:gd name="T28" fmla="*/ 21635 w 105"/>
                  <a:gd name="T29" fmla="*/ 0 h 209"/>
                  <a:gd name="T30" fmla="*/ 17629 w 105"/>
                  <a:gd name="T31" fmla="*/ 6380 h 209"/>
                  <a:gd name="T32" fmla="*/ 21635 w 105"/>
                  <a:gd name="T33" fmla="*/ 13558 h 209"/>
                  <a:gd name="T34" fmla="*/ 14424 w 105"/>
                  <a:gd name="T35" fmla="*/ 19141 h 209"/>
                  <a:gd name="T36" fmla="*/ 14424 w 105"/>
                  <a:gd name="T37" fmla="*/ 23129 h 209"/>
                  <a:gd name="T38" fmla="*/ 21635 w 105"/>
                  <a:gd name="T39" fmla="*/ 23129 h 209"/>
                  <a:gd name="T40" fmla="*/ 21635 w 105"/>
                  <a:gd name="T41" fmla="*/ 25522 h 20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5"/>
                  <a:gd name="T64" fmla="*/ 0 h 209"/>
                  <a:gd name="T65" fmla="*/ 105 w 105"/>
                  <a:gd name="T66" fmla="*/ 209 h 20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5" h="209">
                    <a:moveTo>
                      <a:pt x="105" y="128"/>
                    </a:moveTo>
                    <a:lnTo>
                      <a:pt x="105" y="128"/>
                    </a:lnTo>
                    <a:lnTo>
                      <a:pt x="105" y="144"/>
                    </a:lnTo>
                    <a:lnTo>
                      <a:pt x="71" y="176"/>
                    </a:lnTo>
                    <a:lnTo>
                      <a:pt x="71" y="192"/>
                    </a:lnTo>
                    <a:lnTo>
                      <a:pt x="54" y="209"/>
                    </a:lnTo>
                    <a:lnTo>
                      <a:pt x="54" y="161"/>
                    </a:lnTo>
                    <a:lnTo>
                      <a:pt x="17" y="144"/>
                    </a:lnTo>
                    <a:lnTo>
                      <a:pt x="0" y="113"/>
                    </a:lnTo>
                    <a:lnTo>
                      <a:pt x="34" y="80"/>
                    </a:lnTo>
                    <a:lnTo>
                      <a:pt x="17" y="17"/>
                    </a:lnTo>
                    <a:lnTo>
                      <a:pt x="34" y="0"/>
                    </a:lnTo>
                    <a:lnTo>
                      <a:pt x="71" y="0"/>
                    </a:lnTo>
                    <a:lnTo>
                      <a:pt x="88" y="17"/>
                    </a:lnTo>
                    <a:lnTo>
                      <a:pt x="105" y="0"/>
                    </a:lnTo>
                    <a:lnTo>
                      <a:pt x="88" y="32"/>
                    </a:lnTo>
                    <a:lnTo>
                      <a:pt x="105" y="65"/>
                    </a:lnTo>
                    <a:lnTo>
                      <a:pt x="71" y="96"/>
                    </a:lnTo>
                    <a:lnTo>
                      <a:pt x="71" y="113"/>
                    </a:lnTo>
                    <a:lnTo>
                      <a:pt x="105" y="113"/>
                    </a:lnTo>
                    <a:lnTo>
                      <a:pt x="105" y="12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64" name="Freeform 299">
                <a:extLst>
                  <a:ext uri="{FF2B5EF4-FFF2-40B4-BE49-F238E27FC236}">
                    <a16:creationId xmlns:a16="http://schemas.microsoft.com/office/drawing/2014/main" id="{BBDF4863-079F-474C-B32E-DF4F499C1BA2}"/>
                  </a:ext>
                </a:extLst>
              </p:cNvPr>
              <p:cNvSpPr>
                <a:spLocks/>
              </p:cNvSpPr>
              <p:nvPr>
                <p:custDataLst>
                  <p:tags r:id="rId324"/>
                </p:custDataLst>
              </p:nvPr>
            </p:nvSpPr>
            <p:spPr bwMode="auto">
              <a:xfrm>
                <a:off x="4448175" y="4122738"/>
                <a:ext cx="355600" cy="317500"/>
              </a:xfrm>
              <a:custGeom>
                <a:avLst/>
                <a:gdLst>
                  <a:gd name="T0" fmla="*/ 41183 w 449"/>
                  <a:gd name="T1" fmla="*/ 0 h 399"/>
                  <a:gd name="T2" fmla="*/ 41183 w 449"/>
                  <a:gd name="T3" fmla="*/ 0 h 399"/>
                  <a:gd name="T4" fmla="*/ 71278 w 449"/>
                  <a:gd name="T5" fmla="*/ 22281 h 399"/>
                  <a:gd name="T6" fmla="*/ 75238 w 449"/>
                  <a:gd name="T7" fmla="*/ 25464 h 399"/>
                  <a:gd name="T8" fmla="*/ 81574 w 449"/>
                  <a:gd name="T9" fmla="*/ 28647 h 399"/>
                  <a:gd name="T10" fmla="*/ 85534 w 449"/>
                  <a:gd name="T11" fmla="*/ 31830 h 399"/>
                  <a:gd name="T12" fmla="*/ 88702 w 449"/>
                  <a:gd name="T13" fmla="*/ 31830 h 399"/>
                  <a:gd name="T14" fmla="*/ 88702 w 449"/>
                  <a:gd name="T15" fmla="*/ 47744 h 399"/>
                  <a:gd name="T16" fmla="*/ 85534 w 449"/>
                  <a:gd name="T17" fmla="*/ 50927 h 399"/>
                  <a:gd name="T18" fmla="*/ 68110 w 449"/>
                  <a:gd name="T19" fmla="*/ 54110 h 399"/>
                  <a:gd name="T20" fmla="*/ 60983 w 449"/>
                  <a:gd name="T21" fmla="*/ 54110 h 399"/>
                  <a:gd name="T22" fmla="*/ 54647 w 449"/>
                  <a:gd name="T23" fmla="*/ 60476 h 399"/>
                  <a:gd name="T24" fmla="*/ 47519 w 449"/>
                  <a:gd name="T25" fmla="*/ 63659 h 399"/>
                  <a:gd name="T26" fmla="*/ 41183 w 449"/>
                  <a:gd name="T27" fmla="*/ 73208 h 399"/>
                  <a:gd name="T28" fmla="*/ 37223 w 449"/>
                  <a:gd name="T29" fmla="*/ 76391 h 399"/>
                  <a:gd name="T30" fmla="*/ 34055 w 449"/>
                  <a:gd name="T31" fmla="*/ 79574 h 399"/>
                  <a:gd name="T32" fmla="*/ 30887 w 449"/>
                  <a:gd name="T33" fmla="*/ 76391 h 399"/>
                  <a:gd name="T34" fmla="*/ 26927 w 449"/>
                  <a:gd name="T35" fmla="*/ 79574 h 399"/>
                  <a:gd name="T36" fmla="*/ 23759 w 449"/>
                  <a:gd name="T37" fmla="*/ 79574 h 399"/>
                  <a:gd name="T38" fmla="*/ 16632 w 449"/>
                  <a:gd name="T39" fmla="*/ 66842 h 399"/>
                  <a:gd name="T40" fmla="*/ 10296 w 449"/>
                  <a:gd name="T41" fmla="*/ 70025 h 399"/>
                  <a:gd name="T42" fmla="*/ 3168 w 449"/>
                  <a:gd name="T43" fmla="*/ 70025 h 399"/>
                  <a:gd name="T44" fmla="*/ 6336 w 449"/>
                  <a:gd name="T45" fmla="*/ 66842 h 399"/>
                  <a:gd name="T46" fmla="*/ 0 w 449"/>
                  <a:gd name="T47" fmla="*/ 54110 h 399"/>
                  <a:gd name="T48" fmla="*/ 6336 w 449"/>
                  <a:gd name="T49" fmla="*/ 50927 h 399"/>
                  <a:gd name="T50" fmla="*/ 10296 w 449"/>
                  <a:gd name="T51" fmla="*/ 54110 h 399"/>
                  <a:gd name="T52" fmla="*/ 13464 w 449"/>
                  <a:gd name="T53" fmla="*/ 50927 h 399"/>
                  <a:gd name="T54" fmla="*/ 37223 w 449"/>
                  <a:gd name="T55" fmla="*/ 50927 h 399"/>
                  <a:gd name="T56" fmla="*/ 30887 w 449"/>
                  <a:gd name="T57" fmla="*/ 0 h 399"/>
                  <a:gd name="T58" fmla="*/ 41183 w 449"/>
                  <a:gd name="T59" fmla="*/ 0 h 39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449"/>
                  <a:gd name="T91" fmla="*/ 0 h 399"/>
                  <a:gd name="T92" fmla="*/ 449 w 449"/>
                  <a:gd name="T93" fmla="*/ 399 h 399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449" h="399">
                    <a:moveTo>
                      <a:pt x="208" y="0"/>
                    </a:moveTo>
                    <a:lnTo>
                      <a:pt x="208" y="0"/>
                    </a:lnTo>
                    <a:lnTo>
                      <a:pt x="363" y="111"/>
                    </a:lnTo>
                    <a:lnTo>
                      <a:pt x="380" y="127"/>
                    </a:lnTo>
                    <a:lnTo>
                      <a:pt x="415" y="144"/>
                    </a:lnTo>
                    <a:lnTo>
                      <a:pt x="432" y="159"/>
                    </a:lnTo>
                    <a:lnTo>
                      <a:pt x="449" y="159"/>
                    </a:lnTo>
                    <a:lnTo>
                      <a:pt x="449" y="240"/>
                    </a:lnTo>
                    <a:lnTo>
                      <a:pt x="432" y="255"/>
                    </a:lnTo>
                    <a:lnTo>
                      <a:pt x="346" y="270"/>
                    </a:lnTo>
                    <a:lnTo>
                      <a:pt x="311" y="270"/>
                    </a:lnTo>
                    <a:lnTo>
                      <a:pt x="277" y="303"/>
                    </a:lnTo>
                    <a:lnTo>
                      <a:pt x="242" y="318"/>
                    </a:lnTo>
                    <a:lnTo>
                      <a:pt x="208" y="366"/>
                    </a:lnTo>
                    <a:lnTo>
                      <a:pt x="190" y="384"/>
                    </a:lnTo>
                    <a:lnTo>
                      <a:pt x="173" y="399"/>
                    </a:lnTo>
                    <a:lnTo>
                      <a:pt x="156" y="384"/>
                    </a:lnTo>
                    <a:lnTo>
                      <a:pt x="138" y="399"/>
                    </a:lnTo>
                    <a:lnTo>
                      <a:pt x="121" y="399"/>
                    </a:lnTo>
                    <a:lnTo>
                      <a:pt x="87" y="336"/>
                    </a:lnTo>
                    <a:lnTo>
                      <a:pt x="52" y="351"/>
                    </a:lnTo>
                    <a:lnTo>
                      <a:pt x="17" y="351"/>
                    </a:lnTo>
                    <a:lnTo>
                      <a:pt x="35" y="336"/>
                    </a:lnTo>
                    <a:lnTo>
                      <a:pt x="0" y="270"/>
                    </a:lnTo>
                    <a:lnTo>
                      <a:pt x="35" y="255"/>
                    </a:lnTo>
                    <a:lnTo>
                      <a:pt x="52" y="270"/>
                    </a:lnTo>
                    <a:lnTo>
                      <a:pt x="69" y="255"/>
                    </a:lnTo>
                    <a:lnTo>
                      <a:pt x="190" y="255"/>
                    </a:lnTo>
                    <a:lnTo>
                      <a:pt x="156" y="0"/>
                    </a:lnTo>
                    <a:lnTo>
                      <a:pt x="20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65" name="Freeform 300">
                <a:extLst>
                  <a:ext uri="{FF2B5EF4-FFF2-40B4-BE49-F238E27FC236}">
                    <a16:creationId xmlns:a16="http://schemas.microsoft.com/office/drawing/2014/main" id="{0B55B43C-C706-1D43-ADBC-E1C7D7EE9A13}"/>
                  </a:ext>
                </a:extLst>
              </p:cNvPr>
              <p:cNvSpPr>
                <a:spLocks/>
              </p:cNvSpPr>
              <p:nvPr>
                <p:custDataLst>
                  <p:tags r:id="rId325"/>
                </p:custDataLst>
              </p:nvPr>
            </p:nvSpPr>
            <p:spPr bwMode="auto">
              <a:xfrm>
                <a:off x="4349750" y="4073526"/>
                <a:ext cx="261938" cy="266700"/>
              </a:xfrm>
              <a:custGeom>
                <a:avLst/>
                <a:gdLst>
                  <a:gd name="T0" fmla="*/ 0 w 331"/>
                  <a:gd name="T1" fmla="*/ 35029 h 335"/>
                  <a:gd name="T2" fmla="*/ 0 w 331"/>
                  <a:gd name="T3" fmla="*/ 35029 h 335"/>
                  <a:gd name="T4" fmla="*/ 3165 w 331"/>
                  <a:gd name="T5" fmla="*/ 32641 h 335"/>
                  <a:gd name="T6" fmla="*/ 20575 w 331"/>
                  <a:gd name="T7" fmla="*/ 32641 h 335"/>
                  <a:gd name="T8" fmla="*/ 20575 w 331"/>
                  <a:gd name="T9" fmla="*/ 25476 h 335"/>
                  <a:gd name="T10" fmla="*/ 27697 w 331"/>
                  <a:gd name="T11" fmla="*/ 23087 h 335"/>
                  <a:gd name="T12" fmla="*/ 27697 w 331"/>
                  <a:gd name="T13" fmla="*/ 6369 h 335"/>
                  <a:gd name="T14" fmla="*/ 44316 w 331"/>
                  <a:gd name="T15" fmla="*/ 6369 h 335"/>
                  <a:gd name="T16" fmla="*/ 44316 w 331"/>
                  <a:gd name="T17" fmla="*/ 0 h 335"/>
                  <a:gd name="T18" fmla="*/ 64891 w 331"/>
                  <a:gd name="T19" fmla="*/ 13534 h 335"/>
                  <a:gd name="T20" fmla="*/ 54603 w 331"/>
                  <a:gd name="T21" fmla="*/ 13534 h 335"/>
                  <a:gd name="T22" fmla="*/ 61726 w 331"/>
                  <a:gd name="T23" fmla="*/ 63690 h 335"/>
                  <a:gd name="T24" fmla="*/ 37985 w 331"/>
                  <a:gd name="T25" fmla="*/ 63690 h 335"/>
                  <a:gd name="T26" fmla="*/ 34028 w 331"/>
                  <a:gd name="T27" fmla="*/ 66874 h 335"/>
                  <a:gd name="T28" fmla="*/ 30863 w 331"/>
                  <a:gd name="T29" fmla="*/ 63690 h 335"/>
                  <a:gd name="T30" fmla="*/ 23741 w 331"/>
                  <a:gd name="T31" fmla="*/ 66874 h 335"/>
                  <a:gd name="T32" fmla="*/ 20575 w 331"/>
                  <a:gd name="T33" fmla="*/ 61301 h 335"/>
                  <a:gd name="T34" fmla="*/ 10288 w 331"/>
                  <a:gd name="T35" fmla="*/ 57321 h 335"/>
                  <a:gd name="T36" fmla="*/ 3165 w 331"/>
                  <a:gd name="T37" fmla="*/ 57321 h 335"/>
                  <a:gd name="T38" fmla="*/ 0 w 331"/>
                  <a:gd name="T39" fmla="*/ 61301 h 335"/>
                  <a:gd name="T40" fmla="*/ 3165 w 331"/>
                  <a:gd name="T41" fmla="*/ 47767 h 335"/>
                  <a:gd name="T42" fmla="*/ 0 w 331"/>
                  <a:gd name="T43" fmla="*/ 44583 h 335"/>
                  <a:gd name="T44" fmla="*/ 3165 w 331"/>
                  <a:gd name="T45" fmla="*/ 38214 h 335"/>
                  <a:gd name="T46" fmla="*/ 0 w 331"/>
                  <a:gd name="T47" fmla="*/ 35029 h 33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331"/>
                  <a:gd name="T73" fmla="*/ 0 h 335"/>
                  <a:gd name="T74" fmla="*/ 331 w 331"/>
                  <a:gd name="T75" fmla="*/ 335 h 33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331" h="335">
                    <a:moveTo>
                      <a:pt x="0" y="176"/>
                    </a:moveTo>
                    <a:lnTo>
                      <a:pt x="0" y="176"/>
                    </a:lnTo>
                    <a:lnTo>
                      <a:pt x="18" y="161"/>
                    </a:lnTo>
                    <a:lnTo>
                      <a:pt x="106" y="161"/>
                    </a:lnTo>
                    <a:lnTo>
                      <a:pt x="106" y="128"/>
                    </a:lnTo>
                    <a:lnTo>
                      <a:pt x="140" y="113"/>
                    </a:lnTo>
                    <a:lnTo>
                      <a:pt x="140" y="32"/>
                    </a:lnTo>
                    <a:lnTo>
                      <a:pt x="227" y="32"/>
                    </a:lnTo>
                    <a:lnTo>
                      <a:pt x="227" y="0"/>
                    </a:lnTo>
                    <a:lnTo>
                      <a:pt x="331" y="65"/>
                    </a:lnTo>
                    <a:lnTo>
                      <a:pt x="279" y="65"/>
                    </a:lnTo>
                    <a:lnTo>
                      <a:pt x="313" y="320"/>
                    </a:lnTo>
                    <a:lnTo>
                      <a:pt x="192" y="320"/>
                    </a:lnTo>
                    <a:lnTo>
                      <a:pt x="175" y="335"/>
                    </a:lnTo>
                    <a:lnTo>
                      <a:pt x="158" y="320"/>
                    </a:lnTo>
                    <a:lnTo>
                      <a:pt x="123" y="335"/>
                    </a:lnTo>
                    <a:lnTo>
                      <a:pt x="106" y="305"/>
                    </a:lnTo>
                    <a:lnTo>
                      <a:pt x="52" y="288"/>
                    </a:lnTo>
                    <a:lnTo>
                      <a:pt x="18" y="288"/>
                    </a:lnTo>
                    <a:lnTo>
                      <a:pt x="0" y="305"/>
                    </a:lnTo>
                    <a:lnTo>
                      <a:pt x="18" y="240"/>
                    </a:lnTo>
                    <a:lnTo>
                      <a:pt x="0" y="224"/>
                    </a:lnTo>
                    <a:lnTo>
                      <a:pt x="18" y="192"/>
                    </a:lnTo>
                    <a:lnTo>
                      <a:pt x="0" y="17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66" name="Freeform 301">
                <a:extLst>
                  <a:ext uri="{FF2B5EF4-FFF2-40B4-BE49-F238E27FC236}">
                    <a16:creationId xmlns:a16="http://schemas.microsoft.com/office/drawing/2014/main" id="{D491B884-3519-BF4D-8636-D57AB1069B47}"/>
                  </a:ext>
                </a:extLst>
              </p:cNvPr>
              <p:cNvSpPr>
                <a:spLocks/>
              </p:cNvSpPr>
              <p:nvPr>
                <p:custDataLst>
                  <p:tags r:id="rId326"/>
                </p:custDataLst>
              </p:nvPr>
            </p:nvSpPr>
            <p:spPr bwMode="auto">
              <a:xfrm>
                <a:off x="4349750" y="4060826"/>
                <a:ext cx="179388" cy="152400"/>
              </a:xfrm>
              <a:custGeom>
                <a:avLst/>
                <a:gdLst>
                  <a:gd name="T0" fmla="*/ 0 w 227"/>
                  <a:gd name="T1" fmla="*/ 38100 h 192"/>
                  <a:gd name="T2" fmla="*/ 0 w 227"/>
                  <a:gd name="T3" fmla="*/ 38100 h 192"/>
                  <a:gd name="T4" fmla="*/ 3161 w 227"/>
                  <a:gd name="T5" fmla="*/ 35719 h 192"/>
                  <a:gd name="T6" fmla="*/ 20547 w 227"/>
                  <a:gd name="T7" fmla="*/ 35719 h 192"/>
                  <a:gd name="T8" fmla="*/ 20547 w 227"/>
                  <a:gd name="T9" fmla="*/ 28575 h 192"/>
                  <a:gd name="T10" fmla="*/ 27659 w 227"/>
                  <a:gd name="T11" fmla="*/ 26194 h 192"/>
                  <a:gd name="T12" fmla="*/ 27659 w 227"/>
                  <a:gd name="T13" fmla="*/ 9525 h 192"/>
                  <a:gd name="T14" fmla="*/ 44254 w 227"/>
                  <a:gd name="T15" fmla="*/ 9525 h 192"/>
                  <a:gd name="T16" fmla="*/ 44254 w 227"/>
                  <a:gd name="T17" fmla="*/ 3175 h 192"/>
                  <a:gd name="T18" fmla="*/ 20547 w 227"/>
                  <a:gd name="T19" fmla="*/ 0 h 192"/>
                  <a:gd name="T20" fmla="*/ 17386 w 227"/>
                  <a:gd name="T21" fmla="*/ 7144 h 192"/>
                  <a:gd name="T22" fmla="*/ 13434 w 227"/>
                  <a:gd name="T23" fmla="*/ 9525 h 192"/>
                  <a:gd name="T24" fmla="*/ 10273 w 227"/>
                  <a:gd name="T25" fmla="*/ 19050 h 192"/>
                  <a:gd name="T26" fmla="*/ 0 w 227"/>
                  <a:gd name="T27" fmla="*/ 31750 h 192"/>
                  <a:gd name="T28" fmla="*/ 0 w 227"/>
                  <a:gd name="T29" fmla="*/ 38100 h 19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27"/>
                  <a:gd name="T46" fmla="*/ 0 h 192"/>
                  <a:gd name="T47" fmla="*/ 227 w 227"/>
                  <a:gd name="T48" fmla="*/ 192 h 19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27" h="192">
                    <a:moveTo>
                      <a:pt x="0" y="192"/>
                    </a:moveTo>
                    <a:lnTo>
                      <a:pt x="0" y="192"/>
                    </a:lnTo>
                    <a:lnTo>
                      <a:pt x="18" y="177"/>
                    </a:lnTo>
                    <a:lnTo>
                      <a:pt x="106" y="177"/>
                    </a:lnTo>
                    <a:lnTo>
                      <a:pt x="106" y="144"/>
                    </a:lnTo>
                    <a:lnTo>
                      <a:pt x="140" y="129"/>
                    </a:lnTo>
                    <a:lnTo>
                      <a:pt x="140" y="48"/>
                    </a:lnTo>
                    <a:lnTo>
                      <a:pt x="227" y="48"/>
                    </a:lnTo>
                    <a:lnTo>
                      <a:pt x="227" y="16"/>
                    </a:lnTo>
                    <a:lnTo>
                      <a:pt x="106" y="0"/>
                    </a:lnTo>
                    <a:lnTo>
                      <a:pt x="89" y="33"/>
                    </a:lnTo>
                    <a:lnTo>
                      <a:pt x="69" y="48"/>
                    </a:lnTo>
                    <a:lnTo>
                      <a:pt x="52" y="96"/>
                    </a:lnTo>
                    <a:lnTo>
                      <a:pt x="0" y="160"/>
                    </a:lnTo>
                    <a:lnTo>
                      <a:pt x="0" y="192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67" name="Freeform 302">
                <a:extLst>
                  <a:ext uri="{FF2B5EF4-FFF2-40B4-BE49-F238E27FC236}">
                    <a16:creationId xmlns:a16="http://schemas.microsoft.com/office/drawing/2014/main" id="{00F65632-048C-4B48-A8EB-23B2ABA05AA1}"/>
                  </a:ext>
                </a:extLst>
              </p:cNvPr>
              <p:cNvSpPr>
                <a:spLocks/>
              </p:cNvSpPr>
              <p:nvPr>
                <p:custDataLst>
                  <p:tags r:id="rId327"/>
                </p:custDataLst>
              </p:nvPr>
            </p:nvSpPr>
            <p:spPr bwMode="auto">
              <a:xfrm>
                <a:off x="4348163" y="4364038"/>
                <a:ext cx="68263" cy="12700"/>
              </a:xfrm>
              <a:custGeom>
                <a:avLst/>
                <a:gdLst>
                  <a:gd name="T0" fmla="*/ 0 w 87"/>
                  <a:gd name="T1" fmla="*/ 3387 h 15"/>
                  <a:gd name="T2" fmla="*/ 0 w 87"/>
                  <a:gd name="T3" fmla="*/ 3387 h 15"/>
                  <a:gd name="T4" fmla="*/ 3139 w 87"/>
                  <a:gd name="T5" fmla="*/ 3387 h 15"/>
                  <a:gd name="T6" fmla="*/ 10200 w 87"/>
                  <a:gd name="T7" fmla="*/ 0 h 15"/>
                  <a:gd name="T8" fmla="*/ 13339 w 87"/>
                  <a:gd name="T9" fmla="*/ 3387 h 15"/>
                  <a:gd name="T10" fmla="*/ 16477 w 87"/>
                  <a:gd name="T11" fmla="*/ 0 h 15"/>
                  <a:gd name="T12" fmla="*/ 10200 w 87"/>
                  <a:gd name="T13" fmla="*/ 0 h 15"/>
                  <a:gd name="T14" fmla="*/ 0 w 87"/>
                  <a:gd name="T15" fmla="*/ 0 h 15"/>
                  <a:gd name="T16" fmla="*/ 0 w 87"/>
                  <a:gd name="T17" fmla="*/ 3387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7"/>
                  <a:gd name="T28" fmla="*/ 0 h 15"/>
                  <a:gd name="T29" fmla="*/ 87 w 87"/>
                  <a:gd name="T30" fmla="*/ 15 h 1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7" h="15">
                    <a:moveTo>
                      <a:pt x="0" y="15"/>
                    </a:moveTo>
                    <a:lnTo>
                      <a:pt x="0" y="15"/>
                    </a:lnTo>
                    <a:lnTo>
                      <a:pt x="18" y="15"/>
                    </a:lnTo>
                    <a:lnTo>
                      <a:pt x="52" y="0"/>
                    </a:lnTo>
                    <a:lnTo>
                      <a:pt x="69" y="15"/>
                    </a:lnTo>
                    <a:lnTo>
                      <a:pt x="87" y="0"/>
                    </a:lnTo>
                    <a:lnTo>
                      <a:pt x="52" y="0"/>
                    </a:lnTo>
                    <a:lnTo>
                      <a:pt x="0" y="0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68" name="Freeform 303">
                <a:extLst>
                  <a:ext uri="{FF2B5EF4-FFF2-40B4-BE49-F238E27FC236}">
                    <a16:creationId xmlns:a16="http://schemas.microsoft.com/office/drawing/2014/main" id="{44998CFF-5B77-804D-B518-61FC25D6E502}"/>
                  </a:ext>
                </a:extLst>
              </p:cNvPr>
              <p:cNvSpPr>
                <a:spLocks/>
              </p:cNvSpPr>
              <p:nvPr>
                <p:custDataLst>
                  <p:tags r:id="rId328"/>
                </p:custDataLst>
              </p:nvPr>
            </p:nvSpPr>
            <p:spPr bwMode="auto">
              <a:xfrm>
                <a:off x="4348163" y="4389438"/>
                <a:ext cx="68263" cy="38100"/>
              </a:xfrm>
              <a:custGeom>
                <a:avLst/>
                <a:gdLst>
                  <a:gd name="T0" fmla="*/ 10200 w 87"/>
                  <a:gd name="T1" fmla="*/ 9525 h 48"/>
                  <a:gd name="T2" fmla="*/ 10200 w 87"/>
                  <a:gd name="T3" fmla="*/ 9525 h 48"/>
                  <a:gd name="T4" fmla="*/ 16477 w 87"/>
                  <a:gd name="T5" fmla="*/ 2381 h 48"/>
                  <a:gd name="T6" fmla="*/ 16477 w 87"/>
                  <a:gd name="T7" fmla="*/ 0 h 48"/>
                  <a:gd name="T8" fmla="*/ 0 w 87"/>
                  <a:gd name="T9" fmla="*/ 0 h 48"/>
                  <a:gd name="T10" fmla="*/ 6277 w 87"/>
                  <a:gd name="T11" fmla="*/ 2381 h 48"/>
                  <a:gd name="T12" fmla="*/ 6277 w 87"/>
                  <a:gd name="T13" fmla="*/ 5556 h 48"/>
                  <a:gd name="T14" fmla="*/ 10200 w 87"/>
                  <a:gd name="T15" fmla="*/ 9525 h 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7"/>
                  <a:gd name="T25" fmla="*/ 0 h 48"/>
                  <a:gd name="T26" fmla="*/ 87 w 87"/>
                  <a:gd name="T27" fmla="*/ 48 h 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7" h="48">
                    <a:moveTo>
                      <a:pt x="52" y="48"/>
                    </a:moveTo>
                    <a:lnTo>
                      <a:pt x="52" y="48"/>
                    </a:lnTo>
                    <a:lnTo>
                      <a:pt x="87" y="15"/>
                    </a:lnTo>
                    <a:lnTo>
                      <a:pt x="87" y="0"/>
                    </a:lnTo>
                    <a:lnTo>
                      <a:pt x="0" y="0"/>
                    </a:lnTo>
                    <a:lnTo>
                      <a:pt x="35" y="15"/>
                    </a:lnTo>
                    <a:lnTo>
                      <a:pt x="35" y="30"/>
                    </a:lnTo>
                    <a:lnTo>
                      <a:pt x="52" y="48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69" name="Freeform 304">
                <a:extLst>
                  <a:ext uri="{FF2B5EF4-FFF2-40B4-BE49-F238E27FC236}">
                    <a16:creationId xmlns:a16="http://schemas.microsoft.com/office/drawing/2014/main" id="{7002B58D-D8CA-6F4F-ACF9-BF302DDC687B}"/>
                  </a:ext>
                </a:extLst>
              </p:cNvPr>
              <p:cNvSpPr>
                <a:spLocks/>
              </p:cNvSpPr>
              <p:nvPr>
                <p:custDataLst>
                  <p:tags r:id="rId329"/>
                </p:custDataLst>
              </p:nvPr>
            </p:nvSpPr>
            <p:spPr bwMode="auto">
              <a:xfrm>
                <a:off x="4430713" y="4440238"/>
                <a:ext cx="57150" cy="63500"/>
              </a:xfrm>
              <a:custGeom>
                <a:avLst/>
                <a:gdLst>
                  <a:gd name="T0" fmla="*/ 0 w 71"/>
                  <a:gd name="T1" fmla="*/ 2352 h 81"/>
                  <a:gd name="T2" fmla="*/ 0 w 71"/>
                  <a:gd name="T3" fmla="*/ 2352 h 81"/>
                  <a:gd name="T4" fmla="*/ 4025 w 71"/>
                  <a:gd name="T5" fmla="*/ 0 h 81"/>
                  <a:gd name="T6" fmla="*/ 7244 w 71"/>
                  <a:gd name="T7" fmla="*/ 0 h 81"/>
                  <a:gd name="T8" fmla="*/ 14489 w 71"/>
                  <a:gd name="T9" fmla="*/ 6272 h 81"/>
                  <a:gd name="T10" fmla="*/ 14489 w 71"/>
                  <a:gd name="T11" fmla="*/ 9407 h 81"/>
                  <a:gd name="T12" fmla="*/ 7244 w 71"/>
                  <a:gd name="T13" fmla="*/ 15679 h 81"/>
                  <a:gd name="T14" fmla="*/ 4025 w 71"/>
                  <a:gd name="T15" fmla="*/ 11759 h 81"/>
                  <a:gd name="T16" fmla="*/ 0 w 71"/>
                  <a:gd name="T17" fmla="*/ 11759 h 81"/>
                  <a:gd name="T18" fmla="*/ 0 w 71"/>
                  <a:gd name="T19" fmla="*/ 2352 h 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71"/>
                  <a:gd name="T31" fmla="*/ 0 h 81"/>
                  <a:gd name="T32" fmla="*/ 71 w 71"/>
                  <a:gd name="T33" fmla="*/ 81 h 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71" h="81">
                    <a:moveTo>
                      <a:pt x="0" y="15"/>
                    </a:moveTo>
                    <a:lnTo>
                      <a:pt x="0" y="15"/>
                    </a:lnTo>
                    <a:lnTo>
                      <a:pt x="19" y="0"/>
                    </a:lnTo>
                    <a:lnTo>
                      <a:pt x="36" y="0"/>
                    </a:lnTo>
                    <a:lnTo>
                      <a:pt x="71" y="33"/>
                    </a:lnTo>
                    <a:lnTo>
                      <a:pt x="71" y="48"/>
                    </a:lnTo>
                    <a:lnTo>
                      <a:pt x="36" y="81"/>
                    </a:lnTo>
                    <a:lnTo>
                      <a:pt x="19" y="63"/>
                    </a:lnTo>
                    <a:lnTo>
                      <a:pt x="0" y="63"/>
                    </a:lnTo>
                    <a:lnTo>
                      <a:pt x="0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70" name="Freeform 305">
                <a:extLst>
                  <a:ext uri="{FF2B5EF4-FFF2-40B4-BE49-F238E27FC236}">
                    <a16:creationId xmlns:a16="http://schemas.microsoft.com/office/drawing/2014/main" id="{1CB083FE-9685-2C4F-90F0-C78575F1344C}"/>
                  </a:ext>
                </a:extLst>
              </p:cNvPr>
              <p:cNvSpPr>
                <a:spLocks/>
              </p:cNvSpPr>
              <p:nvPr>
                <p:custDataLst>
                  <p:tags r:id="rId330"/>
                </p:custDataLst>
              </p:nvPr>
            </p:nvSpPr>
            <p:spPr bwMode="auto">
              <a:xfrm>
                <a:off x="4457700" y="4465638"/>
                <a:ext cx="98425" cy="88900"/>
              </a:xfrm>
              <a:custGeom>
                <a:avLst/>
                <a:gdLst>
                  <a:gd name="T0" fmla="*/ 25816 w 122"/>
                  <a:gd name="T1" fmla="*/ 22425 h 111"/>
                  <a:gd name="T2" fmla="*/ 25816 w 122"/>
                  <a:gd name="T3" fmla="*/ 22425 h 111"/>
                  <a:gd name="T4" fmla="*/ 25816 w 122"/>
                  <a:gd name="T5" fmla="*/ 16018 h 111"/>
                  <a:gd name="T6" fmla="*/ 17749 w 122"/>
                  <a:gd name="T7" fmla="*/ 12814 h 111"/>
                  <a:gd name="T8" fmla="*/ 17749 w 122"/>
                  <a:gd name="T9" fmla="*/ 6407 h 111"/>
                  <a:gd name="T10" fmla="*/ 14522 w 122"/>
                  <a:gd name="T11" fmla="*/ 6407 h 111"/>
                  <a:gd name="T12" fmla="*/ 10488 w 122"/>
                  <a:gd name="T13" fmla="*/ 0 h 111"/>
                  <a:gd name="T14" fmla="*/ 7261 w 122"/>
                  <a:gd name="T15" fmla="*/ 3204 h 111"/>
                  <a:gd name="T16" fmla="*/ 0 w 122"/>
                  <a:gd name="T17" fmla="*/ 9611 h 111"/>
                  <a:gd name="T18" fmla="*/ 17749 w 122"/>
                  <a:gd name="T19" fmla="*/ 22425 h 111"/>
                  <a:gd name="T20" fmla="*/ 25816 w 122"/>
                  <a:gd name="T21" fmla="*/ 22425 h 11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2"/>
                  <a:gd name="T34" fmla="*/ 0 h 111"/>
                  <a:gd name="T35" fmla="*/ 122 w 122"/>
                  <a:gd name="T36" fmla="*/ 111 h 11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2" h="111">
                    <a:moveTo>
                      <a:pt x="122" y="111"/>
                    </a:moveTo>
                    <a:lnTo>
                      <a:pt x="122" y="111"/>
                    </a:lnTo>
                    <a:lnTo>
                      <a:pt x="122" y="78"/>
                    </a:lnTo>
                    <a:lnTo>
                      <a:pt x="86" y="63"/>
                    </a:lnTo>
                    <a:lnTo>
                      <a:pt x="86" y="30"/>
                    </a:lnTo>
                    <a:lnTo>
                      <a:pt x="69" y="30"/>
                    </a:lnTo>
                    <a:lnTo>
                      <a:pt x="51" y="0"/>
                    </a:lnTo>
                    <a:lnTo>
                      <a:pt x="34" y="15"/>
                    </a:lnTo>
                    <a:lnTo>
                      <a:pt x="0" y="48"/>
                    </a:lnTo>
                    <a:lnTo>
                      <a:pt x="86" y="111"/>
                    </a:lnTo>
                    <a:lnTo>
                      <a:pt x="122" y="111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71" name="Freeform 306">
                <a:extLst>
                  <a:ext uri="{FF2B5EF4-FFF2-40B4-BE49-F238E27FC236}">
                    <a16:creationId xmlns:a16="http://schemas.microsoft.com/office/drawing/2014/main" id="{651EB0BC-09DC-0843-8DD2-0E378BF752D0}"/>
                  </a:ext>
                </a:extLst>
              </p:cNvPr>
              <p:cNvSpPr>
                <a:spLocks/>
              </p:cNvSpPr>
              <p:nvPr>
                <p:custDataLst>
                  <p:tags r:id="rId331"/>
                </p:custDataLst>
              </p:nvPr>
            </p:nvSpPr>
            <p:spPr bwMode="auto">
              <a:xfrm>
                <a:off x="4527550" y="4427538"/>
                <a:ext cx="138113" cy="127000"/>
              </a:xfrm>
              <a:custGeom>
                <a:avLst/>
                <a:gdLst>
                  <a:gd name="T0" fmla="*/ 31135 w 173"/>
                  <a:gd name="T1" fmla="*/ 28755 h 159"/>
                  <a:gd name="T2" fmla="*/ 31135 w 173"/>
                  <a:gd name="T3" fmla="*/ 28755 h 159"/>
                  <a:gd name="T4" fmla="*/ 31135 w 173"/>
                  <a:gd name="T5" fmla="*/ 19170 h 159"/>
                  <a:gd name="T6" fmla="*/ 35127 w 173"/>
                  <a:gd name="T7" fmla="*/ 12780 h 159"/>
                  <a:gd name="T8" fmla="*/ 31135 w 173"/>
                  <a:gd name="T9" fmla="*/ 6390 h 159"/>
                  <a:gd name="T10" fmla="*/ 27942 w 173"/>
                  <a:gd name="T11" fmla="*/ 3195 h 159"/>
                  <a:gd name="T12" fmla="*/ 20757 w 173"/>
                  <a:gd name="T13" fmla="*/ 3195 h 159"/>
                  <a:gd name="T14" fmla="*/ 17564 w 173"/>
                  <a:gd name="T15" fmla="*/ 0 h 159"/>
                  <a:gd name="T16" fmla="*/ 14370 w 173"/>
                  <a:gd name="T17" fmla="*/ 3195 h 159"/>
                  <a:gd name="T18" fmla="*/ 10378 w 173"/>
                  <a:gd name="T19" fmla="*/ 0 h 159"/>
                  <a:gd name="T20" fmla="*/ 7185 w 173"/>
                  <a:gd name="T21" fmla="*/ 3195 h 159"/>
                  <a:gd name="T22" fmla="*/ 3992 w 173"/>
                  <a:gd name="T23" fmla="*/ 3195 h 159"/>
                  <a:gd name="T24" fmla="*/ 3992 w 173"/>
                  <a:gd name="T25" fmla="*/ 6390 h 159"/>
                  <a:gd name="T26" fmla="*/ 3992 w 173"/>
                  <a:gd name="T27" fmla="*/ 9585 h 159"/>
                  <a:gd name="T28" fmla="*/ 3992 w 173"/>
                  <a:gd name="T29" fmla="*/ 12780 h 159"/>
                  <a:gd name="T30" fmla="*/ 3992 w 173"/>
                  <a:gd name="T31" fmla="*/ 15975 h 159"/>
                  <a:gd name="T32" fmla="*/ 0 w 173"/>
                  <a:gd name="T33" fmla="*/ 15975 h 159"/>
                  <a:gd name="T34" fmla="*/ 0 w 173"/>
                  <a:gd name="T35" fmla="*/ 22365 h 159"/>
                  <a:gd name="T36" fmla="*/ 7185 w 173"/>
                  <a:gd name="T37" fmla="*/ 25560 h 159"/>
                  <a:gd name="T38" fmla="*/ 7185 w 173"/>
                  <a:gd name="T39" fmla="*/ 31950 h 159"/>
                  <a:gd name="T40" fmla="*/ 14370 w 173"/>
                  <a:gd name="T41" fmla="*/ 28755 h 159"/>
                  <a:gd name="T42" fmla="*/ 24749 w 173"/>
                  <a:gd name="T43" fmla="*/ 28755 h 159"/>
                  <a:gd name="T44" fmla="*/ 31135 w 173"/>
                  <a:gd name="T45" fmla="*/ 28755 h 15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73"/>
                  <a:gd name="T70" fmla="*/ 0 h 159"/>
                  <a:gd name="T71" fmla="*/ 173 w 173"/>
                  <a:gd name="T72" fmla="*/ 159 h 15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73" h="159">
                    <a:moveTo>
                      <a:pt x="155" y="144"/>
                    </a:moveTo>
                    <a:lnTo>
                      <a:pt x="155" y="144"/>
                    </a:lnTo>
                    <a:lnTo>
                      <a:pt x="155" y="96"/>
                    </a:lnTo>
                    <a:lnTo>
                      <a:pt x="173" y="63"/>
                    </a:lnTo>
                    <a:lnTo>
                      <a:pt x="155" y="30"/>
                    </a:lnTo>
                    <a:lnTo>
                      <a:pt x="138" y="15"/>
                    </a:lnTo>
                    <a:lnTo>
                      <a:pt x="104" y="15"/>
                    </a:lnTo>
                    <a:lnTo>
                      <a:pt x="86" y="0"/>
                    </a:lnTo>
                    <a:lnTo>
                      <a:pt x="69" y="15"/>
                    </a:lnTo>
                    <a:lnTo>
                      <a:pt x="52" y="0"/>
                    </a:lnTo>
                    <a:lnTo>
                      <a:pt x="34" y="15"/>
                    </a:lnTo>
                    <a:lnTo>
                      <a:pt x="17" y="15"/>
                    </a:lnTo>
                    <a:lnTo>
                      <a:pt x="17" y="30"/>
                    </a:lnTo>
                    <a:lnTo>
                      <a:pt x="17" y="48"/>
                    </a:lnTo>
                    <a:lnTo>
                      <a:pt x="17" y="63"/>
                    </a:lnTo>
                    <a:lnTo>
                      <a:pt x="17" y="78"/>
                    </a:lnTo>
                    <a:lnTo>
                      <a:pt x="0" y="78"/>
                    </a:lnTo>
                    <a:lnTo>
                      <a:pt x="0" y="111"/>
                    </a:lnTo>
                    <a:lnTo>
                      <a:pt x="34" y="126"/>
                    </a:lnTo>
                    <a:lnTo>
                      <a:pt x="34" y="159"/>
                    </a:lnTo>
                    <a:lnTo>
                      <a:pt x="69" y="144"/>
                    </a:lnTo>
                    <a:lnTo>
                      <a:pt x="121" y="144"/>
                    </a:lnTo>
                    <a:lnTo>
                      <a:pt x="155" y="14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72" name="Freeform 307">
                <a:extLst>
                  <a:ext uri="{FF2B5EF4-FFF2-40B4-BE49-F238E27FC236}">
                    <a16:creationId xmlns:a16="http://schemas.microsoft.com/office/drawing/2014/main" id="{E01277CA-47BA-4E4B-896A-4484D8F611FE}"/>
                  </a:ext>
                </a:extLst>
              </p:cNvPr>
              <p:cNvSpPr>
                <a:spLocks/>
              </p:cNvSpPr>
              <p:nvPr>
                <p:custDataLst>
                  <p:tags r:id="rId332"/>
                </p:custDataLst>
              </p:nvPr>
            </p:nvSpPr>
            <p:spPr bwMode="auto">
              <a:xfrm>
                <a:off x="4597400" y="4338638"/>
                <a:ext cx="163513" cy="114300"/>
              </a:xfrm>
              <a:custGeom>
                <a:avLst/>
                <a:gdLst>
                  <a:gd name="T0" fmla="*/ 0 w 208"/>
                  <a:gd name="T1" fmla="*/ 22225 h 144"/>
                  <a:gd name="T2" fmla="*/ 0 w 208"/>
                  <a:gd name="T3" fmla="*/ 22225 h 144"/>
                  <a:gd name="T4" fmla="*/ 3144 w 208"/>
                  <a:gd name="T5" fmla="*/ 19050 h 144"/>
                  <a:gd name="T6" fmla="*/ 10220 w 208"/>
                  <a:gd name="T7" fmla="*/ 9525 h 144"/>
                  <a:gd name="T8" fmla="*/ 16509 w 208"/>
                  <a:gd name="T9" fmla="*/ 7144 h 144"/>
                  <a:gd name="T10" fmla="*/ 23584 w 208"/>
                  <a:gd name="T11" fmla="*/ 0 h 144"/>
                  <a:gd name="T12" fmla="*/ 29873 w 208"/>
                  <a:gd name="T13" fmla="*/ 0 h 144"/>
                  <a:gd name="T14" fmla="*/ 29873 w 208"/>
                  <a:gd name="T15" fmla="*/ 7144 h 144"/>
                  <a:gd name="T16" fmla="*/ 36948 w 208"/>
                  <a:gd name="T17" fmla="*/ 13494 h 144"/>
                  <a:gd name="T18" fmla="*/ 40092 w 208"/>
                  <a:gd name="T19" fmla="*/ 13494 h 144"/>
                  <a:gd name="T20" fmla="*/ 40092 w 208"/>
                  <a:gd name="T21" fmla="*/ 15875 h 144"/>
                  <a:gd name="T22" fmla="*/ 33803 w 208"/>
                  <a:gd name="T23" fmla="*/ 19050 h 144"/>
                  <a:gd name="T24" fmla="*/ 26728 w 208"/>
                  <a:gd name="T25" fmla="*/ 19050 h 144"/>
                  <a:gd name="T26" fmla="*/ 13364 w 208"/>
                  <a:gd name="T27" fmla="*/ 19050 h 144"/>
                  <a:gd name="T28" fmla="*/ 13364 w 208"/>
                  <a:gd name="T29" fmla="*/ 22225 h 144"/>
                  <a:gd name="T30" fmla="*/ 13364 w 208"/>
                  <a:gd name="T31" fmla="*/ 28575 h 144"/>
                  <a:gd name="T32" fmla="*/ 10220 w 208"/>
                  <a:gd name="T33" fmla="*/ 26194 h 144"/>
                  <a:gd name="T34" fmla="*/ 3144 w 208"/>
                  <a:gd name="T35" fmla="*/ 26194 h 144"/>
                  <a:gd name="T36" fmla="*/ 0 w 208"/>
                  <a:gd name="T37" fmla="*/ 22225 h 14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08"/>
                  <a:gd name="T58" fmla="*/ 0 h 144"/>
                  <a:gd name="T59" fmla="*/ 208 w 208"/>
                  <a:gd name="T60" fmla="*/ 144 h 14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08" h="144">
                    <a:moveTo>
                      <a:pt x="0" y="114"/>
                    </a:moveTo>
                    <a:lnTo>
                      <a:pt x="0" y="114"/>
                    </a:lnTo>
                    <a:lnTo>
                      <a:pt x="18" y="96"/>
                    </a:lnTo>
                    <a:lnTo>
                      <a:pt x="52" y="48"/>
                    </a:lnTo>
                    <a:lnTo>
                      <a:pt x="87" y="33"/>
                    </a:lnTo>
                    <a:lnTo>
                      <a:pt x="121" y="0"/>
                    </a:lnTo>
                    <a:lnTo>
                      <a:pt x="156" y="0"/>
                    </a:lnTo>
                    <a:lnTo>
                      <a:pt x="156" y="33"/>
                    </a:lnTo>
                    <a:lnTo>
                      <a:pt x="190" y="66"/>
                    </a:lnTo>
                    <a:lnTo>
                      <a:pt x="208" y="66"/>
                    </a:lnTo>
                    <a:lnTo>
                      <a:pt x="208" y="81"/>
                    </a:lnTo>
                    <a:lnTo>
                      <a:pt x="173" y="96"/>
                    </a:lnTo>
                    <a:lnTo>
                      <a:pt x="138" y="96"/>
                    </a:lnTo>
                    <a:lnTo>
                      <a:pt x="69" y="96"/>
                    </a:lnTo>
                    <a:lnTo>
                      <a:pt x="69" y="114"/>
                    </a:lnTo>
                    <a:lnTo>
                      <a:pt x="69" y="144"/>
                    </a:lnTo>
                    <a:lnTo>
                      <a:pt x="52" y="129"/>
                    </a:lnTo>
                    <a:lnTo>
                      <a:pt x="18" y="129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73" name="Freeform 308">
                <a:extLst>
                  <a:ext uri="{FF2B5EF4-FFF2-40B4-BE49-F238E27FC236}">
                    <a16:creationId xmlns:a16="http://schemas.microsoft.com/office/drawing/2014/main" id="{C5FA3350-55B8-DD46-92D6-C40060FD14C3}"/>
                  </a:ext>
                </a:extLst>
              </p:cNvPr>
              <p:cNvSpPr>
                <a:spLocks/>
              </p:cNvSpPr>
              <p:nvPr>
                <p:custDataLst>
                  <p:tags r:id="rId333"/>
                </p:custDataLst>
              </p:nvPr>
            </p:nvSpPr>
            <p:spPr bwMode="auto">
              <a:xfrm>
                <a:off x="4706938" y="4414838"/>
                <a:ext cx="41275" cy="101600"/>
              </a:xfrm>
              <a:custGeom>
                <a:avLst/>
                <a:gdLst>
                  <a:gd name="T0" fmla="*/ 7144 w 52"/>
                  <a:gd name="T1" fmla="*/ 0 h 129"/>
                  <a:gd name="T2" fmla="*/ 7144 w 52"/>
                  <a:gd name="T3" fmla="*/ 0 h 129"/>
                  <a:gd name="T4" fmla="*/ 0 w 52"/>
                  <a:gd name="T5" fmla="*/ 0 h 129"/>
                  <a:gd name="T6" fmla="*/ 3969 w 52"/>
                  <a:gd name="T7" fmla="*/ 12602 h 129"/>
                  <a:gd name="T8" fmla="*/ 7144 w 52"/>
                  <a:gd name="T9" fmla="*/ 22053 h 129"/>
                  <a:gd name="T10" fmla="*/ 7144 w 52"/>
                  <a:gd name="T11" fmla="*/ 25203 h 129"/>
                  <a:gd name="T12" fmla="*/ 10319 w 52"/>
                  <a:gd name="T13" fmla="*/ 25203 h 129"/>
                  <a:gd name="T14" fmla="*/ 10319 w 52"/>
                  <a:gd name="T15" fmla="*/ 12602 h 129"/>
                  <a:gd name="T16" fmla="*/ 10319 w 52"/>
                  <a:gd name="T17" fmla="*/ 6301 h 129"/>
                  <a:gd name="T18" fmla="*/ 7144 w 52"/>
                  <a:gd name="T19" fmla="*/ 3150 h 129"/>
                  <a:gd name="T20" fmla="*/ 7144 w 52"/>
                  <a:gd name="T21" fmla="*/ 0 h 12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2"/>
                  <a:gd name="T34" fmla="*/ 0 h 129"/>
                  <a:gd name="T35" fmla="*/ 52 w 52"/>
                  <a:gd name="T36" fmla="*/ 129 h 12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2" h="129">
                    <a:moveTo>
                      <a:pt x="35" y="0"/>
                    </a:moveTo>
                    <a:lnTo>
                      <a:pt x="35" y="0"/>
                    </a:lnTo>
                    <a:lnTo>
                      <a:pt x="0" y="0"/>
                    </a:lnTo>
                    <a:lnTo>
                      <a:pt x="18" y="66"/>
                    </a:lnTo>
                    <a:lnTo>
                      <a:pt x="35" y="114"/>
                    </a:lnTo>
                    <a:lnTo>
                      <a:pt x="35" y="129"/>
                    </a:lnTo>
                    <a:lnTo>
                      <a:pt x="52" y="129"/>
                    </a:lnTo>
                    <a:lnTo>
                      <a:pt x="52" y="66"/>
                    </a:lnTo>
                    <a:lnTo>
                      <a:pt x="52" y="33"/>
                    </a:lnTo>
                    <a:lnTo>
                      <a:pt x="35" y="18"/>
                    </a:lnTo>
                    <a:lnTo>
                      <a:pt x="35" y="0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74" name="Freeform 309">
                <a:extLst>
                  <a:ext uri="{FF2B5EF4-FFF2-40B4-BE49-F238E27FC236}">
                    <a16:creationId xmlns:a16="http://schemas.microsoft.com/office/drawing/2014/main" id="{8123A9D5-0FA1-BF40-A300-C39316AE8F75}"/>
                  </a:ext>
                </a:extLst>
              </p:cNvPr>
              <p:cNvSpPr>
                <a:spLocks/>
              </p:cNvSpPr>
              <p:nvPr>
                <p:custDataLst>
                  <p:tags r:id="rId334"/>
                </p:custDataLst>
              </p:nvPr>
            </p:nvSpPr>
            <p:spPr bwMode="auto">
              <a:xfrm>
                <a:off x="4721225" y="4160838"/>
                <a:ext cx="346075" cy="241300"/>
              </a:xfrm>
              <a:custGeom>
                <a:avLst/>
                <a:gdLst>
                  <a:gd name="T0" fmla="*/ 73025 w 436"/>
                  <a:gd name="T1" fmla="*/ 50968 h 303"/>
                  <a:gd name="T2" fmla="*/ 73025 w 436"/>
                  <a:gd name="T3" fmla="*/ 50968 h 303"/>
                  <a:gd name="T4" fmla="*/ 73025 w 436"/>
                  <a:gd name="T5" fmla="*/ 47782 h 303"/>
                  <a:gd name="T6" fmla="*/ 83344 w 436"/>
                  <a:gd name="T7" fmla="*/ 35040 h 303"/>
                  <a:gd name="T8" fmla="*/ 86519 w 436"/>
                  <a:gd name="T9" fmla="*/ 15927 h 303"/>
                  <a:gd name="T10" fmla="*/ 80169 w 436"/>
                  <a:gd name="T11" fmla="*/ 9556 h 303"/>
                  <a:gd name="T12" fmla="*/ 80169 w 436"/>
                  <a:gd name="T13" fmla="*/ 3185 h 303"/>
                  <a:gd name="T14" fmla="*/ 76200 w 436"/>
                  <a:gd name="T15" fmla="*/ 0 h 303"/>
                  <a:gd name="T16" fmla="*/ 62706 w 436"/>
                  <a:gd name="T17" fmla="*/ 0 h 303"/>
                  <a:gd name="T18" fmla="*/ 27781 w 436"/>
                  <a:gd name="T19" fmla="*/ 22298 h 303"/>
                  <a:gd name="T20" fmla="*/ 21431 w 436"/>
                  <a:gd name="T21" fmla="*/ 22298 h 303"/>
                  <a:gd name="T22" fmla="*/ 21431 w 436"/>
                  <a:gd name="T23" fmla="*/ 38226 h 303"/>
                  <a:gd name="T24" fmla="*/ 17463 w 436"/>
                  <a:gd name="T25" fmla="*/ 41411 h 303"/>
                  <a:gd name="T26" fmla="*/ 0 w 436"/>
                  <a:gd name="T27" fmla="*/ 44597 h 303"/>
                  <a:gd name="T28" fmla="*/ 0 w 436"/>
                  <a:gd name="T29" fmla="*/ 50968 h 303"/>
                  <a:gd name="T30" fmla="*/ 7144 w 436"/>
                  <a:gd name="T31" fmla="*/ 57339 h 303"/>
                  <a:gd name="T32" fmla="*/ 10319 w 436"/>
                  <a:gd name="T33" fmla="*/ 57339 h 303"/>
                  <a:gd name="T34" fmla="*/ 10319 w 436"/>
                  <a:gd name="T35" fmla="*/ 60524 h 303"/>
                  <a:gd name="T36" fmla="*/ 10319 w 436"/>
                  <a:gd name="T37" fmla="*/ 57339 h 303"/>
                  <a:gd name="T38" fmla="*/ 14288 w 436"/>
                  <a:gd name="T39" fmla="*/ 57339 h 303"/>
                  <a:gd name="T40" fmla="*/ 17463 w 436"/>
                  <a:gd name="T41" fmla="*/ 60524 h 303"/>
                  <a:gd name="T42" fmla="*/ 17463 w 436"/>
                  <a:gd name="T43" fmla="*/ 57339 h 303"/>
                  <a:gd name="T44" fmla="*/ 23812 w 436"/>
                  <a:gd name="T45" fmla="*/ 50968 h 303"/>
                  <a:gd name="T46" fmla="*/ 27781 w 436"/>
                  <a:gd name="T47" fmla="*/ 50968 h 303"/>
                  <a:gd name="T48" fmla="*/ 38100 w 436"/>
                  <a:gd name="T49" fmla="*/ 54153 h 303"/>
                  <a:gd name="T50" fmla="*/ 42069 w 436"/>
                  <a:gd name="T51" fmla="*/ 54153 h 303"/>
                  <a:gd name="T52" fmla="*/ 48419 w 436"/>
                  <a:gd name="T53" fmla="*/ 57339 h 303"/>
                  <a:gd name="T54" fmla="*/ 55563 w 436"/>
                  <a:gd name="T55" fmla="*/ 54153 h 303"/>
                  <a:gd name="T56" fmla="*/ 65881 w 436"/>
                  <a:gd name="T57" fmla="*/ 54153 h 303"/>
                  <a:gd name="T58" fmla="*/ 69850 w 436"/>
                  <a:gd name="T59" fmla="*/ 50968 h 303"/>
                  <a:gd name="T60" fmla="*/ 73025 w 436"/>
                  <a:gd name="T61" fmla="*/ 50968 h 30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36"/>
                  <a:gd name="T94" fmla="*/ 0 h 303"/>
                  <a:gd name="T95" fmla="*/ 436 w 436"/>
                  <a:gd name="T96" fmla="*/ 303 h 30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36" h="303">
                    <a:moveTo>
                      <a:pt x="366" y="255"/>
                    </a:moveTo>
                    <a:lnTo>
                      <a:pt x="366" y="255"/>
                    </a:lnTo>
                    <a:lnTo>
                      <a:pt x="366" y="240"/>
                    </a:lnTo>
                    <a:lnTo>
                      <a:pt x="418" y="175"/>
                    </a:lnTo>
                    <a:lnTo>
                      <a:pt x="436" y="79"/>
                    </a:lnTo>
                    <a:lnTo>
                      <a:pt x="401" y="48"/>
                    </a:lnTo>
                    <a:lnTo>
                      <a:pt x="401" y="15"/>
                    </a:lnTo>
                    <a:lnTo>
                      <a:pt x="384" y="0"/>
                    </a:lnTo>
                    <a:lnTo>
                      <a:pt x="313" y="0"/>
                    </a:lnTo>
                    <a:lnTo>
                      <a:pt x="140" y="111"/>
                    </a:lnTo>
                    <a:lnTo>
                      <a:pt x="105" y="111"/>
                    </a:lnTo>
                    <a:lnTo>
                      <a:pt x="105" y="192"/>
                    </a:lnTo>
                    <a:lnTo>
                      <a:pt x="86" y="207"/>
                    </a:lnTo>
                    <a:lnTo>
                      <a:pt x="0" y="222"/>
                    </a:lnTo>
                    <a:lnTo>
                      <a:pt x="0" y="255"/>
                    </a:lnTo>
                    <a:lnTo>
                      <a:pt x="34" y="288"/>
                    </a:lnTo>
                    <a:lnTo>
                      <a:pt x="52" y="288"/>
                    </a:lnTo>
                    <a:lnTo>
                      <a:pt x="52" y="303"/>
                    </a:lnTo>
                    <a:lnTo>
                      <a:pt x="52" y="288"/>
                    </a:lnTo>
                    <a:lnTo>
                      <a:pt x="69" y="288"/>
                    </a:lnTo>
                    <a:lnTo>
                      <a:pt x="86" y="303"/>
                    </a:lnTo>
                    <a:lnTo>
                      <a:pt x="86" y="288"/>
                    </a:lnTo>
                    <a:lnTo>
                      <a:pt x="123" y="255"/>
                    </a:lnTo>
                    <a:lnTo>
                      <a:pt x="140" y="255"/>
                    </a:lnTo>
                    <a:lnTo>
                      <a:pt x="192" y="270"/>
                    </a:lnTo>
                    <a:lnTo>
                      <a:pt x="209" y="270"/>
                    </a:lnTo>
                    <a:lnTo>
                      <a:pt x="244" y="288"/>
                    </a:lnTo>
                    <a:lnTo>
                      <a:pt x="278" y="270"/>
                    </a:lnTo>
                    <a:lnTo>
                      <a:pt x="332" y="270"/>
                    </a:lnTo>
                    <a:lnTo>
                      <a:pt x="349" y="255"/>
                    </a:lnTo>
                    <a:lnTo>
                      <a:pt x="366" y="25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75" name="Freeform 310">
                <a:extLst>
                  <a:ext uri="{FF2B5EF4-FFF2-40B4-BE49-F238E27FC236}">
                    <a16:creationId xmlns:a16="http://schemas.microsoft.com/office/drawing/2014/main" id="{0A1302D5-D99B-2340-81E7-4FEEE162ADA3}"/>
                  </a:ext>
                </a:extLst>
              </p:cNvPr>
              <p:cNvSpPr>
                <a:spLocks/>
              </p:cNvSpPr>
              <p:nvPr>
                <p:custDataLst>
                  <p:tags r:id="rId335"/>
                </p:custDataLst>
              </p:nvPr>
            </p:nvSpPr>
            <p:spPr bwMode="auto">
              <a:xfrm>
                <a:off x="4337050" y="4300538"/>
                <a:ext cx="136525" cy="88900"/>
              </a:xfrm>
              <a:custGeom>
                <a:avLst/>
                <a:gdLst>
                  <a:gd name="T0" fmla="*/ 3157 w 173"/>
                  <a:gd name="T1" fmla="*/ 18095 h 113"/>
                  <a:gd name="T2" fmla="*/ 3157 w 173"/>
                  <a:gd name="T3" fmla="*/ 18095 h 113"/>
                  <a:gd name="T4" fmla="*/ 6313 w 173"/>
                  <a:gd name="T5" fmla="*/ 18095 h 113"/>
                  <a:gd name="T6" fmla="*/ 13416 w 173"/>
                  <a:gd name="T7" fmla="*/ 15735 h 113"/>
                  <a:gd name="T8" fmla="*/ 16572 w 173"/>
                  <a:gd name="T9" fmla="*/ 18095 h 113"/>
                  <a:gd name="T10" fmla="*/ 20518 w 173"/>
                  <a:gd name="T11" fmla="*/ 15735 h 113"/>
                  <a:gd name="T12" fmla="*/ 13416 w 173"/>
                  <a:gd name="T13" fmla="*/ 15735 h 113"/>
                  <a:gd name="T14" fmla="*/ 3157 w 173"/>
                  <a:gd name="T15" fmla="*/ 15735 h 113"/>
                  <a:gd name="T16" fmla="*/ 0 w 173"/>
                  <a:gd name="T17" fmla="*/ 8654 h 113"/>
                  <a:gd name="T18" fmla="*/ 3157 w 173"/>
                  <a:gd name="T19" fmla="*/ 3147 h 113"/>
                  <a:gd name="T20" fmla="*/ 6313 w 173"/>
                  <a:gd name="T21" fmla="*/ 0 h 113"/>
                  <a:gd name="T22" fmla="*/ 13416 w 173"/>
                  <a:gd name="T23" fmla="*/ 0 h 113"/>
                  <a:gd name="T24" fmla="*/ 23675 w 173"/>
                  <a:gd name="T25" fmla="*/ 3147 h 113"/>
                  <a:gd name="T26" fmla="*/ 26832 w 173"/>
                  <a:gd name="T27" fmla="*/ 8654 h 113"/>
                  <a:gd name="T28" fmla="*/ 33934 w 173"/>
                  <a:gd name="T29" fmla="*/ 22028 h 113"/>
                  <a:gd name="T30" fmla="*/ 20518 w 173"/>
                  <a:gd name="T31" fmla="*/ 22028 h 113"/>
                  <a:gd name="T32" fmla="*/ 3157 w 173"/>
                  <a:gd name="T33" fmla="*/ 22028 h 113"/>
                  <a:gd name="T34" fmla="*/ 3157 w 173"/>
                  <a:gd name="T35" fmla="*/ 18095 h 11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73"/>
                  <a:gd name="T55" fmla="*/ 0 h 113"/>
                  <a:gd name="T56" fmla="*/ 173 w 173"/>
                  <a:gd name="T57" fmla="*/ 113 h 113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73" h="113">
                    <a:moveTo>
                      <a:pt x="17" y="95"/>
                    </a:moveTo>
                    <a:lnTo>
                      <a:pt x="17" y="95"/>
                    </a:lnTo>
                    <a:lnTo>
                      <a:pt x="35" y="95"/>
                    </a:lnTo>
                    <a:lnTo>
                      <a:pt x="69" y="80"/>
                    </a:lnTo>
                    <a:lnTo>
                      <a:pt x="86" y="95"/>
                    </a:lnTo>
                    <a:lnTo>
                      <a:pt x="104" y="80"/>
                    </a:lnTo>
                    <a:lnTo>
                      <a:pt x="69" y="80"/>
                    </a:lnTo>
                    <a:lnTo>
                      <a:pt x="17" y="80"/>
                    </a:lnTo>
                    <a:lnTo>
                      <a:pt x="0" y="47"/>
                    </a:lnTo>
                    <a:lnTo>
                      <a:pt x="17" y="17"/>
                    </a:lnTo>
                    <a:lnTo>
                      <a:pt x="35" y="0"/>
                    </a:lnTo>
                    <a:lnTo>
                      <a:pt x="69" y="0"/>
                    </a:lnTo>
                    <a:lnTo>
                      <a:pt x="121" y="17"/>
                    </a:lnTo>
                    <a:lnTo>
                      <a:pt x="138" y="47"/>
                    </a:lnTo>
                    <a:lnTo>
                      <a:pt x="173" y="113"/>
                    </a:lnTo>
                    <a:lnTo>
                      <a:pt x="104" y="113"/>
                    </a:lnTo>
                    <a:lnTo>
                      <a:pt x="17" y="113"/>
                    </a:lnTo>
                    <a:lnTo>
                      <a:pt x="17" y="9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76" name="Freeform 311">
                <a:extLst>
                  <a:ext uri="{FF2B5EF4-FFF2-40B4-BE49-F238E27FC236}">
                    <a16:creationId xmlns:a16="http://schemas.microsoft.com/office/drawing/2014/main" id="{1396E3DC-C781-2F47-9F94-4BCDB9E9C6B1}"/>
                  </a:ext>
                </a:extLst>
              </p:cNvPr>
              <p:cNvSpPr>
                <a:spLocks/>
              </p:cNvSpPr>
              <p:nvPr>
                <p:custDataLst>
                  <p:tags r:id="rId336"/>
                </p:custDataLst>
              </p:nvPr>
            </p:nvSpPr>
            <p:spPr bwMode="auto">
              <a:xfrm>
                <a:off x="4652963" y="4414838"/>
                <a:ext cx="82550" cy="127000"/>
              </a:xfrm>
              <a:custGeom>
                <a:avLst/>
                <a:gdLst>
                  <a:gd name="T0" fmla="*/ 0 w 104"/>
                  <a:gd name="T1" fmla="*/ 9407 h 162"/>
                  <a:gd name="T2" fmla="*/ 0 w 104"/>
                  <a:gd name="T3" fmla="*/ 9407 h 162"/>
                  <a:gd name="T4" fmla="*/ 0 w 104"/>
                  <a:gd name="T5" fmla="*/ 3136 h 162"/>
                  <a:gd name="T6" fmla="*/ 0 w 104"/>
                  <a:gd name="T7" fmla="*/ 0 h 162"/>
                  <a:gd name="T8" fmla="*/ 14288 w 104"/>
                  <a:gd name="T9" fmla="*/ 0 h 162"/>
                  <a:gd name="T10" fmla="*/ 17463 w 104"/>
                  <a:gd name="T11" fmla="*/ 12543 h 162"/>
                  <a:gd name="T12" fmla="*/ 20638 w 104"/>
                  <a:gd name="T13" fmla="*/ 21951 h 162"/>
                  <a:gd name="T14" fmla="*/ 20638 w 104"/>
                  <a:gd name="T15" fmla="*/ 25086 h 162"/>
                  <a:gd name="T16" fmla="*/ 3969 w 104"/>
                  <a:gd name="T17" fmla="*/ 31358 h 162"/>
                  <a:gd name="T18" fmla="*/ 0 w 104"/>
                  <a:gd name="T19" fmla="*/ 31358 h 162"/>
                  <a:gd name="T20" fmla="*/ 0 w 104"/>
                  <a:gd name="T21" fmla="*/ 21951 h 162"/>
                  <a:gd name="T22" fmla="*/ 3969 w 104"/>
                  <a:gd name="T23" fmla="*/ 15679 h 162"/>
                  <a:gd name="T24" fmla="*/ 0 w 104"/>
                  <a:gd name="T25" fmla="*/ 9407 h 16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04"/>
                  <a:gd name="T40" fmla="*/ 0 h 162"/>
                  <a:gd name="T41" fmla="*/ 104 w 104"/>
                  <a:gd name="T42" fmla="*/ 162 h 16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04" h="162">
                    <a:moveTo>
                      <a:pt x="0" y="48"/>
                    </a:moveTo>
                    <a:lnTo>
                      <a:pt x="0" y="4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69" y="0"/>
                    </a:lnTo>
                    <a:lnTo>
                      <a:pt x="87" y="66"/>
                    </a:lnTo>
                    <a:lnTo>
                      <a:pt x="104" y="114"/>
                    </a:lnTo>
                    <a:lnTo>
                      <a:pt x="104" y="129"/>
                    </a:lnTo>
                    <a:lnTo>
                      <a:pt x="18" y="162"/>
                    </a:lnTo>
                    <a:lnTo>
                      <a:pt x="0" y="162"/>
                    </a:lnTo>
                    <a:lnTo>
                      <a:pt x="0" y="114"/>
                    </a:lnTo>
                    <a:lnTo>
                      <a:pt x="18" y="81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77" name="Freeform 312">
                <a:extLst>
                  <a:ext uri="{FF2B5EF4-FFF2-40B4-BE49-F238E27FC236}">
                    <a16:creationId xmlns:a16="http://schemas.microsoft.com/office/drawing/2014/main" id="{70AF9F01-2DA5-8348-AD9B-E5022A4E0920}"/>
                  </a:ext>
                </a:extLst>
              </p:cNvPr>
              <p:cNvSpPr>
                <a:spLocks/>
              </p:cNvSpPr>
              <p:nvPr>
                <p:custDataLst>
                  <p:tags r:id="rId337"/>
                </p:custDataLst>
              </p:nvPr>
            </p:nvSpPr>
            <p:spPr bwMode="auto">
              <a:xfrm>
                <a:off x="4775200" y="4364038"/>
                <a:ext cx="250825" cy="190500"/>
              </a:xfrm>
              <a:custGeom>
                <a:avLst/>
                <a:gdLst>
                  <a:gd name="T0" fmla="*/ 30859 w 317"/>
                  <a:gd name="T1" fmla="*/ 45244 h 240"/>
                  <a:gd name="T2" fmla="*/ 30859 w 317"/>
                  <a:gd name="T3" fmla="*/ 45244 h 240"/>
                  <a:gd name="T4" fmla="*/ 37980 w 317"/>
                  <a:gd name="T5" fmla="*/ 35719 h 240"/>
                  <a:gd name="T6" fmla="*/ 41145 w 317"/>
                  <a:gd name="T7" fmla="*/ 35719 h 240"/>
                  <a:gd name="T8" fmla="*/ 45101 w 317"/>
                  <a:gd name="T9" fmla="*/ 38100 h 240"/>
                  <a:gd name="T10" fmla="*/ 48266 w 317"/>
                  <a:gd name="T11" fmla="*/ 35719 h 240"/>
                  <a:gd name="T12" fmla="*/ 55387 w 317"/>
                  <a:gd name="T13" fmla="*/ 26194 h 240"/>
                  <a:gd name="T14" fmla="*/ 58552 w 317"/>
                  <a:gd name="T15" fmla="*/ 16669 h 240"/>
                  <a:gd name="T16" fmla="*/ 62508 w 317"/>
                  <a:gd name="T17" fmla="*/ 9525 h 240"/>
                  <a:gd name="T18" fmla="*/ 62508 w 317"/>
                  <a:gd name="T19" fmla="*/ 7144 h 240"/>
                  <a:gd name="T20" fmla="*/ 62508 w 317"/>
                  <a:gd name="T21" fmla="*/ 3175 h 240"/>
                  <a:gd name="T22" fmla="*/ 58552 w 317"/>
                  <a:gd name="T23" fmla="*/ 0 h 240"/>
                  <a:gd name="T24" fmla="*/ 55387 w 317"/>
                  <a:gd name="T25" fmla="*/ 0 h 240"/>
                  <a:gd name="T26" fmla="*/ 52222 w 317"/>
                  <a:gd name="T27" fmla="*/ 3175 h 240"/>
                  <a:gd name="T28" fmla="*/ 41145 w 317"/>
                  <a:gd name="T29" fmla="*/ 3175 h 240"/>
                  <a:gd name="T30" fmla="*/ 34815 w 317"/>
                  <a:gd name="T31" fmla="*/ 7144 h 240"/>
                  <a:gd name="T32" fmla="*/ 27694 w 317"/>
                  <a:gd name="T33" fmla="*/ 3175 h 240"/>
                  <a:gd name="T34" fmla="*/ 23737 w 317"/>
                  <a:gd name="T35" fmla="*/ 3175 h 240"/>
                  <a:gd name="T36" fmla="*/ 13451 w 317"/>
                  <a:gd name="T37" fmla="*/ 0 h 240"/>
                  <a:gd name="T38" fmla="*/ 10286 w 317"/>
                  <a:gd name="T39" fmla="*/ 0 h 240"/>
                  <a:gd name="T40" fmla="*/ 3165 w 317"/>
                  <a:gd name="T41" fmla="*/ 7144 h 240"/>
                  <a:gd name="T42" fmla="*/ 3165 w 317"/>
                  <a:gd name="T43" fmla="*/ 9525 h 240"/>
                  <a:gd name="T44" fmla="*/ 3165 w 317"/>
                  <a:gd name="T45" fmla="*/ 16669 h 240"/>
                  <a:gd name="T46" fmla="*/ 0 w 317"/>
                  <a:gd name="T47" fmla="*/ 28575 h 240"/>
                  <a:gd name="T48" fmla="*/ 0 w 317"/>
                  <a:gd name="T49" fmla="*/ 38100 h 240"/>
                  <a:gd name="T50" fmla="*/ 10286 w 317"/>
                  <a:gd name="T51" fmla="*/ 38100 h 240"/>
                  <a:gd name="T52" fmla="*/ 10286 w 317"/>
                  <a:gd name="T53" fmla="*/ 41275 h 240"/>
                  <a:gd name="T54" fmla="*/ 13451 w 317"/>
                  <a:gd name="T55" fmla="*/ 47625 h 240"/>
                  <a:gd name="T56" fmla="*/ 17407 w 317"/>
                  <a:gd name="T57" fmla="*/ 47625 h 240"/>
                  <a:gd name="T58" fmla="*/ 30859 w 317"/>
                  <a:gd name="T59" fmla="*/ 47625 h 240"/>
                  <a:gd name="T60" fmla="*/ 30859 w 317"/>
                  <a:gd name="T61" fmla="*/ 45244 h 24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17"/>
                  <a:gd name="T94" fmla="*/ 0 h 240"/>
                  <a:gd name="T95" fmla="*/ 317 w 317"/>
                  <a:gd name="T96" fmla="*/ 240 h 24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17" h="240">
                    <a:moveTo>
                      <a:pt x="159" y="225"/>
                    </a:moveTo>
                    <a:lnTo>
                      <a:pt x="159" y="225"/>
                    </a:lnTo>
                    <a:lnTo>
                      <a:pt x="194" y="177"/>
                    </a:lnTo>
                    <a:lnTo>
                      <a:pt x="211" y="177"/>
                    </a:lnTo>
                    <a:lnTo>
                      <a:pt x="228" y="192"/>
                    </a:lnTo>
                    <a:lnTo>
                      <a:pt x="246" y="177"/>
                    </a:lnTo>
                    <a:lnTo>
                      <a:pt x="282" y="129"/>
                    </a:lnTo>
                    <a:lnTo>
                      <a:pt x="299" y="81"/>
                    </a:lnTo>
                    <a:lnTo>
                      <a:pt x="317" y="48"/>
                    </a:lnTo>
                    <a:lnTo>
                      <a:pt x="317" y="33"/>
                    </a:lnTo>
                    <a:lnTo>
                      <a:pt x="317" y="15"/>
                    </a:lnTo>
                    <a:lnTo>
                      <a:pt x="299" y="0"/>
                    </a:lnTo>
                    <a:lnTo>
                      <a:pt x="282" y="0"/>
                    </a:lnTo>
                    <a:lnTo>
                      <a:pt x="265" y="15"/>
                    </a:lnTo>
                    <a:lnTo>
                      <a:pt x="211" y="15"/>
                    </a:lnTo>
                    <a:lnTo>
                      <a:pt x="177" y="33"/>
                    </a:lnTo>
                    <a:lnTo>
                      <a:pt x="142" y="15"/>
                    </a:lnTo>
                    <a:lnTo>
                      <a:pt x="123" y="15"/>
                    </a:lnTo>
                    <a:lnTo>
                      <a:pt x="71" y="0"/>
                    </a:lnTo>
                    <a:lnTo>
                      <a:pt x="54" y="0"/>
                    </a:lnTo>
                    <a:lnTo>
                      <a:pt x="19" y="33"/>
                    </a:lnTo>
                    <a:lnTo>
                      <a:pt x="19" y="48"/>
                    </a:lnTo>
                    <a:lnTo>
                      <a:pt x="19" y="81"/>
                    </a:lnTo>
                    <a:lnTo>
                      <a:pt x="0" y="144"/>
                    </a:lnTo>
                    <a:lnTo>
                      <a:pt x="0" y="192"/>
                    </a:lnTo>
                    <a:lnTo>
                      <a:pt x="54" y="192"/>
                    </a:lnTo>
                    <a:lnTo>
                      <a:pt x="54" y="207"/>
                    </a:lnTo>
                    <a:lnTo>
                      <a:pt x="71" y="240"/>
                    </a:lnTo>
                    <a:lnTo>
                      <a:pt x="88" y="240"/>
                    </a:lnTo>
                    <a:lnTo>
                      <a:pt x="159" y="240"/>
                    </a:lnTo>
                    <a:lnTo>
                      <a:pt x="159" y="225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78" name="Freeform 313">
                <a:extLst>
                  <a:ext uri="{FF2B5EF4-FFF2-40B4-BE49-F238E27FC236}">
                    <a16:creationId xmlns:a16="http://schemas.microsoft.com/office/drawing/2014/main" id="{D50C43BA-6848-614B-BFDA-7D8991239D05}"/>
                  </a:ext>
                </a:extLst>
              </p:cNvPr>
              <p:cNvSpPr>
                <a:spLocks/>
              </p:cNvSpPr>
              <p:nvPr>
                <p:custDataLst>
                  <p:tags r:id="rId338"/>
                </p:custDataLst>
              </p:nvPr>
            </p:nvSpPr>
            <p:spPr bwMode="auto">
              <a:xfrm>
                <a:off x="4735513" y="4389438"/>
                <a:ext cx="55563" cy="127000"/>
              </a:xfrm>
              <a:custGeom>
                <a:avLst/>
                <a:gdLst>
                  <a:gd name="T0" fmla="*/ 7247 w 69"/>
                  <a:gd name="T1" fmla="*/ 3195 h 159"/>
                  <a:gd name="T2" fmla="*/ 7247 w 69"/>
                  <a:gd name="T3" fmla="*/ 3195 h 159"/>
                  <a:gd name="T4" fmla="*/ 0 w 69"/>
                  <a:gd name="T5" fmla="*/ 6390 h 159"/>
                  <a:gd name="T6" fmla="*/ 0 w 69"/>
                  <a:gd name="T7" fmla="*/ 9585 h 159"/>
                  <a:gd name="T8" fmla="*/ 4026 w 69"/>
                  <a:gd name="T9" fmla="*/ 12780 h 159"/>
                  <a:gd name="T10" fmla="*/ 4026 w 69"/>
                  <a:gd name="T11" fmla="*/ 19170 h 159"/>
                  <a:gd name="T12" fmla="*/ 4026 w 69"/>
                  <a:gd name="T13" fmla="*/ 31950 h 159"/>
                  <a:gd name="T14" fmla="*/ 10468 w 69"/>
                  <a:gd name="T15" fmla="*/ 31950 h 159"/>
                  <a:gd name="T16" fmla="*/ 10468 w 69"/>
                  <a:gd name="T17" fmla="*/ 22365 h 159"/>
                  <a:gd name="T18" fmla="*/ 14495 w 69"/>
                  <a:gd name="T19" fmla="*/ 9585 h 159"/>
                  <a:gd name="T20" fmla="*/ 14495 w 69"/>
                  <a:gd name="T21" fmla="*/ 3195 h 159"/>
                  <a:gd name="T22" fmla="*/ 10468 w 69"/>
                  <a:gd name="T23" fmla="*/ 0 h 159"/>
                  <a:gd name="T24" fmla="*/ 7247 w 69"/>
                  <a:gd name="T25" fmla="*/ 0 h 159"/>
                  <a:gd name="T26" fmla="*/ 7247 w 69"/>
                  <a:gd name="T27" fmla="*/ 3195 h 15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9"/>
                  <a:gd name="T43" fmla="*/ 0 h 159"/>
                  <a:gd name="T44" fmla="*/ 69 w 69"/>
                  <a:gd name="T45" fmla="*/ 159 h 15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9" h="159">
                    <a:moveTo>
                      <a:pt x="35" y="15"/>
                    </a:moveTo>
                    <a:lnTo>
                      <a:pt x="35" y="15"/>
                    </a:lnTo>
                    <a:lnTo>
                      <a:pt x="0" y="30"/>
                    </a:lnTo>
                    <a:lnTo>
                      <a:pt x="0" y="48"/>
                    </a:lnTo>
                    <a:lnTo>
                      <a:pt x="17" y="63"/>
                    </a:lnTo>
                    <a:lnTo>
                      <a:pt x="17" y="96"/>
                    </a:lnTo>
                    <a:lnTo>
                      <a:pt x="17" y="159"/>
                    </a:lnTo>
                    <a:lnTo>
                      <a:pt x="52" y="159"/>
                    </a:lnTo>
                    <a:lnTo>
                      <a:pt x="52" y="111"/>
                    </a:lnTo>
                    <a:lnTo>
                      <a:pt x="69" y="48"/>
                    </a:lnTo>
                    <a:lnTo>
                      <a:pt x="69" y="15"/>
                    </a:lnTo>
                    <a:lnTo>
                      <a:pt x="52" y="0"/>
                    </a:lnTo>
                    <a:lnTo>
                      <a:pt x="35" y="0"/>
                    </a:lnTo>
                    <a:lnTo>
                      <a:pt x="35" y="15"/>
                    </a:lnTo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79" name="Freeform 314">
                <a:extLst>
                  <a:ext uri="{FF2B5EF4-FFF2-40B4-BE49-F238E27FC236}">
                    <a16:creationId xmlns:a16="http://schemas.microsoft.com/office/drawing/2014/main" id="{145837CA-29B2-F849-8966-724A9689B3E4}"/>
                  </a:ext>
                </a:extLst>
              </p:cNvPr>
              <p:cNvSpPr>
                <a:spLocks/>
              </p:cNvSpPr>
              <p:nvPr>
                <p:custDataLst>
                  <p:tags r:id="rId339"/>
                </p:custDataLst>
              </p:nvPr>
            </p:nvSpPr>
            <p:spPr bwMode="auto">
              <a:xfrm>
                <a:off x="4391025" y="4389438"/>
                <a:ext cx="150813" cy="101600"/>
              </a:xfrm>
              <a:custGeom>
                <a:avLst/>
                <a:gdLst>
                  <a:gd name="T0" fmla="*/ 34925 w 190"/>
                  <a:gd name="T1" fmla="*/ 26610 h 126"/>
                  <a:gd name="T2" fmla="*/ 34925 w 190"/>
                  <a:gd name="T3" fmla="*/ 26610 h 126"/>
                  <a:gd name="T4" fmla="*/ 38100 w 190"/>
                  <a:gd name="T5" fmla="*/ 26610 h 126"/>
                  <a:gd name="T6" fmla="*/ 38100 w 190"/>
                  <a:gd name="T7" fmla="*/ 22578 h 126"/>
                  <a:gd name="T8" fmla="*/ 38100 w 190"/>
                  <a:gd name="T9" fmla="*/ 20159 h 126"/>
                  <a:gd name="T10" fmla="*/ 38100 w 190"/>
                  <a:gd name="T11" fmla="*/ 16127 h 126"/>
                  <a:gd name="T12" fmla="*/ 38100 w 190"/>
                  <a:gd name="T13" fmla="*/ 12902 h 126"/>
                  <a:gd name="T14" fmla="*/ 30956 w 190"/>
                  <a:gd name="T15" fmla="*/ 0 h 126"/>
                  <a:gd name="T16" fmla="*/ 23813 w 190"/>
                  <a:gd name="T17" fmla="*/ 3225 h 126"/>
                  <a:gd name="T18" fmla="*/ 17463 w 190"/>
                  <a:gd name="T19" fmla="*/ 3225 h 126"/>
                  <a:gd name="T20" fmla="*/ 20638 w 190"/>
                  <a:gd name="T21" fmla="*/ 0 h 126"/>
                  <a:gd name="T22" fmla="*/ 7144 w 190"/>
                  <a:gd name="T23" fmla="*/ 0 h 126"/>
                  <a:gd name="T24" fmla="*/ 7144 w 190"/>
                  <a:gd name="T25" fmla="*/ 3225 h 126"/>
                  <a:gd name="T26" fmla="*/ 0 w 190"/>
                  <a:gd name="T27" fmla="*/ 9676 h 126"/>
                  <a:gd name="T28" fmla="*/ 10319 w 190"/>
                  <a:gd name="T29" fmla="*/ 16127 h 126"/>
                  <a:gd name="T30" fmla="*/ 14288 w 190"/>
                  <a:gd name="T31" fmla="*/ 12902 h 126"/>
                  <a:gd name="T32" fmla="*/ 17463 w 190"/>
                  <a:gd name="T33" fmla="*/ 12902 h 126"/>
                  <a:gd name="T34" fmla="*/ 23813 w 190"/>
                  <a:gd name="T35" fmla="*/ 20159 h 126"/>
                  <a:gd name="T36" fmla="*/ 23813 w 190"/>
                  <a:gd name="T37" fmla="*/ 22578 h 126"/>
                  <a:gd name="T38" fmla="*/ 27781 w 190"/>
                  <a:gd name="T39" fmla="*/ 20159 h 126"/>
                  <a:gd name="T40" fmla="*/ 30956 w 190"/>
                  <a:gd name="T41" fmla="*/ 26610 h 126"/>
                  <a:gd name="T42" fmla="*/ 34925 w 190"/>
                  <a:gd name="T43" fmla="*/ 26610 h 12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90"/>
                  <a:gd name="T67" fmla="*/ 0 h 126"/>
                  <a:gd name="T68" fmla="*/ 190 w 190"/>
                  <a:gd name="T69" fmla="*/ 126 h 12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90" h="126">
                    <a:moveTo>
                      <a:pt x="173" y="126"/>
                    </a:moveTo>
                    <a:lnTo>
                      <a:pt x="173" y="126"/>
                    </a:lnTo>
                    <a:lnTo>
                      <a:pt x="190" y="126"/>
                    </a:lnTo>
                    <a:lnTo>
                      <a:pt x="190" y="111"/>
                    </a:lnTo>
                    <a:lnTo>
                      <a:pt x="190" y="96"/>
                    </a:lnTo>
                    <a:lnTo>
                      <a:pt x="190" y="78"/>
                    </a:lnTo>
                    <a:lnTo>
                      <a:pt x="190" y="63"/>
                    </a:lnTo>
                    <a:lnTo>
                      <a:pt x="156" y="0"/>
                    </a:lnTo>
                    <a:lnTo>
                      <a:pt x="121" y="15"/>
                    </a:lnTo>
                    <a:lnTo>
                      <a:pt x="87" y="15"/>
                    </a:lnTo>
                    <a:lnTo>
                      <a:pt x="104" y="0"/>
                    </a:lnTo>
                    <a:lnTo>
                      <a:pt x="35" y="0"/>
                    </a:lnTo>
                    <a:lnTo>
                      <a:pt x="35" y="15"/>
                    </a:lnTo>
                    <a:lnTo>
                      <a:pt x="0" y="48"/>
                    </a:lnTo>
                    <a:lnTo>
                      <a:pt x="52" y="78"/>
                    </a:lnTo>
                    <a:lnTo>
                      <a:pt x="69" y="63"/>
                    </a:lnTo>
                    <a:lnTo>
                      <a:pt x="87" y="63"/>
                    </a:lnTo>
                    <a:lnTo>
                      <a:pt x="121" y="96"/>
                    </a:lnTo>
                    <a:lnTo>
                      <a:pt x="121" y="111"/>
                    </a:lnTo>
                    <a:lnTo>
                      <a:pt x="138" y="96"/>
                    </a:lnTo>
                    <a:lnTo>
                      <a:pt x="156" y="126"/>
                    </a:lnTo>
                    <a:lnTo>
                      <a:pt x="173" y="126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80" name="Freeform 315">
                <a:extLst>
                  <a:ext uri="{FF2B5EF4-FFF2-40B4-BE49-F238E27FC236}">
                    <a16:creationId xmlns:a16="http://schemas.microsoft.com/office/drawing/2014/main" id="{EE069BB0-5978-E84C-880D-AD4AED27DC3D}"/>
                  </a:ext>
                </a:extLst>
              </p:cNvPr>
              <p:cNvSpPr>
                <a:spLocks/>
              </p:cNvSpPr>
              <p:nvPr>
                <p:custDataLst>
                  <p:tags r:id="rId340"/>
                </p:custDataLst>
              </p:nvPr>
            </p:nvSpPr>
            <p:spPr bwMode="auto">
              <a:xfrm>
                <a:off x="6196012" y="3832222"/>
                <a:ext cx="630238" cy="646115"/>
              </a:xfrm>
              <a:custGeom>
                <a:avLst/>
                <a:gdLst>
                  <a:gd name="connsiteX0" fmla="*/ 9144 w 10000"/>
                  <a:gd name="connsiteY0" fmla="*/ 3307 h 10599"/>
                  <a:gd name="connsiteX1" fmla="*/ 9144 w 10000"/>
                  <a:gd name="connsiteY1" fmla="*/ 3307 h 10599"/>
                  <a:gd name="connsiteX2" fmla="*/ 9572 w 10000"/>
                  <a:gd name="connsiteY2" fmla="*/ 3307 h 10599"/>
                  <a:gd name="connsiteX3" fmla="*/ 10000 w 10000"/>
                  <a:gd name="connsiteY3" fmla="*/ 3724 h 10599"/>
                  <a:gd name="connsiteX4" fmla="*/ 10000 w 10000"/>
                  <a:gd name="connsiteY4" fmla="*/ 4167 h 10599"/>
                  <a:gd name="connsiteX5" fmla="*/ 9572 w 10000"/>
                  <a:gd name="connsiteY5" fmla="*/ 4167 h 10599"/>
                  <a:gd name="connsiteX6" fmla="*/ 9345 w 10000"/>
                  <a:gd name="connsiteY6" fmla="*/ 4349 h 10599"/>
                  <a:gd name="connsiteX7" fmla="*/ 8917 w 10000"/>
                  <a:gd name="connsiteY7" fmla="*/ 5182 h 10599"/>
                  <a:gd name="connsiteX8" fmla="*/ 8690 w 10000"/>
                  <a:gd name="connsiteY8" fmla="*/ 5417 h 10599"/>
                  <a:gd name="connsiteX9" fmla="*/ 8489 w 10000"/>
                  <a:gd name="connsiteY9" fmla="*/ 5807 h 10599"/>
                  <a:gd name="connsiteX10" fmla="*/ 8489 w 10000"/>
                  <a:gd name="connsiteY10" fmla="*/ 6042 h 10599"/>
                  <a:gd name="connsiteX11" fmla="*/ 8262 w 10000"/>
                  <a:gd name="connsiteY11" fmla="*/ 5417 h 10599"/>
                  <a:gd name="connsiteX12" fmla="*/ 8262 w 10000"/>
                  <a:gd name="connsiteY12" fmla="*/ 5182 h 10599"/>
                  <a:gd name="connsiteX13" fmla="*/ 8035 w 10000"/>
                  <a:gd name="connsiteY13" fmla="*/ 5417 h 10599"/>
                  <a:gd name="connsiteX14" fmla="*/ 7834 w 10000"/>
                  <a:gd name="connsiteY14" fmla="*/ 5417 h 10599"/>
                  <a:gd name="connsiteX15" fmla="*/ 7834 w 10000"/>
                  <a:gd name="connsiteY15" fmla="*/ 5182 h 10599"/>
                  <a:gd name="connsiteX16" fmla="*/ 8262 w 10000"/>
                  <a:gd name="connsiteY16" fmla="*/ 4792 h 10599"/>
                  <a:gd name="connsiteX17" fmla="*/ 7406 w 10000"/>
                  <a:gd name="connsiteY17" fmla="*/ 4792 h 10599"/>
                  <a:gd name="connsiteX18" fmla="*/ 7406 w 10000"/>
                  <a:gd name="connsiteY18" fmla="*/ 4349 h 10599"/>
                  <a:gd name="connsiteX19" fmla="*/ 7179 w 10000"/>
                  <a:gd name="connsiteY19" fmla="*/ 4349 h 10599"/>
                  <a:gd name="connsiteX20" fmla="*/ 6952 w 10000"/>
                  <a:gd name="connsiteY20" fmla="*/ 4349 h 10599"/>
                  <a:gd name="connsiteX21" fmla="*/ 6952 w 10000"/>
                  <a:gd name="connsiteY21" fmla="*/ 4557 h 10599"/>
                  <a:gd name="connsiteX22" fmla="*/ 6751 w 10000"/>
                  <a:gd name="connsiteY22" fmla="*/ 4974 h 10599"/>
                  <a:gd name="connsiteX23" fmla="*/ 6952 w 10000"/>
                  <a:gd name="connsiteY23" fmla="*/ 4974 h 10599"/>
                  <a:gd name="connsiteX24" fmla="*/ 7179 w 10000"/>
                  <a:gd name="connsiteY24" fmla="*/ 6042 h 10599"/>
                  <a:gd name="connsiteX25" fmla="*/ 6952 w 10000"/>
                  <a:gd name="connsiteY25" fmla="*/ 6042 h 10599"/>
                  <a:gd name="connsiteX26" fmla="*/ 6952 w 10000"/>
                  <a:gd name="connsiteY26" fmla="*/ 5807 h 10599"/>
                  <a:gd name="connsiteX27" fmla="*/ 6524 w 10000"/>
                  <a:gd name="connsiteY27" fmla="*/ 6042 h 10599"/>
                  <a:gd name="connsiteX28" fmla="*/ 6297 w 10000"/>
                  <a:gd name="connsiteY28" fmla="*/ 6667 h 10599"/>
                  <a:gd name="connsiteX29" fmla="*/ 5869 w 10000"/>
                  <a:gd name="connsiteY29" fmla="*/ 6849 h 10599"/>
                  <a:gd name="connsiteX30" fmla="*/ 4786 w 10000"/>
                  <a:gd name="connsiteY30" fmla="*/ 7682 h 10599"/>
                  <a:gd name="connsiteX31" fmla="*/ 4786 w 10000"/>
                  <a:gd name="connsiteY31" fmla="*/ 7917 h 10599"/>
                  <a:gd name="connsiteX32" fmla="*/ 4559 w 10000"/>
                  <a:gd name="connsiteY32" fmla="*/ 7917 h 10599"/>
                  <a:gd name="connsiteX33" fmla="*/ 4358 w 10000"/>
                  <a:gd name="connsiteY33" fmla="*/ 8099 h 10599"/>
                  <a:gd name="connsiteX34" fmla="*/ 4131 w 10000"/>
                  <a:gd name="connsiteY34" fmla="*/ 8099 h 10599"/>
                  <a:gd name="connsiteX35" fmla="*/ 4131 w 10000"/>
                  <a:gd name="connsiteY35" fmla="*/ 8307 h 10599"/>
                  <a:gd name="connsiteX36" fmla="*/ 4131 w 10000"/>
                  <a:gd name="connsiteY36" fmla="*/ 8932 h 10599"/>
                  <a:gd name="connsiteX37" fmla="*/ 3904 w 10000"/>
                  <a:gd name="connsiteY37" fmla="*/ 9349 h 10599"/>
                  <a:gd name="connsiteX38" fmla="*/ 3904 w 10000"/>
                  <a:gd name="connsiteY38" fmla="*/ 9974 h 10599"/>
                  <a:gd name="connsiteX39" fmla="*/ 3703 w 10000"/>
                  <a:gd name="connsiteY39" fmla="*/ 10182 h 10599"/>
                  <a:gd name="connsiteX40" fmla="*/ 3476 w 10000"/>
                  <a:gd name="connsiteY40" fmla="*/ 10417 h 10599"/>
                  <a:gd name="connsiteX41" fmla="*/ 3249 w 10000"/>
                  <a:gd name="connsiteY41" fmla="*/ 10599 h 10599"/>
                  <a:gd name="connsiteX42" fmla="*/ 2821 w 10000"/>
                  <a:gd name="connsiteY42" fmla="*/ 10417 h 10599"/>
                  <a:gd name="connsiteX43" fmla="*/ 2166 w 10000"/>
                  <a:gd name="connsiteY43" fmla="*/ 8542 h 10599"/>
                  <a:gd name="connsiteX44" fmla="*/ 1738 w 10000"/>
                  <a:gd name="connsiteY44" fmla="*/ 7917 h 10599"/>
                  <a:gd name="connsiteX45" fmla="*/ 1511 w 10000"/>
                  <a:gd name="connsiteY45" fmla="*/ 6667 h 10599"/>
                  <a:gd name="connsiteX46" fmla="*/ 1511 w 10000"/>
                  <a:gd name="connsiteY46" fmla="*/ 5807 h 10599"/>
                  <a:gd name="connsiteX47" fmla="*/ 1310 w 10000"/>
                  <a:gd name="connsiteY47" fmla="*/ 6224 h 10599"/>
                  <a:gd name="connsiteX48" fmla="*/ 856 w 10000"/>
                  <a:gd name="connsiteY48" fmla="*/ 6432 h 10599"/>
                  <a:gd name="connsiteX49" fmla="*/ 202 w 10000"/>
                  <a:gd name="connsiteY49" fmla="*/ 5807 h 10599"/>
                  <a:gd name="connsiteX50" fmla="*/ 655 w 10000"/>
                  <a:gd name="connsiteY50" fmla="*/ 5807 h 10599"/>
                  <a:gd name="connsiteX51" fmla="*/ 655 w 10000"/>
                  <a:gd name="connsiteY51" fmla="*/ 5599 h 10599"/>
                  <a:gd name="connsiteX52" fmla="*/ 428 w 10000"/>
                  <a:gd name="connsiteY52" fmla="*/ 5599 h 10599"/>
                  <a:gd name="connsiteX53" fmla="*/ 0 w 10000"/>
                  <a:gd name="connsiteY53" fmla="*/ 5417 h 10599"/>
                  <a:gd name="connsiteX54" fmla="*/ 202 w 10000"/>
                  <a:gd name="connsiteY54" fmla="*/ 5182 h 10599"/>
                  <a:gd name="connsiteX55" fmla="*/ 856 w 10000"/>
                  <a:gd name="connsiteY55" fmla="*/ 5182 h 10599"/>
                  <a:gd name="connsiteX56" fmla="*/ 856 w 10000"/>
                  <a:gd name="connsiteY56" fmla="*/ 4974 h 10599"/>
                  <a:gd name="connsiteX57" fmla="*/ 856 w 10000"/>
                  <a:gd name="connsiteY57" fmla="*/ 4557 h 10599"/>
                  <a:gd name="connsiteX58" fmla="*/ 655 w 10000"/>
                  <a:gd name="connsiteY58" fmla="*/ 4557 h 10599"/>
                  <a:gd name="connsiteX59" fmla="*/ 655 w 10000"/>
                  <a:gd name="connsiteY59" fmla="*/ 4349 h 10599"/>
                  <a:gd name="connsiteX60" fmla="*/ 428 w 10000"/>
                  <a:gd name="connsiteY60" fmla="*/ 4349 h 10599"/>
                  <a:gd name="connsiteX61" fmla="*/ 428 w 10000"/>
                  <a:gd name="connsiteY61" fmla="*/ 3932 h 10599"/>
                  <a:gd name="connsiteX62" fmla="*/ 655 w 10000"/>
                  <a:gd name="connsiteY62" fmla="*/ 3724 h 10599"/>
                  <a:gd name="connsiteX63" fmla="*/ 856 w 10000"/>
                  <a:gd name="connsiteY63" fmla="*/ 3932 h 10599"/>
                  <a:gd name="connsiteX64" fmla="*/ 1310 w 10000"/>
                  <a:gd name="connsiteY64" fmla="*/ 3724 h 10599"/>
                  <a:gd name="connsiteX65" fmla="*/ 2393 w 10000"/>
                  <a:gd name="connsiteY65" fmla="*/ 2474 h 10599"/>
                  <a:gd name="connsiteX66" fmla="*/ 2166 w 10000"/>
                  <a:gd name="connsiteY66" fmla="*/ 2292 h 10599"/>
                  <a:gd name="connsiteX67" fmla="*/ 2393 w 10000"/>
                  <a:gd name="connsiteY67" fmla="*/ 2292 h 10599"/>
                  <a:gd name="connsiteX68" fmla="*/ 2393 w 10000"/>
                  <a:gd name="connsiteY68" fmla="*/ 2057 h 10599"/>
                  <a:gd name="connsiteX69" fmla="*/ 1965 w 10000"/>
                  <a:gd name="connsiteY69" fmla="*/ 1849 h 10599"/>
                  <a:gd name="connsiteX70" fmla="*/ 2166 w 10000"/>
                  <a:gd name="connsiteY70" fmla="*/ 1432 h 10599"/>
                  <a:gd name="connsiteX71" fmla="*/ 1965 w 10000"/>
                  <a:gd name="connsiteY71" fmla="*/ 1224 h 10599"/>
                  <a:gd name="connsiteX72" fmla="*/ 1940 w 10000"/>
                  <a:gd name="connsiteY72" fmla="*/ 417 h 10599"/>
                  <a:gd name="connsiteX73" fmla="*/ 2596 w 10000"/>
                  <a:gd name="connsiteY73" fmla="*/ 0 h 10599"/>
                  <a:gd name="connsiteX74" fmla="*/ 3249 w 10000"/>
                  <a:gd name="connsiteY74" fmla="*/ 807 h 10599"/>
                  <a:gd name="connsiteX75" fmla="*/ 3904 w 10000"/>
                  <a:gd name="connsiteY75" fmla="*/ 599 h 10599"/>
                  <a:gd name="connsiteX76" fmla="*/ 4131 w 10000"/>
                  <a:gd name="connsiteY76" fmla="*/ 807 h 10599"/>
                  <a:gd name="connsiteX77" fmla="*/ 4131 w 10000"/>
                  <a:gd name="connsiteY77" fmla="*/ 1224 h 10599"/>
                  <a:gd name="connsiteX78" fmla="*/ 3703 w 10000"/>
                  <a:gd name="connsiteY78" fmla="*/ 1667 h 10599"/>
                  <a:gd name="connsiteX79" fmla="*/ 3904 w 10000"/>
                  <a:gd name="connsiteY79" fmla="*/ 2057 h 10599"/>
                  <a:gd name="connsiteX80" fmla="*/ 3476 w 10000"/>
                  <a:gd name="connsiteY80" fmla="*/ 2057 h 10599"/>
                  <a:gd name="connsiteX81" fmla="*/ 3703 w 10000"/>
                  <a:gd name="connsiteY81" fmla="*/ 2682 h 10599"/>
                  <a:gd name="connsiteX82" fmla="*/ 4358 w 10000"/>
                  <a:gd name="connsiteY82" fmla="*/ 2917 h 10599"/>
                  <a:gd name="connsiteX83" fmla="*/ 4131 w 10000"/>
                  <a:gd name="connsiteY83" fmla="*/ 3542 h 10599"/>
                  <a:gd name="connsiteX84" fmla="*/ 4559 w 10000"/>
                  <a:gd name="connsiteY84" fmla="*/ 3724 h 10599"/>
                  <a:gd name="connsiteX85" fmla="*/ 6524 w 10000"/>
                  <a:gd name="connsiteY85" fmla="*/ 4349 h 10599"/>
                  <a:gd name="connsiteX86" fmla="*/ 6751 w 10000"/>
                  <a:gd name="connsiteY86" fmla="*/ 4349 h 10599"/>
                  <a:gd name="connsiteX87" fmla="*/ 6751 w 10000"/>
                  <a:gd name="connsiteY87" fmla="*/ 4167 h 10599"/>
                  <a:gd name="connsiteX88" fmla="*/ 6751 w 10000"/>
                  <a:gd name="connsiteY88" fmla="*/ 3724 h 10599"/>
                  <a:gd name="connsiteX89" fmla="*/ 6952 w 10000"/>
                  <a:gd name="connsiteY89" fmla="*/ 3724 h 10599"/>
                  <a:gd name="connsiteX90" fmla="*/ 7179 w 10000"/>
                  <a:gd name="connsiteY90" fmla="*/ 3932 h 10599"/>
                  <a:gd name="connsiteX91" fmla="*/ 7179 w 10000"/>
                  <a:gd name="connsiteY91" fmla="*/ 4167 h 10599"/>
                  <a:gd name="connsiteX92" fmla="*/ 8035 w 10000"/>
                  <a:gd name="connsiteY92" fmla="*/ 4167 h 10599"/>
                  <a:gd name="connsiteX93" fmla="*/ 8262 w 10000"/>
                  <a:gd name="connsiteY93" fmla="*/ 4167 h 10599"/>
                  <a:gd name="connsiteX94" fmla="*/ 8035 w 10000"/>
                  <a:gd name="connsiteY94" fmla="*/ 3724 h 10599"/>
                  <a:gd name="connsiteX95" fmla="*/ 9144 w 10000"/>
                  <a:gd name="connsiteY95" fmla="*/ 3307 h 10599"/>
                  <a:gd name="connsiteX0" fmla="*/ 9144 w 10000"/>
                  <a:gd name="connsiteY0" fmla="*/ 3307 h 10599"/>
                  <a:gd name="connsiteX1" fmla="*/ 9144 w 10000"/>
                  <a:gd name="connsiteY1" fmla="*/ 3307 h 10599"/>
                  <a:gd name="connsiteX2" fmla="*/ 9572 w 10000"/>
                  <a:gd name="connsiteY2" fmla="*/ 3307 h 10599"/>
                  <a:gd name="connsiteX3" fmla="*/ 10000 w 10000"/>
                  <a:gd name="connsiteY3" fmla="*/ 3724 h 10599"/>
                  <a:gd name="connsiteX4" fmla="*/ 10000 w 10000"/>
                  <a:gd name="connsiteY4" fmla="*/ 4167 h 10599"/>
                  <a:gd name="connsiteX5" fmla="*/ 9572 w 10000"/>
                  <a:gd name="connsiteY5" fmla="*/ 4167 h 10599"/>
                  <a:gd name="connsiteX6" fmla="*/ 9345 w 10000"/>
                  <a:gd name="connsiteY6" fmla="*/ 4349 h 10599"/>
                  <a:gd name="connsiteX7" fmla="*/ 8917 w 10000"/>
                  <a:gd name="connsiteY7" fmla="*/ 5182 h 10599"/>
                  <a:gd name="connsiteX8" fmla="*/ 8690 w 10000"/>
                  <a:gd name="connsiteY8" fmla="*/ 5417 h 10599"/>
                  <a:gd name="connsiteX9" fmla="*/ 8489 w 10000"/>
                  <a:gd name="connsiteY9" fmla="*/ 5807 h 10599"/>
                  <a:gd name="connsiteX10" fmla="*/ 8489 w 10000"/>
                  <a:gd name="connsiteY10" fmla="*/ 6042 h 10599"/>
                  <a:gd name="connsiteX11" fmla="*/ 8262 w 10000"/>
                  <a:gd name="connsiteY11" fmla="*/ 5417 h 10599"/>
                  <a:gd name="connsiteX12" fmla="*/ 8262 w 10000"/>
                  <a:gd name="connsiteY12" fmla="*/ 5182 h 10599"/>
                  <a:gd name="connsiteX13" fmla="*/ 8035 w 10000"/>
                  <a:gd name="connsiteY13" fmla="*/ 5417 h 10599"/>
                  <a:gd name="connsiteX14" fmla="*/ 7834 w 10000"/>
                  <a:gd name="connsiteY14" fmla="*/ 5417 h 10599"/>
                  <a:gd name="connsiteX15" fmla="*/ 7834 w 10000"/>
                  <a:gd name="connsiteY15" fmla="*/ 5182 h 10599"/>
                  <a:gd name="connsiteX16" fmla="*/ 8262 w 10000"/>
                  <a:gd name="connsiteY16" fmla="*/ 4792 h 10599"/>
                  <a:gd name="connsiteX17" fmla="*/ 7406 w 10000"/>
                  <a:gd name="connsiteY17" fmla="*/ 4792 h 10599"/>
                  <a:gd name="connsiteX18" fmla="*/ 7406 w 10000"/>
                  <a:gd name="connsiteY18" fmla="*/ 4349 h 10599"/>
                  <a:gd name="connsiteX19" fmla="*/ 7179 w 10000"/>
                  <a:gd name="connsiteY19" fmla="*/ 4349 h 10599"/>
                  <a:gd name="connsiteX20" fmla="*/ 6952 w 10000"/>
                  <a:gd name="connsiteY20" fmla="*/ 4349 h 10599"/>
                  <a:gd name="connsiteX21" fmla="*/ 6952 w 10000"/>
                  <a:gd name="connsiteY21" fmla="*/ 4557 h 10599"/>
                  <a:gd name="connsiteX22" fmla="*/ 6751 w 10000"/>
                  <a:gd name="connsiteY22" fmla="*/ 4974 h 10599"/>
                  <a:gd name="connsiteX23" fmla="*/ 6952 w 10000"/>
                  <a:gd name="connsiteY23" fmla="*/ 4974 h 10599"/>
                  <a:gd name="connsiteX24" fmla="*/ 7179 w 10000"/>
                  <a:gd name="connsiteY24" fmla="*/ 6042 h 10599"/>
                  <a:gd name="connsiteX25" fmla="*/ 6952 w 10000"/>
                  <a:gd name="connsiteY25" fmla="*/ 6042 h 10599"/>
                  <a:gd name="connsiteX26" fmla="*/ 6952 w 10000"/>
                  <a:gd name="connsiteY26" fmla="*/ 5807 h 10599"/>
                  <a:gd name="connsiteX27" fmla="*/ 6524 w 10000"/>
                  <a:gd name="connsiteY27" fmla="*/ 6042 h 10599"/>
                  <a:gd name="connsiteX28" fmla="*/ 6297 w 10000"/>
                  <a:gd name="connsiteY28" fmla="*/ 6667 h 10599"/>
                  <a:gd name="connsiteX29" fmla="*/ 5869 w 10000"/>
                  <a:gd name="connsiteY29" fmla="*/ 6849 h 10599"/>
                  <a:gd name="connsiteX30" fmla="*/ 4786 w 10000"/>
                  <a:gd name="connsiteY30" fmla="*/ 7682 h 10599"/>
                  <a:gd name="connsiteX31" fmla="*/ 4786 w 10000"/>
                  <a:gd name="connsiteY31" fmla="*/ 7917 h 10599"/>
                  <a:gd name="connsiteX32" fmla="*/ 4559 w 10000"/>
                  <a:gd name="connsiteY32" fmla="*/ 7917 h 10599"/>
                  <a:gd name="connsiteX33" fmla="*/ 4358 w 10000"/>
                  <a:gd name="connsiteY33" fmla="*/ 8099 h 10599"/>
                  <a:gd name="connsiteX34" fmla="*/ 4131 w 10000"/>
                  <a:gd name="connsiteY34" fmla="*/ 8099 h 10599"/>
                  <a:gd name="connsiteX35" fmla="*/ 4131 w 10000"/>
                  <a:gd name="connsiteY35" fmla="*/ 8307 h 10599"/>
                  <a:gd name="connsiteX36" fmla="*/ 4131 w 10000"/>
                  <a:gd name="connsiteY36" fmla="*/ 8932 h 10599"/>
                  <a:gd name="connsiteX37" fmla="*/ 3904 w 10000"/>
                  <a:gd name="connsiteY37" fmla="*/ 9349 h 10599"/>
                  <a:gd name="connsiteX38" fmla="*/ 3904 w 10000"/>
                  <a:gd name="connsiteY38" fmla="*/ 9974 h 10599"/>
                  <a:gd name="connsiteX39" fmla="*/ 3703 w 10000"/>
                  <a:gd name="connsiteY39" fmla="*/ 10182 h 10599"/>
                  <a:gd name="connsiteX40" fmla="*/ 3476 w 10000"/>
                  <a:gd name="connsiteY40" fmla="*/ 10417 h 10599"/>
                  <a:gd name="connsiteX41" fmla="*/ 3249 w 10000"/>
                  <a:gd name="connsiteY41" fmla="*/ 10599 h 10599"/>
                  <a:gd name="connsiteX42" fmla="*/ 2821 w 10000"/>
                  <a:gd name="connsiteY42" fmla="*/ 10417 h 10599"/>
                  <a:gd name="connsiteX43" fmla="*/ 2166 w 10000"/>
                  <a:gd name="connsiteY43" fmla="*/ 8542 h 10599"/>
                  <a:gd name="connsiteX44" fmla="*/ 1738 w 10000"/>
                  <a:gd name="connsiteY44" fmla="*/ 7917 h 10599"/>
                  <a:gd name="connsiteX45" fmla="*/ 1511 w 10000"/>
                  <a:gd name="connsiteY45" fmla="*/ 6667 h 10599"/>
                  <a:gd name="connsiteX46" fmla="*/ 1511 w 10000"/>
                  <a:gd name="connsiteY46" fmla="*/ 5807 h 10599"/>
                  <a:gd name="connsiteX47" fmla="*/ 1310 w 10000"/>
                  <a:gd name="connsiteY47" fmla="*/ 6224 h 10599"/>
                  <a:gd name="connsiteX48" fmla="*/ 856 w 10000"/>
                  <a:gd name="connsiteY48" fmla="*/ 6432 h 10599"/>
                  <a:gd name="connsiteX49" fmla="*/ 202 w 10000"/>
                  <a:gd name="connsiteY49" fmla="*/ 5807 h 10599"/>
                  <a:gd name="connsiteX50" fmla="*/ 655 w 10000"/>
                  <a:gd name="connsiteY50" fmla="*/ 5807 h 10599"/>
                  <a:gd name="connsiteX51" fmla="*/ 655 w 10000"/>
                  <a:gd name="connsiteY51" fmla="*/ 5599 h 10599"/>
                  <a:gd name="connsiteX52" fmla="*/ 428 w 10000"/>
                  <a:gd name="connsiteY52" fmla="*/ 5599 h 10599"/>
                  <a:gd name="connsiteX53" fmla="*/ 0 w 10000"/>
                  <a:gd name="connsiteY53" fmla="*/ 5417 h 10599"/>
                  <a:gd name="connsiteX54" fmla="*/ 202 w 10000"/>
                  <a:gd name="connsiteY54" fmla="*/ 5182 h 10599"/>
                  <a:gd name="connsiteX55" fmla="*/ 856 w 10000"/>
                  <a:gd name="connsiteY55" fmla="*/ 5182 h 10599"/>
                  <a:gd name="connsiteX56" fmla="*/ 856 w 10000"/>
                  <a:gd name="connsiteY56" fmla="*/ 4974 h 10599"/>
                  <a:gd name="connsiteX57" fmla="*/ 856 w 10000"/>
                  <a:gd name="connsiteY57" fmla="*/ 4557 h 10599"/>
                  <a:gd name="connsiteX58" fmla="*/ 655 w 10000"/>
                  <a:gd name="connsiteY58" fmla="*/ 4557 h 10599"/>
                  <a:gd name="connsiteX59" fmla="*/ 655 w 10000"/>
                  <a:gd name="connsiteY59" fmla="*/ 4349 h 10599"/>
                  <a:gd name="connsiteX60" fmla="*/ 428 w 10000"/>
                  <a:gd name="connsiteY60" fmla="*/ 4349 h 10599"/>
                  <a:gd name="connsiteX61" fmla="*/ 428 w 10000"/>
                  <a:gd name="connsiteY61" fmla="*/ 3932 h 10599"/>
                  <a:gd name="connsiteX62" fmla="*/ 655 w 10000"/>
                  <a:gd name="connsiteY62" fmla="*/ 3724 h 10599"/>
                  <a:gd name="connsiteX63" fmla="*/ 856 w 10000"/>
                  <a:gd name="connsiteY63" fmla="*/ 3932 h 10599"/>
                  <a:gd name="connsiteX64" fmla="*/ 1310 w 10000"/>
                  <a:gd name="connsiteY64" fmla="*/ 3724 h 10599"/>
                  <a:gd name="connsiteX65" fmla="*/ 2393 w 10000"/>
                  <a:gd name="connsiteY65" fmla="*/ 2474 h 10599"/>
                  <a:gd name="connsiteX66" fmla="*/ 2166 w 10000"/>
                  <a:gd name="connsiteY66" fmla="*/ 2292 h 10599"/>
                  <a:gd name="connsiteX67" fmla="*/ 2393 w 10000"/>
                  <a:gd name="connsiteY67" fmla="*/ 2292 h 10599"/>
                  <a:gd name="connsiteX68" fmla="*/ 2393 w 10000"/>
                  <a:gd name="connsiteY68" fmla="*/ 2057 h 10599"/>
                  <a:gd name="connsiteX69" fmla="*/ 1965 w 10000"/>
                  <a:gd name="connsiteY69" fmla="*/ 1849 h 10599"/>
                  <a:gd name="connsiteX70" fmla="*/ 2166 w 10000"/>
                  <a:gd name="connsiteY70" fmla="*/ 1432 h 10599"/>
                  <a:gd name="connsiteX71" fmla="*/ 1965 w 10000"/>
                  <a:gd name="connsiteY71" fmla="*/ 1224 h 10599"/>
                  <a:gd name="connsiteX72" fmla="*/ 1940 w 10000"/>
                  <a:gd name="connsiteY72" fmla="*/ 417 h 10599"/>
                  <a:gd name="connsiteX73" fmla="*/ 2596 w 10000"/>
                  <a:gd name="connsiteY73" fmla="*/ 0 h 10599"/>
                  <a:gd name="connsiteX74" fmla="*/ 3382 w 10000"/>
                  <a:gd name="connsiteY74" fmla="*/ 599 h 10599"/>
                  <a:gd name="connsiteX75" fmla="*/ 3904 w 10000"/>
                  <a:gd name="connsiteY75" fmla="*/ 599 h 10599"/>
                  <a:gd name="connsiteX76" fmla="*/ 4131 w 10000"/>
                  <a:gd name="connsiteY76" fmla="*/ 807 h 10599"/>
                  <a:gd name="connsiteX77" fmla="*/ 4131 w 10000"/>
                  <a:gd name="connsiteY77" fmla="*/ 1224 h 10599"/>
                  <a:gd name="connsiteX78" fmla="*/ 3703 w 10000"/>
                  <a:gd name="connsiteY78" fmla="*/ 1667 h 10599"/>
                  <a:gd name="connsiteX79" fmla="*/ 3904 w 10000"/>
                  <a:gd name="connsiteY79" fmla="*/ 2057 h 10599"/>
                  <a:gd name="connsiteX80" fmla="*/ 3476 w 10000"/>
                  <a:gd name="connsiteY80" fmla="*/ 2057 h 10599"/>
                  <a:gd name="connsiteX81" fmla="*/ 3703 w 10000"/>
                  <a:gd name="connsiteY81" fmla="*/ 2682 h 10599"/>
                  <a:gd name="connsiteX82" fmla="*/ 4358 w 10000"/>
                  <a:gd name="connsiteY82" fmla="*/ 2917 h 10599"/>
                  <a:gd name="connsiteX83" fmla="*/ 4131 w 10000"/>
                  <a:gd name="connsiteY83" fmla="*/ 3542 h 10599"/>
                  <a:gd name="connsiteX84" fmla="*/ 4559 w 10000"/>
                  <a:gd name="connsiteY84" fmla="*/ 3724 h 10599"/>
                  <a:gd name="connsiteX85" fmla="*/ 6524 w 10000"/>
                  <a:gd name="connsiteY85" fmla="*/ 4349 h 10599"/>
                  <a:gd name="connsiteX86" fmla="*/ 6751 w 10000"/>
                  <a:gd name="connsiteY86" fmla="*/ 4349 h 10599"/>
                  <a:gd name="connsiteX87" fmla="*/ 6751 w 10000"/>
                  <a:gd name="connsiteY87" fmla="*/ 4167 h 10599"/>
                  <a:gd name="connsiteX88" fmla="*/ 6751 w 10000"/>
                  <a:gd name="connsiteY88" fmla="*/ 3724 h 10599"/>
                  <a:gd name="connsiteX89" fmla="*/ 6952 w 10000"/>
                  <a:gd name="connsiteY89" fmla="*/ 3724 h 10599"/>
                  <a:gd name="connsiteX90" fmla="*/ 7179 w 10000"/>
                  <a:gd name="connsiteY90" fmla="*/ 3932 h 10599"/>
                  <a:gd name="connsiteX91" fmla="*/ 7179 w 10000"/>
                  <a:gd name="connsiteY91" fmla="*/ 4167 h 10599"/>
                  <a:gd name="connsiteX92" fmla="*/ 8035 w 10000"/>
                  <a:gd name="connsiteY92" fmla="*/ 4167 h 10599"/>
                  <a:gd name="connsiteX93" fmla="*/ 8262 w 10000"/>
                  <a:gd name="connsiteY93" fmla="*/ 4167 h 10599"/>
                  <a:gd name="connsiteX94" fmla="*/ 8035 w 10000"/>
                  <a:gd name="connsiteY94" fmla="*/ 3724 h 10599"/>
                  <a:gd name="connsiteX95" fmla="*/ 9144 w 10000"/>
                  <a:gd name="connsiteY95" fmla="*/ 3307 h 10599"/>
                  <a:gd name="connsiteX0" fmla="*/ 9144 w 10000"/>
                  <a:gd name="connsiteY0" fmla="*/ 3307 h 10599"/>
                  <a:gd name="connsiteX1" fmla="*/ 9144 w 10000"/>
                  <a:gd name="connsiteY1" fmla="*/ 3307 h 10599"/>
                  <a:gd name="connsiteX2" fmla="*/ 9572 w 10000"/>
                  <a:gd name="connsiteY2" fmla="*/ 3307 h 10599"/>
                  <a:gd name="connsiteX3" fmla="*/ 10000 w 10000"/>
                  <a:gd name="connsiteY3" fmla="*/ 3724 h 10599"/>
                  <a:gd name="connsiteX4" fmla="*/ 10000 w 10000"/>
                  <a:gd name="connsiteY4" fmla="*/ 4167 h 10599"/>
                  <a:gd name="connsiteX5" fmla="*/ 9572 w 10000"/>
                  <a:gd name="connsiteY5" fmla="*/ 4167 h 10599"/>
                  <a:gd name="connsiteX6" fmla="*/ 9345 w 10000"/>
                  <a:gd name="connsiteY6" fmla="*/ 4349 h 10599"/>
                  <a:gd name="connsiteX7" fmla="*/ 8917 w 10000"/>
                  <a:gd name="connsiteY7" fmla="*/ 5182 h 10599"/>
                  <a:gd name="connsiteX8" fmla="*/ 8690 w 10000"/>
                  <a:gd name="connsiteY8" fmla="*/ 5417 h 10599"/>
                  <a:gd name="connsiteX9" fmla="*/ 8489 w 10000"/>
                  <a:gd name="connsiteY9" fmla="*/ 5807 h 10599"/>
                  <a:gd name="connsiteX10" fmla="*/ 8489 w 10000"/>
                  <a:gd name="connsiteY10" fmla="*/ 6042 h 10599"/>
                  <a:gd name="connsiteX11" fmla="*/ 8262 w 10000"/>
                  <a:gd name="connsiteY11" fmla="*/ 5417 h 10599"/>
                  <a:gd name="connsiteX12" fmla="*/ 8262 w 10000"/>
                  <a:gd name="connsiteY12" fmla="*/ 5182 h 10599"/>
                  <a:gd name="connsiteX13" fmla="*/ 8035 w 10000"/>
                  <a:gd name="connsiteY13" fmla="*/ 5417 h 10599"/>
                  <a:gd name="connsiteX14" fmla="*/ 7834 w 10000"/>
                  <a:gd name="connsiteY14" fmla="*/ 5417 h 10599"/>
                  <a:gd name="connsiteX15" fmla="*/ 7834 w 10000"/>
                  <a:gd name="connsiteY15" fmla="*/ 5182 h 10599"/>
                  <a:gd name="connsiteX16" fmla="*/ 8262 w 10000"/>
                  <a:gd name="connsiteY16" fmla="*/ 4792 h 10599"/>
                  <a:gd name="connsiteX17" fmla="*/ 7406 w 10000"/>
                  <a:gd name="connsiteY17" fmla="*/ 4792 h 10599"/>
                  <a:gd name="connsiteX18" fmla="*/ 7406 w 10000"/>
                  <a:gd name="connsiteY18" fmla="*/ 4349 h 10599"/>
                  <a:gd name="connsiteX19" fmla="*/ 7179 w 10000"/>
                  <a:gd name="connsiteY19" fmla="*/ 4349 h 10599"/>
                  <a:gd name="connsiteX20" fmla="*/ 6952 w 10000"/>
                  <a:gd name="connsiteY20" fmla="*/ 4349 h 10599"/>
                  <a:gd name="connsiteX21" fmla="*/ 6952 w 10000"/>
                  <a:gd name="connsiteY21" fmla="*/ 4557 h 10599"/>
                  <a:gd name="connsiteX22" fmla="*/ 6751 w 10000"/>
                  <a:gd name="connsiteY22" fmla="*/ 4974 h 10599"/>
                  <a:gd name="connsiteX23" fmla="*/ 6952 w 10000"/>
                  <a:gd name="connsiteY23" fmla="*/ 4974 h 10599"/>
                  <a:gd name="connsiteX24" fmla="*/ 7179 w 10000"/>
                  <a:gd name="connsiteY24" fmla="*/ 6042 h 10599"/>
                  <a:gd name="connsiteX25" fmla="*/ 6952 w 10000"/>
                  <a:gd name="connsiteY25" fmla="*/ 6042 h 10599"/>
                  <a:gd name="connsiteX26" fmla="*/ 6952 w 10000"/>
                  <a:gd name="connsiteY26" fmla="*/ 5807 h 10599"/>
                  <a:gd name="connsiteX27" fmla="*/ 6524 w 10000"/>
                  <a:gd name="connsiteY27" fmla="*/ 6042 h 10599"/>
                  <a:gd name="connsiteX28" fmla="*/ 6297 w 10000"/>
                  <a:gd name="connsiteY28" fmla="*/ 6667 h 10599"/>
                  <a:gd name="connsiteX29" fmla="*/ 5869 w 10000"/>
                  <a:gd name="connsiteY29" fmla="*/ 6849 h 10599"/>
                  <a:gd name="connsiteX30" fmla="*/ 4786 w 10000"/>
                  <a:gd name="connsiteY30" fmla="*/ 7682 h 10599"/>
                  <a:gd name="connsiteX31" fmla="*/ 4786 w 10000"/>
                  <a:gd name="connsiteY31" fmla="*/ 7917 h 10599"/>
                  <a:gd name="connsiteX32" fmla="*/ 4559 w 10000"/>
                  <a:gd name="connsiteY32" fmla="*/ 7917 h 10599"/>
                  <a:gd name="connsiteX33" fmla="*/ 4358 w 10000"/>
                  <a:gd name="connsiteY33" fmla="*/ 8099 h 10599"/>
                  <a:gd name="connsiteX34" fmla="*/ 4131 w 10000"/>
                  <a:gd name="connsiteY34" fmla="*/ 8099 h 10599"/>
                  <a:gd name="connsiteX35" fmla="*/ 4131 w 10000"/>
                  <a:gd name="connsiteY35" fmla="*/ 8307 h 10599"/>
                  <a:gd name="connsiteX36" fmla="*/ 4131 w 10000"/>
                  <a:gd name="connsiteY36" fmla="*/ 8932 h 10599"/>
                  <a:gd name="connsiteX37" fmla="*/ 3904 w 10000"/>
                  <a:gd name="connsiteY37" fmla="*/ 9349 h 10599"/>
                  <a:gd name="connsiteX38" fmla="*/ 3904 w 10000"/>
                  <a:gd name="connsiteY38" fmla="*/ 9974 h 10599"/>
                  <a:gd name="connsiteX39" fmla="*/ 3703 w 10000"/>
                  <a:gd name="connsiteY39" fmla="*/ 10182 h 10599"/>
                  <a:gd name="connsiteX40" fmla="*/ 3476 w 10000"/>
                  <a:gd name="connsiteY40" fmla="*/ 10417 h 10599"/>
                  <a:gd name="connsiteX41" fmla="*/ 3249 w 10000"/>
                  <a:gd name="connsiteY41" fmla="*/ 10599 h 10599"/>
                  <a:gd name="connsiteX42" fmla="*/ 2821 w 10000"/>
                  <a:gd name="connsiteY42" fmla="*/ 10417 h 10599"/>
                  <a:gd name="connsiteX43" fmla="*/ 2166 w 10000"/>
                  <a:gd name="connsiteY43" fmla="*/ 8542 h 10599"/>
                  <a:gd name="connsiteX44" fmla="*/ 1738 w 10000"/>
                  <a:gd name="connsiteY44" fmla="*/ 7917 h 10599"/>
                  <a:gd name="connsiteX45" fmla="*/ 1511 w 10000"/>
                  <a:gd name="connsiteY45" fmla="*/ 6667 h 10599"/>
                  <a:gd name="connsiteX46" fmla="*/ 1511 w 10000"/>
                  <a:gd name="connsiteY46" fmla="*/ 5807 h 10599"/>
                  <a:gd name="connsiteX47" fmla="*/ 1310 w 10000"/>
                  <a:gd name="connsiteY47" fmla="*/ 6224 h 10599"/>
                  <a:gd name="connsiteX48" fmla="*/ 856 w 10000"/>
                  <a:gd name="connsiteY48" fmla="*/ 6432 h 10599"/>
                  <a:gd name="connsiteX49" fmla="*/ 202 w 10000"/>
                  <a:gd name="connsiteY49" fmla="*/ 5807 h 10599"/>
                  <a:gd name="connsiteX50" fmla="*/ 655 w 10000"/>
                  <a:gd name="connsiteY50" fmla="*/ 5807 h 10599"/>
                  <a:gd name="connsiteX51" fmla="*/ 655 w 10000"/>
                  <a:gd name="connsiteY51" fmla="*/ 5599 h 10599"/>
                  <a:gd name="connsiteX52" fmla="*/ 428 w 10000"/>
                  <a:gd name="connsiteY52" fmla="*/ 5599 h 10599"/>
                  <a:gd name="connsiteX53" fmla="*/ 0 w 10000"/>
                  <a:gd name="connsiteY53" fmla="*/ 5417 h 10599"/>
                  <a:gd name="connsiteX54" fmla="*/ 202 w 10000"/>
                  <a:gd name="connsiteY54" fmla="*/ 5182 h 10599"/>
                  <a:gd name="connsiteX55" fmla="*/ 856 w 10000"/>
                  <a:gd name="connsiteY55" fmla="*/ 5182 h 10599"/>
                  <a:gd name="connsiteX56" fmla="*/ 856 w 10000"/>
                  <a:gd name="connsiteY56" fmla="*/ 4974 h 10599"/>
                  <a:gd name="connsiteX57" fmla="*/ 856 w 10000"/>
                  <a:gd name="connsiteY57" fmla="*/ 4557 h 10599"/>
                  <a:gd name="connsiteX58" fmla="*/ 655 w 10000"/>
                  <a:gd name="connsiteY58" fmla="*/ 4557 h 10599"/>
                  <a:gd name="connsiteX59" fmla="*/ 655 w 10000"/>
                  <a:gd name="connsiteY59" fmla="*/ 4349 h 10599"/>
                  <a:gd name="connsiteX60" fmla="*/ 428 w 10000"/>
                  <a:gd name="connsiteY60" fmla="*/ 4349 h 10599"/>
                  <a:gd name="connsiteX61" fmla="*/ 428 w 10000"/>
                  <a:gd name="connsiteY61" fmla="*/ 3932 h 10599"/>
                  <a:gd name="connsiteX62" fmla="*/ 655 w 10000"/>
                  <a:gd name="connsiteY62" fmla="*/ 3724 h 10599"/>
                  <a:gd name="connsiteX63" fmla="*/ 856 w 10000"/>
                  <a:gd name="connsiteY63" fmla="*/ 3932 h 10599"/>
                  <a:gd name="connsiteX64" fmla="*/ 1310 w 10000"/>
                  <a:gd name="connsiteY64" fmla="*/ 3724 h 10599"/>
                  <a:gd name="connsiteX65" fmla="*/ 2393 w 10000"/>
                  <a:gd name="connsiteY65" fmla="*/ 2474 h 10599"/>
                  <a:gd name="connsiteX66" fmla="*/ 2166 w 10000"/>
                  <a:gd name="connsiteY66" fmla="*/ 2292 h 10599"/>
                  <a:gd name="connsiteX67" fmla="*/ 2393 w 10000"/>
                  <a:gd name="connsiteY67" fmla="*/ 2292 h 10599"/>
                  <a:gd name="connsiteX68" fmla="*/ 2393 w 10000"/>
                  <a:gd name="connsiteY68" fmla="*/ 2057 h 10599"/>
                  <a:gd name="connsiteX69" fmla="*/ 1965 w 10000"/>
                  <a:gd name="connsiteY69" fmla="*/ 1849 h 10599"/>
                  <a:gd name="connsiteX70" fmla="*/ 2166 w 10000"/>
                  <a:gd name="connsiteY70" fmla="*/ 1432 h 10599"/>
                  <a:gd name="connsiteX71" fmla="*/ 1965 w 10000"/>
                  <a:gd name="connsiteY71" fmla="*/ 1224 h 10599"/>
                  <a:gd name="connsiteX72" fmla="*/ 1940 w 10000"/>
                  <a:gd name="connsiteY72" fmla="*/ 417 h 10599"/>
                  <a:gd name="connsiteX73" fmla="*/ 2596 w 10000"/>
                  <a:gd name="connsiteY73" fmla="*/ 0 h 10599"/>
                  <a:gd name="connsiteX74" fmla="*/ 3382 w 10000"/>
                  <a:gd name="connsiteY74" fmla="*/ 599 h 10599"/>
                  <a:gd name="connsiteX75" fmla="*/ 4131 w 10000"/>
                  <a:gd name="connsiteY75" fmla="*/ 495 h 10599"/>
                  <a:gd name="connsiteX76" fmla="*/ 4131 w 10000"/>
                  <a:gd name="connsiteY76" fmla="*/ 807 h 10599"/>
                  <a:gd name="connsiteX77" fmla="*/ 4131 w 10000"/>
                  <a:gd name="connsiteY77" fmla="*/ 1224 h 10599"/>
                  <a:gd name="connsiteX78" fmla="*/ 3703 w 10000"/>
                  <a:gd name="connsiteY78" fmla="*/ 1667 h 10599"/>
                  <a:gd name="connsiteX79" fmla="*/ 3904 w 10000"/>
                  <a:gd name="connsiteY79" fmla="*/ 2057 h 10599"/>
                  <a:gd name="connsiteX80" fmla="*/ 3476 w 10000"/>
                  <a:gd name="connsiteY80" fmla="*/ 2057 h 10599"/>
                  <a:gd name="connsiteX81" fmla="*/ 3703 w 10000"/>
                  <a:gd name="connsiteY81" fmla="*/ 2682 h 10599"/>
                  <a:gd name="connsiteX82" fmla="*/ 4358 w 10000"/>
                  <a:gd name="connsiteY82" fmla="*/ 2917 h 10599"/>
                  <a:gd name="connsiteX83" fmla="*/ 4131 w 10000"/>
                  <a:gd name="connsiteY83" fmla="*/ 3542 h 10599"/>
                  <a:gd name="connsiteX84" fmla="*/ 4559 w 10000"/>
                  <a:gd name="connsiteY84" fmla="*/ 3724 h 10599"/>
                  <a:gd name="connsiteX85" fmla="*/ 6524 w 10000"/>
                  <a:gd name="connsiteY85" fmla="*/ 4349 h 10599"/>
                  <a:gd name="connsiteX86" fmla="*/ 6751 w 10000"/>
                  <a:gd name="connsiteY86" fmla="*/ 4349 h 10599"/>
                  <a:gd name="connsiteX87" fmla="*/ 6751 w 10000"/>
                  <a:gd name="connsiteY87" fmla="*/ 4167 h 10599"/>
                  <a:gd name="connsiteX88" fmla="*/ 6751 w 10000"/>
                  <a:gd name="connsiteY88" fmla="*/ 3724 h 10599"/>
                  <a:gd name="connsiteX89" fmla="*/ 6952 w 10000"/>
                  <a:gd name="connsiteY89" fmla="*/ 3724 h 10599"/>
                  <a:gd name="connsiteX90" fmla="*/ 7179 w 10000"/>
                  <a:gd name="connsiteY90" fmla="*/ 3932 h 10599"/>
                  <a:gd name="connsiteX91" fmla="*/ 7179 w 10000"/>
                  <a:gd name="connsiteY91" fmla="*/ 4167 h 10599"/>
                  <a:gd name="connsiteX92" fmla="*/ 8035 w 10000"/>
                  <a:gd name="connsiteY92" fmla="*/ 4167 h 10599"/>
                  <a:gd name="connsiteX93" fmla="*/ 8262 w 10000"/>
                  <a:gd name="connsiteY93" fmla="*/ 4167 h 10599"/>
                  <a:gd name="connsiteX94" fmla="*/ 8035 w 10000"/>
                  <a:gd name="connsiteY94" fmla="*/ 3724 h 10599"/>
                  <a:gd name="connsiteX95" fmla="*/ 9144 w 10000"/>
                  <a:gd name="connsiteY95" fmla="*/ 3307 h 10599"/>
                  <a:gd name="connsiteX0" fmla="*/ 9144 w 10000"/>
                  <a:gd name="connsiteY0" fmla="*/ 3307 h 10599"/>
                  <a:gd name="connsiteX1" fmla="*/ 9144 w 10000"/>
                  <a:gd name="connsiteY1" fmla="*/ 3307 h 10599"/>
                  <a:gd name="connsiteX2" fmla="*/ 9572 w 10000"/>
                  <a:gd name="connsiteY2" fmla="*/ 3307 h 10599"/>
                  <a:gd name="connsiteX3" fmla="*/ 10000 w 10000"/>
                  <a:gd name="connsiteY3" fmla="*/ 3724 h 10599"/>
                  <a:gd name="connsiteX4" fmla="*/ 10000 w 10000"/>
                  <a:gd name="connsiteY4" fmla="*/ 4167 h 10599"/>
                  <a:gd name="connsiteX5" fmla="*/ 9572 w 10000"/>
                  <a:gd name="connsiteY5" fmla="*/ 4167 h 10599"/>
                  <a:gd name="connsiteX6" fmla="*/ 9345 w 10000"/>
                  <a:gd name="connsiteY6" fmla="*/ 4349 h 10599"/>
                  <a:gd name="connsiteX7" fmla="*/ 8917 w 10000"/>
                  <a:gd name="connsiteY7" fmla="*/ 5182 h 10599"/>
                  <a:gd name="connsiteX8" fmla="*/ 8690 w 10000"/>
                  <a:gd name="connsiteY8" fmla="*/ 5417 h 10599"/>
                  <a:gd name="connsiteX9" fmla="*/ 8489 w 10000"/>
                  <a:gd name="connsiteY9" fmla="*/ 5807 h 10599"/>
                  <a:gd name="connsiteX10" fmla="*/ 8489 w 10000"/>
                  <a:gd name="connsiteY10" fmla="*/ 6042 h 10599"/>
                  <a:gd name="connsiteX11" fmla="*/ 8262 w 10000"/>
                  <a:gd name="connsiteY11" fmla="*/ 5417 h 10599"/>
                  <a:gd name="connsiteX12" fmla="*/ 8262 w 10000"/>
                  <a:gd name="connsiteY12" fmla="*/ 5182 h 10599"/>
                  <a:gd name="connsiteX13" fmla="*/ 8035 w 10000"/>
                  <a:gd name="connsiteY13" fmla="*/ 5417 h 10599"/>
                  <a:gd name="connsiteX14" fmla="*/ 7834 w 10000"/>
                  <a:gd name="connsiteY14" fmla="*/ 5417 h 10599"/>
                  <a:gd name="connsiteX15" fmla="*/ 7834 w 10000"/>
                  <a:gd name="connsiteY15" fmla="*/ 5182 h 10599"/>
                  <a:gd name="connsiteX16" fmla="*/ 8262 w 10000"/>
                  <a:gd name="connsiteY16" fmla="*/ 4792 h 10599"/>
                  <a:gd name="connsiteX17" fmla="*/ 7406 w 10000"/>
                  <a:gd name="connsiteY17" fmla="*/ 4792 h 10599"/>
                  <a:gd name="connsiteX18" fmla="*/ 7406 w 10000"/>
                  <a:gd name="connsiteY18" fmla="*/ 4349 h 10599"/>
                  <a:gd name="connsiteX19" fmla="*/ 7179 w 10000"/>
                  <a:gd name="connsiteY19" fmla="*/ 4349 h 10599"/>
                  <a:gd name="connsiteX20" fmla="*/ 6952 w 10000"/>
                  <a:gd name="connsiteY20" fmla="*/ 4349 h 10599"/>
                  <a:gd name="connsiteX21" fmla="*/ 6952 w 10000"/>
                  <a:gd name="connsiteY21" fmla="*/ 4557 h 10599"/>
                  <a:gd name="connsiteX22" fmla="*/ 6751 w 10000"/>
                  <a:gd name="connsiteY22" fmla="*/ 4974 h 10599"/>
                  <a:gd name="connsiteX23" fmla="*/ 6952 w 10000"/>
                  <a:gd name="connsiteY23" fmla="*/ 4974 h 10599"/>
                  <a:gd name="connsiteX24" fmla="*/ 7179 w 10000"/>
                  <a:gd name="connsiteY24" fmla="*/ 6042 h 10599"/>
                  <a:gd name="connsiteX25" fmla="*/ 6952 w 10000"/>
                  <a:gd name="connsiteY25" fmla="*/ 6042 h 10599"/>
                  <a:gd name="connsiteX26" fmla="*/ 6952 w 10000"/>
                  <a:gd name="connsiteY26" fmla="*/ 5807 h 10599"/>
                  <a:gd name="connsiteX27" fmla="*/ 6524 w 10000"/>
                  <a:gd name="connsiteY27" fmla="*/ 6042 h 10599"/>
                  <a:gd name="connsiteX28" fmla="*/ 6297 w 10000"/>
                  <a:gd name="connsiteY28" fmla="*/ 6667 h 10599"/>
                  <a:gd name="connsiteX29" fmla="*/ 5869 w 10000"/>
                  <a:gd name="connsiteY29" fmla="*/ 6849 h 10599"/>
                  <a:gd name="connsiteX30" fmla="*/ 4786 w 10000"/>
                  <a:gd name="connsiteY30" fmla="*/ 7682 h 10599"/>
                  <a:gd name="connsiteX31" fmla="*/ 4786 w 10000"/>
                  <a:gd name="connsiteY31" fmla="*/ 7917 h 10599"/>
                  <a:gd name="connsiteX32" fmla="*/ 4559 w 10000"/>
                  <a:gd name="connsiteY32" fmla="*/ 7917 h 10599"/>
                  <a:gd name="connsiteX33" fmla="*/ 4358 w 10000"/>
                  <a:gd name="connsiteY33" fmla="*/ 8099 h 10599"/>
                  <a:gd name="connsiteX34" fmla="*/ 4131 w 10000"/>
                  <a:gd name="connsiteY34" fmla="*/ 8099 h 10599"/>
                  <a:gd name="connsiteX35" fmla="*/ 4131 w 10000"/>
                  <a:gd name="connsiteY35" fmla="*/ 8307 h 10599"/>
                  <a:gd name="connsiteX36" fmla="*/ 4131 w 10000"/>
                  <a:gd name="connsiteY36" fmla="*/ 8932 h 10599"/>
                  <a:gd name="connsiteX37" fmla="*/ 3904 w 10000"/>
                  <a:gd name="connsiteY37" fmla="*/ 9349 h 10599"/>
                  <a:gd name="connsiteX38" fmla="*/ 3904 w 10000"/>
                  <a:gd name="connsiteY38" fmla="*/ 9974 h 10599"/>
                  <a:gd name="connsiteX39" fmla="*/ 3703 w 10000"/>
                  <a:gd name="connsiteY39" fmla="*/ 10182 h 10599"/>
                  <a:gd name="connsiteX40" fmla="*/ 3476 w 10000"/>
                  <a:gd name="connsiteY40" fmla="*/ 10417 h 10599"/>
                  <a:gd name="connsiteX41" fmla="*/ 3249 w 10000"/>
                  <a:gd name="connsiteY41" fmla="*/ 10599 h 10599"/>
                  <a:gd name="connsiteX42" fmla="*/ 2821 w 10000"/>
                  <a:gd name="connsiteY42" fmla="*/ 10417 h 10599"/>
                  <a:gd name="connsiteX43" fmla="*/ 2166 w 10000"/>
                  <a:gd name="connsiteY43" fmla="*/ 8542 h 10599"/>
                  <a:gd name="connsiteX44" fmla="*/ 1738 w 10000"/>
                  <a:gd name="connsiteY44" fmla="*/ 7917 h 10599"/>
                  <a:gd name="connsiteX45" fmla="*/ 1511 w 10000"/>
                  <a:gd name="connsiteY45" fmla="*/ 6667 h 10599"/>
                  <a:gd name="connsiteX46" fmla="*/ 1511 w 10000"/>
                  <a:gd name="connsiteY46" fmla="*/ 5807 h 10599"/>
                  <a:gd name="connsiteX47" fmla="*/ 1310 w 10000"/>
                  <a:gd name="connsiteY47" fmla="*/ 6224 h 10599"/>
                  <a:gd name="connsiteX48" fmla="*/ 856 w 10000"/>
                  <a:gd name="connsiteY48" fmla="*/ 6432 h 10599"/>
                  <a:gd name="connsiteX49" fmla="*/ 202 w 10000"/>
                  <a:gd name="connsiteY49" fmla="*/ 5807 h 10599"/>
                  <a:gd name="connsiteX50" fmla="*/ 655 w 10000"/>
                  <a:gd name="connsiteY50" fmla="*/ 5807 h 10599"/>
                  <a:gd name="connsiteX51" fmla="*/ 655 w 10000"/>
                  <a:gd name="connsiteY51" fmla="*/ 5599 h 10599"/>
                  <a:gd name="connsiteX52" fmla="*/ 428 w 10000"/>
                  <a:gd name="connsiteY52" fmla="*/ 5599 h 10599"/>
                  <a:gd name="connsiteX53" fmla="*/ 0 w 10000"/>
                  <a:gd name="connsiteY53" fmla="*/ 5417 h 10599"/>
                  <a:gd name="connsiteX54" fmla="*/ 202 w 10000"/>
                  <a:gd name="connsiteY54" fmla="*/ 5182 h 10599"/>
                  <a:gd name="connsiteX55" fmla="*/ 856 w 10000"/>
                  <a:gd name="connsiteY55" fmla="*/ 5182 h 10599"/>
                  <a:gd name="connsiteX56" fmla="*/ 856 w 10000"/>
                  <a:gd name="connsiteY56" fmla="*/ 4974 h 10599"/>
                  <a:gd name="connsiteX57" fmla="*/ 856 w 10000"/>
                  <a:gd name="connsiteY57" fmla="*/ 4557 h 10599"/>
                  <a:gd name="connsiteX58" fmla="*/ 655 w 10000"/>
                  <a:gd name="connsiteY58" fmla="*/ 4557 h 10599"/>
                  <a:gd name="connsiteX59" fmla="*/ 655 w 10000"/>
                  <a:gd name="connsiteY59" fmla="*/ 4349 h 10599"/>
                  <a:gd name="connsiteX60" fmla="*/ 428 w 10000"/>
                  <a:gd name="connsiteY60" fmla="*/ 4349 h 10599"/>
                  <a:gd name="connsiteX61" fmla="*/ 428 w 10000"/>
                  <a:gd name="connsiteY61" fmla="*/ 3932 h 10599"/>
                  <a:gd name="connsiteX62" fmla="*/ 655 w 10000"/>
                  <a:gd name="connsiteY62" fmla="*/ 3724 h 10599"/>
                  <a:gd name="connsiteX63" fmla="*/ 856 w 10000"/>
                  <a:gd name="connsiteY63" fmla="*/ 3932 h 10599"/>
                  <a:gd name="connsiteX64" fmla="*/ 1310 w 10000"/>
                  <a:gd name="connsiteY64" fmla="*/ 3724 h 10599"/>
                  <a:gd name="connsiteX65" fmla="*/ 2393 w 10000"/>
                  <a:gd name="connsiteY65" fmla="*/ 2474 h 10599"/>
                  <a:gd name="connsiteX66" fmla="*/ 2166 w 10000"/>
                  <a:gd name="connsiteY66" fmla="*/ 2292 h 10599"/>
                  <a:gd name="connsiteX67" fmla="*/ 2393 w 10000"/>
                  <a:gd name="connsiteY67" fmla="*/ 2292 h 10599"/>
                  <a:gd name="connsiteX68" fmla="*/ 2393 w 10000"/>
                  <a:gd name="connsiteY68" fmla="*/ 2057 h 10599"/>
                  <a:gd name="connsiteX69" fmla="*/ 1965 w 10000"/>
                  <a:gd name="connsiteY69" fmla="*/ 1849 h 10599"/>
                  <a:gd name="connsiteX70" fmla="*/ 2166 w 10000"/>
                  <a:gd name="connsiteY70" fmla="*/ 1432 h 10599"/>
                  <a:gd name="connsiteX71" fmla="*/ 1965 w 10000"/>
                  <a:gd name="connsiteY71" fmla="*/ 1224 h 10599"/>
                  <a:gd name="connsiteX72" fmla="*/ 2189 w 10000"/>
                  <a:gd name="connsiteY72" fmla="*/ 807 h 10599"/>
                  <a:gd name="connsiteX73" fmla="*/ 1940 w 10000"/>
                  <a:gd name="connsiteY73" fmla="*/ 417 h 10599"/>
                  <a:gd name="connsiteX74" fmla="*/ 2596 w 10000"/>
                  <a:gd name="connsiteY74" fmla="*/ 0 h 10599"/>
                  <a:gd name="connsiteX75" fmla="*/ 3382 w 10000"/>
                  <a:gd name="connsiteY75" fmla="*/ 599 h 10599"/>
                  <a:gd name="connsiteX76" fmla="*/ 4131 w 10000"/>
                  <a:gd name="connsiteY76" fmla="*/ 495 h 10599"/>
                  <a:gd name="connsiteX77" fmla="*/ 4131 w 10000"/>
                  <a:gd name="connsiteY77" fmla="*/ 807 h 10599"/>
                  <a:gd name="connsiteX78" fmla="*/ 4131 w 10000"/>
                  <a:gd name="connsiteY78" fmla="*/ 1224 h 10599"/>
                  <a:gd name="connsiteX79" fmla="*/ 3703 w 10000"/>
                  <a:gd name="connsiteY79" fmla="*/ 1667 h 10599"/>
                  <a:gd name="connsiteX80" fmla="*/ 3904 w 10000"/>
                  <a:gd name="connsiteY80" fmla="*/ 2057 h 10599"/>
                  <a:gd name="connsiteX81" fmla="*/ 3476 w 10000"/>
                  <a:gd name="connsiteY81" fmla="*/ 2057 h 10599"/>
                  <a:gd name="connsiteX82" fmla="*/ 3703 w 10000"/>
                  <a:gd name="connsiteY82" fmla="*/ 2682 h 10599"/>
                  <a:gd name="connsiteX83" fmla="*/ 4358 w 10000"/>
                  <a:gd name="connsiteY83" fmla="*/ 2917 h 10599"/>
                  <a:gd name="connsiteX84" fmla="*/ 4131 w 10000"/>
                  <a:gd name="connsiteY84" fmla="*/ 3542 h 10599"/>
                  <a:gd name="connsiteX85" fmla="*/ 4559 w 10000"/>
                  <a:gd name="connsiteY85" fmla="*/ 3724 h 10599"/>
                  <a:gd name="connsiteX86" fmla="*/ 6524 w 10000"/>
                  <a:gd name="connsiteY86" fmla="*/ 4349 h 10599"/>
                  <a:gd name="connsiteX87" fmla="*/ 6751 w 10000"/>
                  <a:gd name="connsiteY87" fmla="*/ 4349 h 10599"/>
                  <a:gd name="connsiteX88" fmla="*/ 6751 w 10000"/>
                  <a:gd name="connsiteY88" fmla="*/ 4167 h 10599"/>
                  <a:gd name="connsiteX89" fmla="*/ 6751 w 10000"/>
                  <a:gd name="connsiteY89" fmla="*/ 3724 h 10599"/>
                  <a:gd name="connsiteX90" fmla="*/ 6952 w 10000"/>
                  <a:gd name="connsiteY90" fmla="*/ 3724 h 10599"/>
                  <a:gd name="connsiteX91" fmla="*/ 7179 w 10000"/>
                  <a:gd name="connsiteY91" fmla="*/ 3932 h 10599"/>
                  <a:gd name="connsiteX92" fmla="*/ 7179 w 10000"/>
                  <a:gd name="connsiteY92" fmla="*/ 4167 h 10599"/>
                  <a:gd name="connsiteX93" fmla="*/ 8035 w 10000"/>
                  <a:gd name="connsiteY93" fmla="*/ 4167 h 10599"/>
                  <a:gd name="connsiteX94" fmla="*/ 8262 w 10000"/>
                  <a:gd name="connsiteY94" fmla="*/ 4167 h 10599"/>
                  <a:gd name="connsiteX95" fmla="*/ 8035 w 10000"/>
                  <a:gd name="connsiteY95" fmla="*/ 3724 h 10599"/>
                  <a:gd name="connsiteX96" fmla="*/ 9144 w 10000"/>
                  <a:gd name="connsiteY96" fmla="*/ 3307 h 10599"/>
                  <a:gd name="connsiteX0" fmla="*/ 9144 w 10000"/>
                  <a:gd name="connsiteY0" fmla="*/ 3307 h 10599"/>
                  <a:gd name="connsiteX1" fmla="*/ 9144 w 10000"/>
                  <a:gd name="connsiteY1" fmla="*/ 3307 h 10599"/>
                  <a:gd name="connsiteX2" fmla="*/ 9572 w 10000"/>
                  <a:gd name="connsiteY2" fmla="*/ 3307 h 10599"/>
                  <a:gd name="connsiteX3" fmla="*/ 10000 w 10000"/>
                  <a:gd name="connsiteY3" fmla="*/ 3724 h 10599"/>
                  <a:gd name="connsiteX4" fmla="*/ 10000 w 10000"/>
                  <a:gd name="connsiteY4" fmla="*/ 4167 h 10599"/>
                  <a:gd name="connsiteX5" fmla="*/ 9572 w 10000"/>
                  <a:gd name="connsiteY5" fmla="*/ 4167 h 10599"/>
                  <a:gd name="connsiteX6" fmla="*/ 9345 w 10000"/>
                  <a:gd name="connsiteY6" fmla="*/ 4349 h 10599"/>
                  <a:gd name="connsiteX7" fmla="*/ 8917 w 10000"/>
                  <a:gd name="connsiteY7" fmla="*/ 5182 h 10599"/>
                  <a:gd name="connsiteX8" fmla="*/ 8690 w 10000"/>
                  <a:gd name="connsiteY8" fmla="*/ 5417 h 10599"/>
                  <a:gd name="connsiteX9" fmla="*/ 8489 w 10000"/>
                  <a:gd name="connsiteY9" fmla="*/ 5807 h 10599"/>
                  <a:gd name="connsiteX10" fmla="*/ 8489 w 10000"/>
                  <a:gd name="connsiteY10" fmla="*/ 6042 h 10599"/>
                  <a:gd name="connsiteX11" fmla="*/ 8262 w 10000"/>
                  <a:gd name="connsiteY11" fmla="*/ 5417 h 10599"/>
                  <a:gd name="connsiteX12" fmla="*/ 8262 w 10000"/>
                  <a:gd name="connsiteY12" fmla="*/ 5182 h 10599"/>
                  <a:gd name="connsiteX13" fmla="*/ 8035 w 10000"/>
                  <a:gd name="connsiteY13" fmla="*/ 5417 h 10599"/>
                  <a:gd name="connsiteX14" fmla="*/ 7834 w 10000"/>
                  <a:gd name="connsiteY14" fmla="*/ 5417 h 10599"/>
                  <a:gd name="connsiteX15" fmla="*/ 7834 w 10000"/>
                  <a:gd name="connsiteY15" fmla="*/ 5182 h 10599"/>
                  <a:gd name="connsiteX16" fmla="*/ 8262 w 10000"/>
                  <a:gd name="connsiteY16" fmla="*/ 4792 h 10599"/>
                  <a:gd name="connsiteX17" fmla="*/ 7406 w 10000"/>
                  <a:gd name="connsiteY17" fmla="*/ 4792 h 10599"/>
                  <a:gd name="connsiteX18" fmla="*/ 7406 w 10000"/>
                  <a:gd name="connsiteY18" fmla="*/ 4349 h 10599"/>
                  <a:gd name="connsiteX19" fmla="*/ 7179 w 10000"/>
                  <a:gd name="connsiteY19" fmla="*/ 4349 h 10599"/>
                  <a:gd name="connsiteX20" fmla="*/ 6952 w 10000"/>
                  <a:gd name="connsiteY20" fmla="*/ 4349 h 10599"/>
                  <a:gd name="connsiteX21" fmla="*/ 6952 w 10000"/>
                  <a:gd name="connsiteY21" fmla="*/ 4557 h 10599"/>
                  <a:gd name="connsiteX22" fmla="*/ 6751 w 10000"/>
                  <a:gd name="connsiteY22" fmla="*/ 4974 h 10599"/>
                  <a:gd name="connsiteX23" fmla="*/ 6952 w 10000"/>
                  <a:gd name="connsiteY23" fmla="*/ 4974 h 10599"/>
                  <a:gd name="connsiteX24" fmla="*/ 7179 w 10000"/>
                  <a:gd name="connsiteY24" fmla="*/ 6042 h 10599"/>
                  <a:gd name="connsiteX25" fmla="*/ 6952 w 10000"/>
                  <a:gd name="connsiteY25" fmla="*/ 6042 h 10599"/>
                  <a:gd name="connsiteX26" fmla="*/ 6952 w 10000"/>
                  <a:gd name="connsiteY26" fmla="*/ 5807 h 10599"/>
                  <a:gd name="connsiteX27" fmla="*/ 6524 w 10000"/>
                  <a:gd name="connsiteY27" fmla="*/ 6042 h 10599"/>
                  <a:gd name="connsiteX28" fmla="*/ 6297 w 10000"/>
                  <a:gd name="connsiteY28" fmla="*/ 6667 h 10599"/>
                  <a:gd name="connsiteX29" fmla="*/ 5869 w 10000"/>
                  <a:gd name="connsiteY29" fmla="*/ 6849 h 10599"/>
                  <a:gd name="connsiteX30" fmla="*/ 4786 w 10000"/>
                  <a:gd name="connsiteY30" fmla="*/ 7682 h 10599"/>
                  <a:gd name="connsiteX31" fmla="*/ 4786 w 10000"/>
                  <a:gd name="connsiteY31" fmla="*/ 7917 h 10599"/>
                  <a:gd name="connsiteX32" fmla="*/ 4559 w 10000"/>
                  <a:gd name="connsiteY32" fmla="*/ 7917 h 10599"/>
                  <a:gd name="connsiteX33" fmla="*/ 4358 w 10000"/>
                  <a:gd name="connsiteY33" fmla="*/ 8099 h 10599"/>
                  <a:gd name="connsiteX34" fmla="*/ 4131 w 10000"/>
                  <a:gd name="connsiteY34" fmla="*/ 8099 h 10599"/>
                  <a:gd name="connsiteX35" fmla="*/ 4131 w 10000"/>
                  <a:gd name="connsiteY35" fmla="*/ 8307 h 10599"/>
                  <a:gd name="connsiteX36" fmla="*/ 4131 w 10000"/>
                  <a:gd name="connsiteY36" fmla="*/ 8932 h 10599"/>
                  <a:gd name="connsiteX37" fmla="*/ 3904 w 10000"/>
                  <a:gd name="connsiteY37" fmla="*/ 9349 h 10599"/>
                  <a:gd name="connsiteX38" fmla="*/ 3904 w 10000"/>
                  <a:gd name="connsiteY38" fmla="*/ 9974 h 10599"/>
                  <a:gd name="connsiteX39" fmla="*/ 3703 w 10000"/>
                  <a:gd name="connsiteY39" fmla="*/ 10182 h 10599"/>
                  <a:gd name="connsiteX40" fmla="*/ 3476 w 10000"/>
                  <a:gd name="connsiteY40" fmla="*/ 10417 h 10599"/>
                  <a:gd name="connsiteX41" fmla="*/ 3249 w 10000"/>
                  <a:gd name="connsiteY41" fmla="*/ 10599 h 10599"/>
                  <a:gd name="connsiteX42" fmla="*/ 2821 w 10000"/>
                  <a:gd name="connsiteY42" fmla="*/ 10417 h 10599"/>
                  <a:gd name="connsiteX43" fmla="*/ 2166 w 10000"/>
                  <a:gd name="connsiteY43" fmla="*/ 8542 h 10599"/>
                  <a:gd name="connsiteX44" fmla="*/ 1738 w 10000"/>
                  <a:gd name="connsiteY44" fmla="*/ 7917 h 10599"/>
                  <a:gd name="connsiteX45" fmla="*/ 1511 w 10000"/>
                  <a:gd name="connsiteY45" fmla="*/ 6667 h 10599"/>
                  <a:gd name="connsiteX46" fmla="*/ 1511 w 10000"/>
                  <a:gd name="connsiteY46" fmla="*/ 5807 h 10599"/>
                  <a:gd name="connsiteX47" fmla="*/ 1310 w 10000"/>
                  <a:gd name="connsiteY47" fmla="*/ 6224 h 10599"/>
                  <a:gd name="connsiteX48" fmla="*/ 856 w 10000"/>
                  <a:gd name="connsiteY48" fmla="*/ 6432 h 10599"/>
                  <a:gd name="connsiteX49" fmla="*/ 202 w 10000"/>
                  <a:gd name="connsiteY49" fmla="*/ 5807 h 10599"/>
                  <a:gd name="connsiteX50" fmla="*/ 655 w 10000"/>
                  <a:gd name="connsiteY50" fmla="*/ 5807 h 10599"/>
                  <a:gd name="connsiteX51" fmla="*/ 655 w 10000"/>
                  <a:gd name="connsiteY51" fmla="*/ 5599 h 10599"/>
                  <a:gd name="connsiteX52" fmla="*/ 428 w 10000"/>
                  <a:gd name="connsiteY52" fmla="*/ 5599 h 10599"/>
                  <a:gd name="connsiteX53" fmla="*/ 0 w 10000"/>
                  <a:gd name="connsiteY53" fmla="*/ 5417 h 10599"/>
                  <a:gd name="connsiteX54" fmla="*/ 202 w 10000"/>
                  <a:gd name="connsiteY54" fmla="*/ 5182 h 10599"/>
                  <a:gd name="connsiteX55" fmla="*/ 856 w 10000"/>
                  <a:gd name="connsiteY55" fmla="*/ 5182 h 10599"/>
                  <a:gd name="connsiteX56" fmla="*/ 856 w 10000"/>
                  <a:gd name="connsiteY56" fmla="*/ 4974 h 10599"/>
                  <a:gd name="connsiteX57" fmla="*/ 856 w 10000"/>
                  <a:gd name="connsiteY57" fmla="*/ 4557 h 10599"/>
                  <a:gd name="connsiteX58" fmla="*/ 655 w 10000"/>
                  <a:gd name="connsiteY58" fmla="*/ 4557 h 10599"/>
                  <a:gd name="connsiteX59" fmla="*/ 655 w 10000"/>
                  <a:gd name="connsiteY59" fmla="*/ 4349 h 10599"/>
                  <a:gd name="connsiteX60" fmla="*/ 428 w 10000"/>
                  <a:gd name="connsiteY60" fmla="*/ 4349 h 10599"/>
                  <a:gd name="connsiteX61" fmla="*/ 428 w 10000"/>
                  <a:gd name="connsiteY61" fmla="*/ 3932 h 10599"/>
                  <a:gd name="connsiteX62" fmla="*/ 655 w 10000"/>
                  <a:gd name="connsiteY62" fmla="*/ 3724 h 10599"/>
                  <a:gd name="connsiteX63" fmla="*/ 856 w 10000"/>
                  <a:gd name="connsiteY63" fmla="*/ 3932 h 10599"/>
                  <a:gd name="connsiteX64" fmla="*/ 1310 w 10000"/>
                  <a:gd name="connsiteY64" fmla="*/ 3724 h 10599"/>
                  <a:gd name="connsiteX65" fmla="*/ 2393 w 10000"/>
                  <a:gd name="connsiteY65" fmla="*/ 2474 h 10599"/>
                  <a:gd name="connsiteX66" fmla="*/ 2166 w 10000"/>
                  <a:gd name="connsiteY66" fmla="*/ 2292 h 10599"/>
                  <a:gd name="connsiteX67" fmla="*/ 2393 w 10000"/>
                  <a:gd name="connsiteY67" fmla="*/ 2292 h 10599"/>
                  <a:gd name="connsiteX68" fmla="*/ 2393 w 10000"/>
                  <a:gd name="connsiteY68" fmla="*/ 2057 h 10599"/>
                  <a:gd name="connsiteX69" fmla="*/ 2596 w 10000"/>
                  <a:gd name="connsiteY69" fmla="*/ 1849 h 10599"/>
                  <a:gd name="connsiteX70" fmla="*/ 2166 w 10000"/>
                  <a:gd name="connsiteY70" fmla="*/ 1432 h 10599"/>
                  <a:gd name="connsiteX71" fmla="*/ 1965 w 10000"/>
                  <a:gd name="connsiteY71" fmla="*/ 1224 h 10599"/>
                  <a:gd name="connsiteX72" fmla="*/ 2189 w 10000"/>
                  <a:gd name="connsiteY72" fmla="*/ 807 h 10599"/>
                  <a:gd name="connsiteX73" fmla="*/ 1940 w 10000"/>
                  <a:gd name="connsiteY73" fmla="*/ 417 h 10599"/>
                  <a:gd name="connsiteX74" fmla="*/ 2596 w 10000"/>
                  <a:gd name="connsiteY74" fmla="*/ 0 h 10599"/>
                  <a:gd name="connsiteX75" fmla="*/ 3382 w 10000"/>
                  <a:gd name="connsiteY75" fmla="*/ 599 h 10599"/>
                  <a:gd name="connsiteX76" fmla="*/ 4131 w 10000"/>
                  <a:gd name="connsiteY76" fmla="*/ 495 h 10599"/>
                  <a:gd name="connsiteX77" fmla="*/ 4131 w 10000"/>
                  <a:gd name="connsiteY77" fmla="*/ 807 h 10599"/>
                  <a:gd name="connsiteX78" fmla="*/ 4131 w 10000"/>
                  <a:gd name="connsiteY78" fmla="*/ 1224 h 10599"/>
                  <a:gd name="connsiteX79" fmla="*/ 3703 w 10000"/>
                  <a:gd name="connsiteY79" fmla="*/ 1667 h 10599"/>
                  <a:gd name="connsiteX80" fmla="*/ 3904 w 10000"/>
                  <a:gd name="connsiteY80" fmla="*/ 2057 h 10599"/>
                  <a:gd name="connsiteX81" fmla="*/ 3476 w 10000"/>
                  <a:gd name="connsiteY81" fmla="*/ 2057 h 10599"/>
                  <a:gd name="connsiteX82" fmla="*/ 3703 w 10000"/>
                  <a:gd name="connsiteY82" fmla="*/ 2682 h 10599"/>
                  <a:gd name="connsiteX83" fmla="*/ 4358 w 10000"/>
                  <a:gd name="connsiteY83" fmla="*/ 2917 h 10599"/>
                  <a:gd name="connsiteX84" fmla="*/ 4131 w 10000"/>
                  <a:gd name="connsiteY84" fmla="*/ 3542 h 10599"/>
                  <a:gd name="connsiteX85" fmla="*/ 4559 w 10000"/>
                  <a:gd name="connsiteY85" fmla="*/ 3724 h 10599"/>
                  <a:gd name="connsiteX86" fmla="*/ 6524 w 10000"/>
                  <a:gd name="connsiteY86" fmla="*/ 4349 h 10599"/>
                  <a:gd name="connsiteX87" fmla="*/ 6751 w 10000"/>
                  <a:gd name="connsiteY87" fmla="*/ 4349 h 10599"/>
                  <a:gd name="connsiteX88" fmla="*/ 6751 w 10000"/>
                  <a:gd name="connsiteY88" fmla="*/ 4167 h 10599"/>
                  <a:gd name="connsiteX89" fmla="*/ 6751 w 10000"/>
                  <a:gd name="connsiteY89" fmla="*/ 3724 h 10599"/>
                  <a:gd name="connsiteX90" fmla="*/ 6952 w 10000"/>
                  <a:gd name="connsiteY90" fmla="*/ 3724 h 10599"/>
                  <a:gd name="connsiteX91" fmla="*/ 7179 w 10000"/>
                  <a:gd name="connsiteY91" fmla="*/ 3932 h 10599"/>
                  <a:gd name="connsiteX92" fmla="*/ 7179 w 10000"/>
                  <a:gd name="connsiteY92" fmla="*/ 4167 h 10599"/>
                  <a:gd name="connsiteX93" fmla="*/ 8035 w 10000"/>
                  <a:gd name="connsiteY93" fmla="*/ 4167 h 10599"/>
                  <a:gd name="connsiteX94" fmla="*/ 8262 w 10000"/>
                  <a:gd name="connsiteY94" fmla="*/ 4167 h 10599"/>
                  <a:gd name="connsiteX95" fmla="*/ 8035 w 10000"/>
                  <a:gd name="connsiteY95" fmla="*/ 3724 h 10599"/>
                  <a:gd name="connsiteX96" fmla="*/ 9144 w 10000"/>
                  <a:gd name="connsiteY96" fmla="*/ 3307 h 10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10000" h="10599">
                    <a:moveTo>
                      <a:pt x="9144" y="3307"/>
                    </a:moveTo>
                    <a:lnTo>
                      <a:pt x="9144" y="3307"/>
                    </a:lnTo>
                    <a:lnTo>
                      <a:pt x="9572" y="3307"/>
                    </a:lnTo>
                    <a:lnTo>
                      <a:pt x="10000" y="3724"/>
                    </a:lnTo>
                    <a:lnTo>
                      <a:pt x="10000" y="4167"/>
                    </a:lnTo>
                    <a:lnTo>
                      <a:pt x="9572" y="4167"/>
                    </a:lnTo>
                    <a:lnTo>
                      <a:pt x="9345" y="4349"/>
                    </a:lnTo>
                    <a:lnTo>
                      <a:pt x="8917" y="5182"/>
                    </a:lnTo>
                    <a:lnTo>
                      <a:pt x="8690" y="5417"/>
                    </a:lnTo>
                    <a:lnTo>
                      <a:pt x="8489" y="5807"/>
                    </a:lnTo>
                    <a:lnTo>
                      <a:pt x="8489" y="6042"/>
                    </a:lnTo>
                    <a:cubicBezTo>
                      <a:pt x="8413" y="5834"/>
                      <a:pt x="8338" y="5625"/>
                      <a:pt x="8262" y="5417"/>
                    </a:cubicBezTo>
                    <a:lnTo>
                      <a:pt x="8262" y="5182"/>
                    </a:lnTo>
                    <a:lnTo>
                      <a:pt x="8035" y="5417"/>
                    </a:lnTo>
                    <a:lnTo>
                      <a:pt x="7834" y="5417"/>
                    </a:lnTo>
                    <a:lnTo>
                      <a:pt x="7834" y="5182"/>
                    </a:lnTo>
                    <a:lnTo>
                      <a:pt x="8262" y="4792"/>
                    </a:lnTo>
                    <a:lnTo>
                      <a:pt x="7406" y="4792"/>
                    </a:lnTo>
                    <a:lnTo>
                      <a:pt x="7406" y="4349"/>
                    </a:lnTo>
                    <a:lnTo>
                      <a:pt x="7179" y="4349"/>
                    </a:lnTo>
                    <a:lnTo>
                      <a:pt x="6952" y="4349"/>
                    </a:lnTo>
                    <a:lnTo>
                      <a:pt x="6952" y="4557"/>
                    </a:lnTo>
                    <a:lnTo>
                      <a:pt x="6751" y="4974"/>
                    </a:lnTo>
                    <a:lnTo>
                      <a:pt x="6952" y="4974"/>
                    </a:lnTo>
                    <a:cubicBezTo>
                      <a:pt x="7028" y="5330"/>
                      <a:pt x="7103" y="5686"/>
                      <a:pt x="7179" y="6042"/>
                    </a:cubicBezTo>
                    <a:lnTo>
                      <a:pt x="6952" y="6042"/>
                    </a:lnTo>
                    <a:lnTo>
                      <a:pt x="6952" y="5807"/>
                    </a:lnTo>
                    <a:lnTo>
                      <a:pt x="6524" y="6042"/>
                    </a:lnTo>
                    <a:cubicBezTo>
                      <a:pt x="6448" y="6250"/>
                      <a:pt x="6373" y="6459"/>
                      <a:pt x="6297" y="6667"/>
                    </a:cubicBezTo>
                    <a:lnTo>
                      <a:pt x="5869" y="6849"/>
                    </a:lnTo>
                    <a:lnTo>
                      <a:pt x="4786" y="7682"/>
                    </a:lnTo>
                    <a:lnTo>
                      <a:pt x="4786" y="7917"/>
                    </a:lnTo>
                    <a:lnTo>
                      <a:pt x="4559" y="7917"/>
                    </a:lnTo>
                    <a:lnTo>
                      <a:pt x="4358" y="8099"/>
                    </a:lnTo>
                    <a:lnTo>
                      <a:pt x="4131" y="8099"/>
                    </a:lnTo>
                    <a:lnTo>
                      <a:pt x="4131" y="8307"/>
                    </a:lnTo>
                    <a:lnTo>
                      <a:pt x="4131" y="8932"/>
                    </a:lnTo>
                    <a:lnTo>
                      <a:pt x="3904" y="9349"/>
                    </a:lnTo>
                    <a:lnTo>
                      <a:pt x="3904" y="9974"/>
                    </a:lnTo>
                    <a:lnTo>
                      <a:pt x="3703" y="10182"/>
                    </a:lnTo>
                    <a:lnTo>
                      <a:pt x="3476" y="10417"/>
                    </a:lnTo>
                    <a:lnTo>
                      <a:pt x="3249" y="10599"/>
                    </a:lnTo>
                    <a:lnTo>
                      <a:pt x="2821" y="10417"/>
                    </a:lnTo>
                    <a:lnTo>
                      <a:pt x="2166" y="8542"/>
                    </a:lnTo>
                    <a:lnTo>
                      <a:pt x="1738" y="7917"/>
                    </a:lnTo>
                    <a:cubicBezTo>
                      <a:pt x="1662" y="7500"/>
                      <a:pt x="1587" y="7084"/>
                      <a:pt x="1511" y="6667"/>
                    </a:cubicBezTo>
                    <a:lnTo>
                      <a:pt x="1511" y="5807"/>
                    </a:lnTo>
                    <a:lnTo>
                      <a:pt x="1310" y="6224"/>
                    </a:lnTo>
                    <a:lnTo>
                      <a:pt x="856" y="6432"/>
                    </a:lnTo>
                    <a:lnTo>
                      <a:pt x="202" y="5807"/>
                    </a:lnTo>
                    <a:lnTo>
                      <a:pt x="655" y="5807"/>
                    </a:lnTo>
                    <a:lnTo>
                      <a:pt x="655" y="5599"/>
                    </a:lnTo>
                    <a:lnTo>
                      <a:pt x="428" y="5599"/>
                    </a:lnTo>
                    <a:lnTo>
                      <a:pt x="0" y="5417"/>
                    </a:lnTo>
                    <a:lnTo>
                      <a:pt x="202" y="5182"/>
                    </a:lnTo>
                    <a:lnTo>
                      <a:pt x="856" y="5182"/>
                    </a:lnTo>
                    <a:lnTo>
                      <a:pt x="856" y="4974"/>
                    </a:lnTo>
                    <a:lnTo>
                      <a:pt x="856" y="4557"/>
                    </a:lnTo>
                    <a:lnTo>
                      <a:pt x="655" y="4557"/>
                    </a:lnTo>
                    <a:lnTo>
                      <a:pt x="655" y="4349"/>
                    </a:lnTo>
                    <a:lnTo>
                      <a:pt x="428" y="4349"/>
                    </a:lnTo>
                    <a:lnTo>
                      <a:pt x="428" y="3932"/>
                    </a:lnTo>
                    <a:lnTo>
                      <a:pt x="655" y="3724"/>
                    </a:lnTo>
                    <a:lnTo>
                      <a:pt x="856" y="3932"/>
                    </a:lnTo>
                    <a:lnTo>
                      <a:pt x="1310" y="3724"/>
                    </a:lnTo>
                    <a:lnTo>
                      <a:pt x="2393" y="2474"/>
                    </a:lnTo>
                    <a:lnTo>
                      <a:pt x="2166" y="2292"/>
                    </a:lnTo>
                    <a:lnTo>
                      <a:pt x="2393" y="2292"/>
                    </a:lnTo>
                    <a:lnTo>
                      <a:pt x="2393" y="2057"/>
                    </a:lnTo>
                    <a:lnTo>
                      <a:pt x="2596" y="1849"/>
                    </a:lnTo>
                    <a:lnTo>
                      <a:pt x="2166" y="1432"/>
                    </a:lnTo>
                    <a:lnTo>
                      <a:pt x="1965" y="1224"/>
                    </a:lnTo>
                    <a:cubicBezTo>
                      <a:pt x="1925" y="1133"/>
                      <a:pt x="2193" y="941"/>
                      <a:pt x="2189" y="807"/>
                    </a:cubicBezTo>
                    <a:cubicBezTo>
                      <a:pt x="2185" y="673"/>
                      <a:pt x="1829" y="565"/>
                      <a:pt x="1940" y="417"/>
                    </a:cubicBezTo>
                    <a:lnTo>
                      <a:pt x="2596" y="0"/>
                    </a:lnTo>
                    <a:lnTo>
                      <a:pt x="3382" y="599"/>
                    </a:lnTo>
                    <a:lnTo>
                      <a:pt x="4131" y="495"/>
                    </a:lnTo>
                    <a:lnTo>
                      <a:pt x="4131" y="807"/>
                    </a:lnTo>
                    <a:lnTo>
                      <a:pt x="4131" y="1224"/>
                    </a:lnTo>
                    <a:lnTo>
                      <a:pt x="3703" y="1667"/>
                    </a:lnTo>
                    <a:lnTo>
                      <a:pt x="3904" y="2057"/>
                    </a:lnTo>
                    <a:lnTo>
                      <a:pt x="3476" y="2057"/>
                    </a:lnTo>
                    <a:cubicBezTo>
                      <a:pt x="3552" y="2265"/>
                      <a:pt x="3627" y="2474"/>
                      <a:pt x="3703" y="2682"/>
                    </a:cubicBezTo>
                    <a:lnTo>
                      <a:pt x="4358" y="2917"/>
                    </a:lnTo>
                    <a:cubicBezTo>
                      <a:pt x="4282" y="3125"/>
                      <a:pt x="4207" y="3334"/>
                      <a:pt x="4131" y="3542"/>
                    </a:cubicBezTo>
                    <a:lnTo>
                      <a:pt x="4559" y="3724"/>
                    </a:lnTo>
                    <a:lnTo>
                      <a:pt x="6524" y="4349"/>
                    </a:lnTo>
                    <a:lnTo>
                      <a:pt x="6751" y="4349"/>
                    </a:lnTo>
                    <a:lnTo>
                      <a:pt x="6751" y="4167"/>
                    </a:lnTo>
                    <a:lnTo>
                      <a:pt x="6751" y="3724"/>
                    </a:lnTo>
                    <a:lnTo>
                      <a:pt x="6952" y="3724"/>
                    </a:lnTo>
                    <a:lnTo>
                      <a:pt x="7179" y="3932"/>
                    </a:lnTo>
                    <a:lnTo>
                      <a:pt x="7179" y="4167"/>
                    </a:lnTo>
                    <a:lnTo>
                      <a:pt x="8035" y="4167"/>
                    </a:lnTo>
                    <a:lnTo>
                      <a:pt x="8262" y="4167"/>
                    </a:lnTo>
                    <a:lnTo>
                      <a:pt x="8035" y="3724"/>
                    </a:lnTo>
                    <a:lnTo>
                      <a:pt x="9144" y="330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  <p:sp>
            <p:nvSpPr>
              <p:cNvPr id="1281" name="Freeform 222">
                <a:extLst>
                  <a:ext uri="{FF2B5EF4-FFF2-40B4-BE49-F238E27FC236}">
                    <a16:creationId xmlns:a16="http://schemas.microsoft.com/office/drawing/2014/main" id="{763AE8F7-D14F-BB41-9542-5C1D6A5CE565}"/>
                  </a:ext>
                </a:extLst>
              </p:cNvPr>
              <p:cNvSpPr>
                <a:spLocks/>
              </p:cNvSpPr>
              <p:nvPr>
                <p:custDataLst>
                  <p:tags r:id="rId341"/>
                </p:custDataLst>
              </p:nvPr>
            </p:nvSpPr>
            <p:spPr bwMode="auto">
              <a:xfrm>
                <a:off x="5186360" y="3411538"/>
                <a:ext cx="404814" cy="219206"/>
              </a:xfrm>
              <a:custGeom>
                <a:avLst/>
                <a:gdLst>
                  <a:gd name="T0" fmla="*/ 42152 w 503"/>
                  <a:gd name="T1" fmla="*/ 54153 h 303"/>
                  <a:gd name="T2" fmla="*/ 42152 w 503"/>
                  <a:gd name="T3" fmla="*/ 54153 h 303"/>
                  <a:gd name="T4" fmla="*/ 34994 w 503"/>
                  <a:gd name="T5" fmla="*/ 54153 h 303"/>
                  <a:gd name="T6" fmla="*/ 34994 w 503"/>
                  <a:gd name="T7" fmla="*/ 50968 h 303"/>
                  <a:gd name="T8" fmla="*/ 38176 w 503"/>
                  <a:gd name="T9" fmla="*/ 44597 h 303"/>
                  <a:gd name="T10" fmla="*/ 45334 w 503"/>
                  <a:gd name="T11" fmla="*/ 44597 h 303"/>
                  <a:gd name="T12" fmla="*/ 45334 w 503"/>
                  <a:gd name="T13" fmla="*/ 41411 h 303"/>
                  <a:gd name="T14" fmla="*/ 42152 w 503"/>
                  <a:gd name="T15" fmla="*/ 35040 h 303"/>
                  <a:gd name="T16" fmla="*/ 42152 w 503"/>
                  <a:gd name="T17" fmla="*/ 31855 h 303"/>
                  <a:gd name="T18" fmla="*/ 31018 w 503"/>
                  <a:gd name="T19" fmla="*/ 28669 h 303"/>
                  <a:gd name="T20" fmla="*/ 24655 w 503"/>
                  <a:gd name="T21" fmla="*/ 31855 h 303"/>
                  <a:gd name="T22" fmla="*/ 17497 w 503"/>
                  <a:gd name="T23" fmla="*/ 35040 h 303"/>
                  <a:gd name="T24" fmla="*/ 14316 w 503"/>
                  <a:gd name="T25" fmla="*/ 35040 h 303"/>
                  <a:gd name="T26" fmla="*/ 3977 w 503"/>
                  <a:gd name="T27" fmla="*/ 35040 h 303"/>
                  <a:gd name="T28" fmla="*/ 0 w 503"/>
                  <a:gd name="T29" fmla="*/ 31855 h 303"/>
                  <a:gd name="T30" fmla="*/ 3977 w 503"/>
                  <a:gd name="T31" fmla="*/ 25484 h 303"/>
                  <a:gd name="T32" fmla="*/ 7158 w 503"/>
                  <a:gd name="T33" fmla="*/ 19113 h 303"/>
                  <a:gd name="T34" fmla="*/ 10339 w 503"/>
                  <a:gd name="T35" fmla="*/ 15927 h 303"/>
                  <a:gd name="T36" fmla="*/ 7158 w 503"/>
                  <a:gd name="T37" fmla="*/ 6371 h 303"/>
                  <a:gd name="T38" fmla="*/ 14316 w 503"/>
                  <a:gd name="T39" fmla="*/ 3185 h 303"/>
                  <a:gd name="T40" fmla="*/ 20679 w 503"/>
                  <a:gd name="T41" fmla="*/ 3185 h 303"/>
                  <a:gd name="T42" fmla="*/ 31018 w 503"/>
                  <a:gd name="T43" fmla="*/ 6371 h 303"/>
                  <a:gd name="T44" fmla="*/ 34994 w 503"/>
                  <a:gd name="T45" fmla="*/ 6371 h 303"/>
                  <a:gd name="T46" fmla="*/ 38176 w 503"/>
                  <a:gd name="T47" fmla="*/ 6371 h 303"/>
                  <a:gd name="T48" fmla="*/ 42152 w 503"/>
                  <a:gd name="T49" fmla="*/ 6371 h 303"/>
                  <a:gd name="T50" fmla="*/ 48515 w 503"/>
                  <a:gd name="T51" fmla="*/ 6371 h 303"/>
                  <a:gd name="T52" fmla="*/ 52492 w 503"/>
                  <a:gd name="T53" fmla="*/ 0 h 303"/>
                  <a:gd name="T54" fmla="*/ 55673 w 503"/>
                  <a:gd name="T55" fmla="*/ 0 h 303"/>
                  <a:gd name="T56" fmla="*/ 66012 w 503"/>
                  <a:gd name="T57" fmla="*/ 0 h 303"/>
                  <a:gd name="T58" fmla="*/ 69194 w 503"/>
                  <a:gd name="T59" fmla="*/ 3185 h 303"/>
                  <a:gd name="T60" fmla="*/ 66012 w 503"/>
                  <a:gd name="T61" fmla="*/ 3185 h 303"/>
                  <a:gd name="T62" fmla="*/ 69194 w 503"/>
                  <a:gd name="T63" fmla="*/ 6371 h 303"/>
                  <a:gd name="T64" fmla="*/ 73170 w 503"/>
                  <a:gd name="T65" fmla="*/ 6371 h 303"/>
                  <a:gd name="T66" fmla="*/ 76351 w 503"/>
                  <a:gd name="T67" fmla="*/ 12742 h 303"/>
                  <a:gd name="T68" fmla="*/ 79533 w 503"/>
                  <a:gd name="T69" fmla="*/ 15927 h 303"/>
                  <a:gd name="T70" fmla="*/ 83509 w 503"/>
                  <a:gd name="T71" fmla="*/ 12742 h 303"/>
                  <a:gd name="T72" fmla="*/ 100211 w 503"/>
                  <a:gd name="T73" fmla="*/ 22298 h 303"/>
                  <a:gd name="T74" fmla="*/ 97030 w 503"/>
                  <a:gd name="T75" fmla="*/ 35040 h 303"/>
                  <a:gd name="T76" fmla="*/ 93053 w 503"/>
                  <a:gd name="T77" fmla="*/ 31855 h 303"/>
                  <a:gd name="T78" fmla="*/ 89872 w 503"/>
                  <a:gd name="T79" fmla="*/ 35040 h 303"/>
                  <a:gd name="T80" fmla="*/ 89872 w 503"/>
                  <a:gd name="T81" fmla="*/ 41411 h 303"/>
                  <a:gd name="T82" fmla="*/ 86691 w 503"/>
                  <a:gd name="T83" fmla="*/ 41411 h 303"/>
                  <a:gd name="T84" fmla="*/ 69194 w 503"/>
                  <a:gd name="T85" fmla="*/ 50968 h 303"/>
                  <a:gd name="T86" fmla="*/ 76351 w 503"/>
                  <a:gd name="T87" fmla="*/ 54153 h 303"/>
                  <a:gd name="T88" fmla="*/ 79533 w 503"/>
                  <a:gd name="T89" fmla="*/ 54153 h 303"/>
                  <a:gd name="T90" fmla="*/ 76351 w 503"/>
                  <a:gd name="T91" fmla="*/ 54153 h 303"/>
                  <a:gd name="T92" fmla="*/ 66012 w 503"/>
                  <a:gd name="T93" fmla="*/ 60524 h 303"/>
                  <a:gd name="T94" fmla="*/ 62831 w 503"/>
                  <a:gd name="T95" fmla="*/ 60524 h 303"/>
                  <a:gd name="T96" fmla="*/ 62831 w 503"/>
                  <a:gd name="T97" fmla="*/ 57339 h 303"/>
                  <a:gd name="T98" fmla="*/ 58854 w 503"/>
                  <a:gd name="T99" fmla="*/ 54153 h 303"/>
                  <a:gd name="T100" fmla="*/ 66012 w 503"/>
                  <a:gd name="T101" fmla="*/ 50968 h 303"/>
                  <a:gd name="T102" fmla="*/ 55673 w 503"/>
                  <a:gd name="T103" fmla="*/ 47782 h 303"/>
                  <a:gd name="T104" fmla="*/ 55673 w 503"/>
                  <a:gd name="T105" fmla="*/ 44597 h 303"/>
                  <a:gd name="T106" fmla="*/ 48515 w 503"/>
                  <a:gd name="T107" fmla="*/ 44597 h 303"/>
                  <a:gd name="T108" fmla="*/ 45334 w 503"/>
                  <a:gd name="T109" fmla="*/ 50968 h 303"/>
                  <a:gd name="T110" fmla="*/ 42152 w 503"/>
                  <a:gd name="T111" fmla="*/ 50968 h 303"/>
                  <a:gd name="T112" fmla="*/ 42152 w 503"/>
                  <a:gd name="T113" fmla="*/ 54153 h 30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03"/>
                  <a:gd name="T172" fmla="*/ 0 h 303"/>
                  <a:gd name="T173" fmla="*/ 503 w 503"/>
                  <a:gd name="T174" fmla="*/ 303 h 303"/>
                  <a:gd name="connsiteX0" fmla="*/ 4155 w 10000"/>
                  <a:gd name="connsiteY0" fmla="*/ 8977 h 10000"/>
                  <a:gd name="connsiteX1" fmla="*/ 4155 w 10000"/>
                  <a:gd name="connsiteY1" fmla="*/ 8977 h 10000"/>
                  <a:gd name="connsiteX2" fmla="*/ 3439 w 10000"/>
                  <a:gd name="connsiteY2" fmla="*/ 8977 h 10000"/>
                  <a:gd name="connsiteX3" fmla="*/ 3439 w 10000"/>
                  <a:gd name="connsiteY3" fmla="*/ 8416 h 10000"/>
                  <a:gd name="connsiteX4" fmla="*/ 3817 w 10000"/>
                  <a:gd name="connsiteY4" fmla="*/ 7393 h 10000"/>
                  <a:gd name="connsiteX5" fmla="*/ 4513 w 10000"/>
                  <a:gd name="connsiteY5" fmla="*/ 7393 h 10000"/>
                  <a:gd name="connsiteX6" fmla="*/ 4513 w 10000"/>
                  <a:gd name="connsiteY6" fmla="*/ 6832 h 10000"/>
                  <a:gd name="connsiteX7" fmla="*/ 4155 w 10000"/>
                  <a:gd name="connsiteY7" fmla="*/ 5809 h 10000"/>
                  <a:gd name="connsiteX8" fmla="*/ 4155 w 10000"/>
                  <a:gd name="connsiteY8" fmla="*/ 5248 h 10000"/>
                  <a:gd name="connsiteX9" fmla="*/ 3101 w 10000"/>
                  <a:gd name="connsiteY9" fmla="*/ 4752 h 10000"/>
                  <a:gd name="connsiteX10" fmla="*/ 2406 w 10000"/>
                  <a:gd name="connsiteY10" fmla="*/ 5248 h 10000"/>
                  <a:gd name="connsiteX11" fmla="*/ 1710 w 10000"/>
                  <a:gd name="connsiteY11" fmla="*/ 5809 h 10000"/>
                  <a:gd name="connsiteX12" fmla="*/ 1372 w 10000"/>
                  <a:gd name="connsiteY12" fmla="*/ 5809 h 10000"/>
                  <a:gd name="connsiteX13" fmla="*/ 338 w 10000"/>
                  <a:gd name="connsiteY13" fmla="*/ 5809 h 10000"/>
                  <a:gd name="connsiteX14" fmla="*/ 0 w 10000"/>
                  <a:gd name="connsiteY14" fmla="*/ 5248 h 10000"/>
                  <a:gd name="connsiteX15" fmla="*/ 338 w 10000"/>
                  <a:gd name="connsiteY15" fmla="*/ 4224 h 10000"/>
                  <a:gd name="connsiteX16" fmla="*/ 696 w 10000"/>
                  <a:gd name="connsiteY16" fmla="*/ 3168 h 10000"/>
                  <a:gd name="connsiteX17" fmla="*/ 1034 w 10000"/>
                  <a:gd name="connsiteY17" fmla="*/ 2640 h 10000"/>
                  <a:gd name="connsiteX18" fmla="*/ 696 w 10000"/>
                  <a:gd name="connsiteY18" fmla="*/ 1056 h 10000"/>
                  <a:gd name="connsiteX19" fmla="*/ 1372 w 10000"/>
                  <a:gd name="connsiteY19" fmla="*/ 495 h 10000"/>
                  <a:gd name="connsiteX20" fmla="*/ 2068 w 10000"/>
                  <a:gd name="connsiteY20" fmla="*/ 495 h 10000"/>
                  <a:gd name="connsiteX21" fmla="*/ 3101 w 10000"/>
                  <a:gd name="connsiteY21" fmla="*/ 1056 h 10000"/>
                  <a:gd name="connsiteX22" fmla="*/ 3439 w 10000"/>
                  <a:gd name="connsiteY22" fmla="*/ 1056 h 10000"/>
                  <a:gd name="connsiteX23" fmla="*/ 3817 w 10000"/>
                  <a:gd name="connsiteY23" fmla="*/ 1056 h 10000"/>
                  <a:gd name="connsiteX24" fmla="*/ 4155 w 10000"/>
                  <a:gd name="connsiteY24" fmla="*/ 1056 h 10000"/>
                  <a:gd name="connsiteX25" fmla="*/ 4851 w 10000"/>
                  <a:gd name="connsiteY25" fmla="*/ 1056 h 10000"/>
                  <a:gd name="connsiteX26" fmla="*/ 5189 w 10000"/>
                  <a:gd name="connsiteY26" fmla="*/ 0 h 10000"/>
                  <a:gd name="connsiteX27" fmla="*/ 5527 w 10000"/>
                  <a:gd name="connsiteY27" fmla="*/ 0 h 10000"/>
                  <a:gd name="connsiteX28" fmla="*/ 6561 w 10000"/>
                  <a:gd name="connsiteY28" fmla="*/ 0 h 10000"/>
                  <a:gd name="connsiteX29" fmla="*/ 6918 w 10000"/>
                  <a:gd name="connsiteY29" fmla="*/ 495 h 10000"/>
                  <a:gd name="connsiteX30" fmla="*/ 6561 w 10000"/>
                  <a:gd name="connsiteY30" fmla="*/ 495 h 10000"/>
                  <a:gd name="connsiteX31" fmla="*/ 6918 w 10000"/>
                  <a:gd name="connsiteY31" fmla="*/ 1056 h 10000"/>
                  <a:gd name="connsiteX32" fmla="*/ 7256 w 10000"/>
                  <a:gd name="connsiteY32" fmla="*/ 1056 h 10000"/>
                  <a:gd name="connsiteX33" fmla="*/ 7594 w 10000"/>
                  <a:gd name="connsiteY33" fmla="*/ 2079 h 10000"/>
                  <a:gd name="connsiteX34" fmla="*/ 7932 w 10000"/>
                  <a:gd name="connsiteY34" fmla="*/ 2640 h 10000"/>
                  <a:gd name="connsiteX35" fmla="*/ 8290 w 10000"/>
                  <a:gd name="connsiteY35" fmla="*/ 2079 h 10000"/>
                  <a:gd name="connsiteX36" fmla="*/ 10000 w 10000"/>
                  <a:gd name="connsiteY36" fmla="*/ 3663 h 10000"/>
                  <a:gd name="connsiteX37" fmla="*/ 9662 w 10000"/>
                  <a:gd name="connsiteY37" fmla="*/ 5809 h 10000"/>
                  <a:gd name="connsiteX38" fmla="*/ 9304 w 10000"/>
                  <a:gd name="connsiteY38" fmla="*/ 5248 h 10000"/>
                  <a:gd name="connsiteX39" fmla="*/ 8966 w 10000"/>
                  <a:gd name="connsiteY39" fmla="*/ 5809 h 10000"/>
                  <a:gd name="connsiteX40" fmla="*/ 8966 w 10000"/>
                  <a:gd name="connsiteY40" fmla="*/ 6832 h 10000"/>
                  <a:gd name="connsiteX41" fmla="*/ 8628 w 10000"/>
                  <a:gd name="connsiteY41" fmla="*/ 6832 h 10000"/>
                  <a:gd name="connsiteX42" fmla="*/ 6918 w 10000"/>
                  <a:gd name="connsiteY42" fmla="*/ 8416 h 10000"/>
                  <a:gd name="connsiteX43" fmla="*/ 7594 w 10000"/>
                  <a:gd name="connsiteY43" fmla="*/ 8977 h 10000"/>
                  <a:gd name="connsiteX44" fmla="*/ 7932 w 10000"/>
                  <a:gd name="connsiteY44" fmla="*/ 8977 h 10000"/>
                  <a:gd name="connsiteX45" fmla="*/ 7594 w 10000"/>
                  <a:gd name="connsiteY45" fmla="*/ 8977 h 10000"/>
                  <a:gd name="connsiteX46" fmla="*/ 6223 w 10000"/>
                  <a:gd name="connsiteY46" fmla="*/ 10000 h 10000"/>
                  <a:gd name="connsiteX47" fmla="*/ 6223 w 10000"/>
                  <a:gd name="connsiteY47" fmla="*/ 9505 h 10000"/>
                  <a:gd name="connsiteX48" fmla="*/ 5885 w 10000"/>
                  <a:gd name="connsiteY48" fmla="*/ 8977 h 10000"/>
                  <a:gd name="connsiteX49" fmla="*/ 6561 w 10000"/>
                  <a:gd name="connsiteY49" fmla="*/ 8416 h 10000"/>
                  <a:gd name="connsiteX50" fmla="*/ 5527 w 10000"/>
                  <a:gd name="connsiteY50" fmla="*/ 7921 h 10000"/>
                  <a:gd name="connsiteX51" fmla="*/ 5527 w 10000"/>
                  <a:gd name="connsiteY51" fmla="*/ 7393 h 10000"/>
                  <a:gd name="connsiteX52" fmla="*/ 4851 w 10000"/>
                  <a:gd name="connsiteY52" fmla="*/ 7393 h 10000"/>
                  <a:gd name="connsiteX53" fmla="*/ 4513 w 10000"/>
                  <a:gd name="connsiteY53" fmla="*/ 8416 h 10000"/>
                  <a:gd name="connsiteX54" fmla="*/ 4155 w 10000"/>
                  <a:gd name="connsiteY54" fmla="*/ 8416 h 10000"/>
                  <a:gd name="connsiteX55" fmla="*/ 4155 w 10000"/>
                  <a:gd name="connsiteY55" fmla="*/ 8977 h 10000"/>
                  <a:gd name="connsiteX0" fmla="*/ 4155 w 10000"/>
                  <a:gd name="connsiteY0" fmla="*/ 8977 h 9505"/>
                  <a:gd name="connsiteX1" fmla="*/ 4155 w 10000"/>
                  <a:gd name="connsiteY1" fmla="*/ 8977 h 9505"/>
                  <a:gd name="connsiteX2" fmla="*/ 3439 w 10000"/>
                  <a:gd name="connsiteY2" fmla="*/ 8977 h 9505"/>
                  <a:gd name="connsiteX3" fmla="*/ 3439 w 10000"/>
                  <a:gd name="connsiteY3" fmla="*/ 8416 h 9505"/>
                  <a:gd name="connsiteX4" fmla="*/ 3817 w 10000"/>
                  <a:gd name="connsiteY4" fmla="*/ 7393 h 9505"/>
                  <a:gd name="connsiteX5" fmla="*/ 4513 w 10000"/>
                  <a:gd name="connsiteY5" fmla="*/ 7393 h 9505"/>
                  <a:gd name="connsiteX6" fmla="*/ 4513 w 10000"/>
                  <a:gd name="connsiteY6" fmla="*/ 6832 h 9505"/>
                  <a:gd name="connsiteX7" fmla="*/ 4155 w 10000"/>
                  <a:gd name="connsiteY7" fmla="*/ 5809 h 9505"/>
                  <a:gd name="connsiteX8" fmla="*/ 4155 w 10000"/>
                  <a:gd name="connsiteY8" fmla="*/ 5248 h 9505"/>
                  <a:gd name="connsiteX9" fmla="*/ 3101 w 10000"/>
                  <a:gd name="connsiteY9" fmla="*/ 4752 h 9505"/>
                  <a:gd name="connsiteX10" fmla="*/ 2406 w 10000"/>
                  <a:gd name="connsiteY10" fmla="*/ 5248 h 9505"/>
                  <a:gd name="connsiteX11" fmla="*/ 1710 w 10000"/>
                  <a:gd name="connsiteY11" fmla="*/ 5809 h 9505"/>
                  <a:gd name="connsiteX12" fmla="*/ 1372 w 10000"/>
                  <a:gd name="connsiteY12" fmla="*/ 5809 h 9505"/>
                  <a:gd name="connsiteX13" fmla="*/ 338 w 10000"/>
                  <a:gd name="connsiteY13" fmla="*/ 5809 h 9505"/>
                  <a:gd name="connsiteX14" fmla="*/ 0 w 10000"/>
                  <a:gd name="connsiteY14" fmla="*/ 5248 h 9505"/>
                  <a:gd name="connsiteX15" fmla="*/ 338 w 10000"/>
                  <a:gd name="connsiteY15" fmla="*/ 4224 h 9505"/>
                  <a:gd name="connsiteX16" fmla="*/ 696 w 10000"/>
                  <a:gd name="connsiteY16" fmla="*/ 3168 h 9505"/>
                  <a:gd name="connsiteX17" fmla="*/ 1034 w 10000"/>
                  <a:gd name="connsiteY17" fmla="*/ 2640 h 9505"/>
                  <a:gd name="connsiteX18" fmla="*/ 696 w 10000"/>
                  <a:gd name="connsiteY18" fmla="*/ 1056 h 9505"/>
                  <a:gd name="connsiteX19" fmla="*/ 1372 w 10000"/>
                  <a:gd name="connsiteY19" fmla="*/ 495 h 9505"/>
                  <a:gd name="connsiteX20" fmla="*/ 2068 w 10000"/>
                  <a:gd name="connsiteY20" fmla="*/ 495 h 9505"/>
                  <a:gd name="connsiteX21" fmla="*/ 3101 w 10000"/>
                  <a:gd name="connsiteY21" fmla="*/ 1056 h 9505"/>
                  <a:gd name="connsiteX22" fmla="*/ 3439 w 10000"/>
                  <a:gd name="connsiteY22" fmla="*/ 1056 h 9505"/>
                  <a:gd name="connsiteX23" fmla="*/ 3817 w 10000"/>
                  <a:gd name="connsiteY23" fmla="*/ 1056 h 9505"/>
                  <a:gd name="connsiteX24" fmla="*/ 4155 w 10000"/>
                  <a:gd name="connsiteY24" fmla="*/ 1056 h 9505"/>
                  <a:gd name="connsiteX25" fmla="*/ 4851 w 10000"/>
                  <a:gd name="connsiteY25" fmla="*/ 1056 h 9505"/>
                  <a:gd name="connsiteX26" fmla="*/ 5189 w 10000"/>
                  <a:gd name="connsiteY26" fmla="*/ 0 h 9505"/>
                  <a:gd name="connsiteX27" fmla="*/ 5527 w 10000"/>
                  <a:gd name="connsiteY27" fmla="*/ 0 h 9505"/>
                  <a:gd name="connsiteX28" fmla="*/ 6561 w 10000"/>
                  <a:gd name="connsiteY28" fmla="*/ 0 h 9505"/>
                  <a:gd name="connsiteX29" fmla="*/ 6918 w 10000"/>
                  <a:gd name="connsiteY29" fmla="*/ 495 h 9505"/>
                  <a:gd name="connsiteX30" fmla="*/ 6561 w 10000"/>
                  <a:gd name="connsiteY30" fmla="*/ 495 h 9505"/>
                  <a:gd name="connsiteX31" fmla="*/ 6918 w 10000"/>
                  <a:gd name="connsiteY31" fmla="*/ 1056 h 9505"/>
                  <a:gd name="connsiteX32" fmla="*/ 7256 w 10000"/>
                  <a:gd name="connsiteY32" fmla="*/ 1056 h 9505"/>
                  <a:gd name="connsiteX33" fmla="*/ 7594 w 10000"/>
                  <a:gd name="connsiteY33" fmla="*/ 2079 h 9505"/>
                  <a:gd name="connsiteX34" fmla="*/ 7932 w 10000"/>
                  <a:gd name="connsiteY34" fmla="*/ 2640 h 9505"/>
                  <a:gd name="connsiteX35" fmla="*/ 8290 w 10000"/>
                  <a:gd name="connsiteY35" fmla="*/ 2079 h 9505"/>
                  <a:gd name="connsiteX36" fmla="*/ 10000 w 10000"/>
                  <a:gd name="connsiteY36" fmla="*/ 3663 h 9505"/>
                  <a:gd name="connsiteX37" fmla="*/ 9662 w 10000"/>
                  <a:gd name="connsiteY37" fmla="*/ 5809 h 9505"/>
                  <a:gd name="connsiteX38" fmla="*/ 9304 w 10000"/>
                  <a:gd name="connsiteY38" fmla="*/ 5248 h 9505"/>
                  <a:gd name="connsiteX39" fmla="*/ 8966 w 10000"/>
                  <a:gd name="connsiteY39" fmla="*/ 5809 h 9505"/>
                  <a:gd name="connsiteX40" fmla="*/ 8966 w 10000"/>
                  <a:gd name="connsiteY40" fmla="*/ 6832 h 9505"/>
                  <a:gd name="connsiteX41" fmla="*/ 8628 w 10000"/>
                  <a:gd name="connsiteY41" fmla="*/ 6832 h 9505"/>
                  <a:gd name="connsiteX42" fmla="*/ 6918 w 10000"/>
                  <a:gd name="connsiteY42" fmla="*/ 8416 h 9505"/>
                  <a:gd name="connsiteX43" fmla="*/ 7594 w 10000"/>
                  <a:gd name="connsiteY43" fmla="*/ 8977 h 9505"/>
                  <a:gd name="connsiteX44" fmla="*/ 7932 w 10000"/>
                  <a:gd name="connsiteY44" fmla="*/ 8977 h 9505"/>
                  <a:gd name="connsiteX45" fmla="*/ 7594 w 10000"/>
                  <a:gd name="connsiteY45" fmla="*/ 8977 h 9505"/>
                  <a:gd name="connsiteX46" fmla="*/ 6223 w 10000"/>
                  <a:gd name="connsiteY46" fmla="*/ 9505 h 9505"/>
                  <a:gd name="connsiteX47" fmla="*/ 5885 w 10000"/>
                  <a:gd name="connsiteY47" fmla="*/ 8977 h 9505"/>
                  <a:gd name="connsiteX48" fmla="*/ 6561 w 10000"/>
                  <a:gd name="connsiteY48" fmla="*/ 8416 h 9505"/>
                  <a:gd name="connsiteX49" fmla="*/ 5527 w 10000"/>
                  <a:gd name="connsiteY49" fmla="*/ 7921 h 9505"/>
                  <a:gd name="connsiteX50" fmla="*/ 5527 w 10000"/>
                  <a:gd name="connsiteY50" fmla="*/ 7393 h 9505"/>
                  <a:gd name="connsiteX51" fmla="*/ 4851 w 10000"/>
                  <a:gd name="connsiteY51" fmla="*/ 7393 h 9505"/>
                  <a:gd name="connsiteX52" fmla="*/ 4513 w 10000"/>
                  <a:gd name="connsiteY52" fmla="*/ 8416 h 9505"/>
                  <a:gd name="connsiteX53" fmla="*/ 4155 w 10000"/>
                  <a:gd name="connsiteY53" fmla="*/ 8416 h 9505"/>
                  <a:gd name="connsiteX54" fmla="*/ 4155 w 10000"/>
                  <a:gd name="connsiteY54" fmla="*/ 8977 h 9505"/>
                  <a:gd name="connsiteX0" fmla="*/ 4155 w 10000"/>
                  <a:gd name="connsiteY0" fmla="*/ 9445 h 9445"/>
                  <a:gd name="connsiteX1" fmla="*/ 4155 w 10000"/>
                  <a:gd name="connsiteY1" fmla="*/ 9445 h 9445"/>
                  <a:gd name="connsiteX2" fmla="*/ 3439 w 10000"/>
                  <a:gd name="connsiteY2" fmla="*/ 9445 h 9445"/>
                  <a:gd name="connsiteX3" fmla="*/ 3439 w 10000"/>
                  <a:gd name="connsiteY3" fmla="*/ 8854 h 9445"/>
                  <a:gd name="connsiteX4" fmla="*/ 3817 w 10000"/>
                  <a:gd name="connsiteY4" fmla="*/ 7778 h 9445"/>
                  <a:gd name="connsiteX5" fmla="*/ 4513 w 10000"/>
                  <a:gd name="connsiteY5" fmla="*/ 7778 h 9445"/>
                  <a:gd name="connsiteX6" fmla="*/ 4513 w 10000"/>
                  <a:gd name="connsiteY6" fmla="*/ 7188 h 9445"/>
                  <a:gd name="connsiteX7" fmla="*/ 4155 w 10000"/>
                  <a:gd name="connsiteY7" fmla="*/ 6112 h 9445"/>
                  <a:gd name="connsiteX8" fmla="*/ 4155 w 10000"/>
                  <a:gd name="connsiteY8" fmla="*/ 5521 h 9445"/>
                  <a:gd name="connsiteX9" fmla="*/ 3101 w 10000"/>
                  <a:gd name="connsiteY9" fmla="*/ 4999 h 9445"/>
                  <a:gd name="connsiteX10" fmla="*/ 2406 w 10000"/>
                  <a:gd name="connsiteY10" fmla="*/ 5521 h 9445"/>
                  <a:gd name="connsiteX11" fmla="*/ 1710 w 10000"/>
                  <a:gd name="connsiteY11" fmla="*/ 6112 h 9445"/>
                  <a:gd name="connsiteX12" fmla="*/ 1372 w 10000"/>
                  <a:gd name="connsiteY12" fmla="*/ 6112 h 9445"/>
                  <a:gd name="connsiteX13" fmla="*/ 338 w 10000"/>
                  <a:gd name="connsiteY13" fmla="*/ 6112 h 9445"/>
                  <a:gd name="connsiteX14" fmla="*/ 0 w 10000"/>
                  <a:gd name="connsiteY14" fmla="*/ 5521 h 9445"/>
                  <a:gd name="connsiteX15" fmla="*/ 338 w 10000"/>
                  <a:gd name="connsiteY15" fmla="*/ 4444 h 9445"/>
                  <a:gd name="connsiteX16" fmla="*/ 696 w 10000"/>
                  <a:gd name="connsiteY16" fmla="*/ 3333 h 9445"/>
                  <a:gd name="connsiteX17" fmla="*/ 1034 w 10000"/>
                  <a:gd name="connsiteY17" fmla="*/ 2777 h 9445"/>
                  <a:gd name="connsiteX18" fmla="*/ 696 w 10000"/>
                  <a:gd name="connsiteY18" fmla="*/ 1111 h 9445"/>
                  <a:gd name="connsiteX19" fmla="*/ 1372 w 10000"/>
                  <a:gd name="connsiteY19" fmla="*/ 521 h 9445"/>
                  <a:gd name="connsiteX20" fmla="*/ 2068 w 10000"/>
                  <a:gd name="connsiteY20" fmla="*/ 521 h 9445"/>
                  <a:gd name="connsiteX21" fmla="*/ 3101 w 10000"/>
                  <a:gd name="connsiteY21" fmla="*/ 1111 h 9445"/>
                  <a:gd name="connsiteX22" fmla="*/ 3439 w 10000"/>
                  <a:gd name="connsiteY22" fmla="*/ 1111 h 9445"/>
                  <a:gd name="connsiteX23" fmla="*/ 3817 w 10000"/>
                  <a:gd name="connsiteY23" fmla="*/ 1111 h 9445"/>
                  <a:gd name="connsiteX24" fmla="*/ 4155 w 10000"/>
                  <a:gd name="connsiteY24" fmla="*/ 1111 h 9445"/>
                  <a:gd name="connsiteX25" fmla="*/ 4851 w 10000"/>
                  <a:gd name="connsiteY25" fmla="*/ 1111 h 9445"/>
                  <a:gd name="connsiteX26" fmla="*/ 5189 w 10000"/>
                  <a:gd name="connsiteY26" fmla="*/ 0 h 9445"/>
                  <a:gd name="connsiteX27" fmla="*/ 5527 w 10000"/>
                  <a:gd name="connsiteY27" fmla="*/ 0 h 9445"/>
                  <a:gd name="connsiteX28" fmla="*/ 6561 w 10000"/>
                  <a:gd name="connsiteY28" fmla="*/ 0 h 9445"/>
                  <a:gd name="connsiteX29" fmla="*/ 6918 w 10000"/>
                  <a:gd name="connsiteY29" fmla="*/ 521 h 9445"/>
                  <a:gd name="connsiteX30" fmla="*/ 6561 w 10000"/>
                  <a:gd name="connsiteY30" fmla="*/ 521 h 9445"/>
                  <a:gd name="connsiteX31" fmla="*/ 6918 w 10000"/>
                  <a:gd name="connsiteY31" fmla="*/ 1111 h 9445"/>
                  <a:gd name="connsiteX32" fmla="*/ 7256 w 10000"/>
                  <a:gd name="connsiteY32" fmla="*/ 1111 h 9445"/>
                  <a:gd name="connsiteX33" fmla="*/ 7594 w 10000"/>
                  <a:gd name="connsiteY33" fmla="*/ 2187 h 9445"/>
                  <a:gd name="connsiteX34" fmla="*/ 7932 w 10000"/>
                  <a:gd name="connsiteY34" fmla="*/ 2777 h 9445"/>
                  <a:gd name="connsiteX35" fmla="*/ 8290 w 10000"/>
                  <a:gd name="connsiteY35" fmla="*/ 2187 h 9445"/>
                  <a:gd name="connsiteX36" fmla="*/ 10000 w 10000"/>
                  <a:gd name="connsiteY36" fmla="*/ 3854 h 9445"/>
                  <a:gd name="connsiteX37" fmla="*/ 9662 w 10000"/>
                  <a:gd name="connsiteY37" fmla="*/ 6112 h 9445"/>
                  <a:gd name="connsiteX38" fmla="*/ 9304 w 10000"/>
                  <a:gd name="connsiteY38" fmla="*/ 5521 h 9445"/>
                  <a:gd name="connsiteX39" fmla="*/ 8966 w 10000"/>
                  <a:gd name="connsiteY39" fmla="*/ 6112 h 9445"/>
                  <a:gd name="connsiteX40" fmla="*/ 8966 w 10000"/>
                  <a:gd name="connsiteY40" fmla="*/ 7188 h 9445"/>
                  <a:gd name="connsiteX41" fmla="*/ 8628 w 10000"/>
                  <a:gd name="connsiteY41" fmla="*/ 7188 h 9445"/>
                  <a:gd name="connsiteX42" fmla="*/ 6918 w 10000"/>
                  <a:gd name="connsiteY42" fmla="*/ 8854 h 9445"/>
                  <a:gd name="connsiteX43" fmla="*/ 7594 w 10000"/>
                  <a:gd name="connsiteY43" fmla="*/ 9445 h 9445"/>
                  <a:gd name="connsiteX44" fmla="*/ 7932 w 10000"/>
                  <a:gd name="connsiteY44" fmla="*/ 9445 h 9445"/>
                  <a:gd name="connsiteX45" fmla="*/ 7594 w 10000"/>
                  <a:gd name="connsiteY45" fmla="*/ 9445 h 9445"/>
                  <a:gd name="connsiteX46" fmla="*/ 5885 w 10000"/>
                  <a:gd name="connsiteY46" fmla="*/ 9445 h 9445"/>
                  <a:gd name="connsiteX47" fmla="*/ 6561 w 10000"/>
                  <a:gd name="connsiteY47" fmla="*/ 8854 h 9445"/>
                  <a:gd name="connsiteX48" fmla="*/ 5527 w 10000"/>
                  <a:gd name="connsiteY48" fmla="*/ 8334 h 9445"/>
                  <a:gd name="connsiteX49" fmla="*/ 5527 w 10000"/>
                  <a:gd name="connsiteY49" fmla="*/ 7778 h 9445"/>
                  <a:gd name="connsiteX50" fmla="*/ 4851 w 10000"/>
                  <a:gd name="connsiteY50" fmla="*/ 7778 h 9445"/>
                  <a:gd name="connsiteX51" fmla="*/ 4513 w 10000"/>
                  <a:gd name="connsiteY51" fmla="*/ 8854 h 9445"/>
                  <a:gd name="connsiteX52" fmla="*/ 4155 w 10000"/>
                  <a:gd name="connsiteY52" fmla="*/ 8854 h 9445"/>
                  <a:gd name="connsiteX53" fmla="*/ 4155 w 10000"/>
                  <a:gd name="connsiteY53" fmla="*/ 9445 h 9445"/>
                  <a:gd name="connsiteX0" fmla="*/ 4155 w 10000"/>
                  <a:gd name="connsiteY0" fmla="*/ 10000 h 10000"/>
                  <a:gd name="connsiteX1" fmla="*/ 4155 w 10000"/>
                  <a:gd name="connsiteY1" fmla="*/ 10000 h 10000"/>
                  <a:gd name="connsiteX2" fmla="*/ 3439 w 10000"/>
                  <a:gd name="connsiteY2" fmla="*/ 10000 h 10000"/>
                  <a:gd name="connsiteX3" fmla="*/ 3439 w 10000"/>
                  <a:gd name="connsiteY3" fmla="*/ 9374 h 10000"/>
                  <a:gd name="connsiteX4" fmla="*/ 3817 w 10000"/>
                  <a:gd name="connsiteY4" fmla="*/ 8235 h 10000"/>
                  <a:gd name="connsiteX5" fmla="*/ 4513 w 10000"/>
                  <a:gd name="connsiteY5" fmla="*/ 8235 h 10000"/>
                  <a:gd name="connsiteX6" fmla="*/ 4513 w 10000"/>
                  <a:gd name="connsiteY6" fmla="*/ 7610 h 10000"/>
                  <a:gd name="connsiteX7" fmla="*/ 4155 w 10000"/>
                  <a:gd name="connsiteY7" fmla="*/ 6471 h 10000"/>
                  <a:gd name="connsiteX8" fmla="*/ 4155 w 10000"/>
                  <a:gd name="connsiteY8" fmla="*/ 5845 h 10000"/>
                  <a:gd name="connsiteX9" fmla="*/ 3101 w 10000"/>
                  <a:gd name="connsiteY9" fmla="*/ 5293 h 10000"/>
                  <a:gd name="connsiteX10" fmla="*/ 2406 w 10000"/>
                  <a:gd name="connsiteY10" fmla="*/ 5845 h 10000"/>
                  <a:gd name="connsiteX11" fmla="*/ 1710 w 10000"/>
                  <a:gd name="connsiteY11" fmla="*/ 6471 h 10000"/>
                  <a:gd name="connsiteX12" fmla="*/ 1372 w 10000"/>
                  <a:gd name="connsiteY12" fmla="*/ 6471 h 10000"/>
                  <a:gd name="connsiteX13" fmla="*/ 338 w 10000"/>
                  <a:gd name="connsiteY13" fmla="*/ 6471 h 10000"/>
                  <a:gd name="connsiteX14" fmla="*/ 0 w 10000"/>
                  <a:gd name="connsiteY14" fmla="*/ 5845 h 10000"/>
                  <a:gd name="connsiteX15" fmla="*/ 338 w 10000"/>
                  <a:gd name="connsiteY15" fmla="*/ 4705 h 10000"/>
                  <a:gd name="connsiteX16" fmla="*/ 696 w 10000"/>
                  <a:gd name="connsiteY16" fmla="*/ 3529 h 10000"/>
                  <a:gd name="connsiteX17" fmla="*/ 1034 w 10000"/>
                  <a:gd name="connsiteY17" fmla="*/ 2940 h 10000"/>
                  <a:gd name="connsiteX18" fmla="*/ 696 w 10000"/>
                  <a:gd name="connsiteY18" fmla="*/ 1176 h 10000"/>
                  <a:gd name="connsiteX19" fmla="*/ 1372 w 10000"/>
                  <a:gd name="connsiteY19" fmla="*/ 552 h 10000"/>
                  <a:gd name="connsiteX20" fmla="*/ 2068 w 10000"/>
                  <a:gd name="connsiteY20" fmla="*/ 552 h 10000"/>
                  <a:gd name="connsiteX21" fmla="*/ 3101 w 10000"/>
                  <a:gd name="connsiteY21" fmla="*/ 1176 h 10000"/>
                  <a:gd name="connsiteX22" fmla="*/ 3439 w 10000"/>
                  <a:gd name="connsiteY22" fmla="*/ 1176 h 10000"/>
                  <a:gd name="connsiteX23" fmla="*/ 3817 w 10000"/>
                  <a:gd name="connsiteY23" fmla="*/ 1176 h 10000"/>
                  <a:gd name="connsiteX24" fmla="*/ 4155 w 10000"/>
                  <a:gd name="connsiteY24" fmla="*/ 1176 h 10000"/>
                  <a:gd name="connsiteX25" fmla="*/ 4851 w 10000"/>
                  <a:gd name="connsiteY25" fmla="*/ 1176 h 10000"/>
                  <a:gd name="connsiteX26" fmla="*/ 5189 w 10000"/>
                  <a:gd name="connsiteY26" fmla="*/ 0 h 10000"/>
                  <a:gd name="connsiteX27" fmla="*/ 5527 w 10000"/>
                  <a:gd name="connsiteY27" fmla="*/ 0 h 10000"/>
                  <a:gd name="connsiteX28" fmla="*/ 6561 w 10000"/>
                  <a:gd name="connsiteY28" fmla="*/ 0 h 10000"/>
                  <a:gd name="connsiteX29" fmla="*/ 6918 w 10000"/>
                  <a:gd name="connsiteY29" fmla="*/ 552 h 10000"/>
                  <a:gd name="connsiteX30" fmla="*/ 6561 w 10000"/>
                  <a:gd name="connsiteY30" fmla="*/ 552 h 10000"/>
                  <a:gd name="connsiteX31" fmla="*/ 6918 w 10000"/>
                  <a:gd name="connsiteY31" fmla="*/ 1176 h 10000"/>
                  <a:gd name="connsiteX32" fmla="*/ 7256 w 10000"/>
                  <a:gd name="connsiteY32" fmla="*/ 1176 h 10000"/>
                  <a:gd name="connsiteX33" fmla="*/ 7594 w 10000"/>
                  <a:gd name="connsiteY33" fmla="*/ 2316 h 10000"/>
                  <a:gd name="connsiteX34" fmla="*/ 7932 w 10000"/>
                  <a:gd name="connsiteY34" fmla="*/ 2940 h 10000"/>
                  <a:gd name="connsiteX35" fmla="*/ 8290 w 10000"/>
                  <a:gd name="connsiteY35" fmla="*/ 2316 h 10000"/>
                  <a:gd name="connsiteX36" fmla="*/ 10000 w 10000"/>
                  <a:gd name="connsiteY36" fmla="*/ 4080 h 10000"/>
                  <a:gd name="connsiteX37" fmla="*/ 9662 w 10000"/>
                  <a:gd name="connsiteY37" fmla="*/ 6471 h 10000"/>
                  <a:gd name="connsiteX38" fmla="*/ 9304 w 10000"/>
                  <a:gd name="connsiteY38" fmla="*/ 5845 h 10000"/>
                  <a:gd name="connsiteX39" fmla="*/ 8966 w 10000"/>
                  <a:gd name="connsiteY39" fmla="*/ 6471 h 10000"/>
                  <a:gd name="connsiteX40" fmla="*/ 8966 w 10000"/>
                  <a:gd name="connsiteY40" fmla="*/ 7610 h 10000"/>
                  <a:gd name="connsiteX41" fmla="*/ 8628 w 10000"/>
                  <a:gd name="connsiteY41" fmla="*/ 7610 h 10000"/>
                  <a:gd name="connsiteX42" fmla="*/ 6918 w 10000"/>
                  <a:gd name="connsiteY42" fmla="*/ 9374 h 10000"/>
                  <a:gd name="connsiteX43" fmla="*/ 7594 w 10000"/>
                  <a:gd name="connsiteY43" fmla="*/ 10000 h 10000"/>
                  <a:gd name="connsiteX44" fmla="*/ 7932 w 10000"/>
                  <a:gd name="connsiteY44" fmla="*/ 10000 h 10000"/>
                  <a:gd name="connsiteX45" fmla="*/ 7594 w 10000"/>
                  <a:gd name="connsiteY45" fmla="*/ 10000 h 10000"/>
                  <a:gd name="connsiteX46" fmla="*/ 6561 w 10000"/>
                  <a:gd name="connsiteY46" fmla="*/ 9374 h 10000"/>
                  <a:gd name="connsiteX47" fmla="*/ 5527 w 10000"/>
                  <a:gd name="connsiteY47" fmla="*/ 8824 h 10000"/>
                  <a:gd name="connsiteX48" fmla="*/ 5527 w 10000"/>
                  <a:gd name="connsiteY48" fmla="*/ 8235 h 10000"/>
                  <a:gd name="connsiteX49" fmla="*/ 4851 w 10000"/>
                  <a:gd name="connsiteY49" fmla="*/ 8235 h 10000"/>
                  <a:gd name="connsiteX50" fmla="*/ 4513 w 10000"/>
                  <a:gd name="connsiteY50" fmla="*/ 9374 h 10000"/>
                  <a:gd name="connsiteX51" fmla="*/ 4155 w 10000"/>
                  <a:gd name="connsiteY51" fmla="*/ 9374 h 10000"/>
                  <a:gd name="connsiteX52" fmla="*/ 4155 w 10000"/>
                  <a:gd name="connsiteY52" fmla="*/ 10000 h 10000"/>
                  <a:gd name="connsiteX0" fmla="*/ 4155 w 10000"/>
                  <a:gd name="connsiteY0" fmla="*/ 10000 h 10000"/>
                  <a:gd name="connsiteX1" fmla="*/ 4155 w 10000"/>
                  <a:gd name="connsiteY1" fmla="*/ 10000 h 10000"/>
                  <a:gd name="connsiteX2" fmla="*/ 3439 w 10000"/>
                  <a:gd name="connsiteY2" fmla="*/ 10000 h 10000"/>
                  <a:gd name="connsiteX3" fmla="*/ 3439 w 10000"/>
                  <a:gd name="connsiteY3" fmla="*/ 9374 h 10000"/>
                  <a:gd name="connsiteX4" fmla="*/ 3817 w 10000"/>
                  <a:gd name="connsiteY4" fmla="*/ 8235 h 10000"/>
                  <a:gd name="connsiteX5" fmla="*/ 4513 w 10000"/>
                  <a:gd name="connsiteY5" fmla="*/ 8235 h 10000"/>
                  <a:gd name="connsiteX6" fmla="*/ 4513 w 10000"/>
                  <a:gd name="connsiteY6" fmla="*/ 7610 h 10000"/>
                  <a:gd name="connsiteX7" fmla="*/ 4155 w 10000"/>
                  <a:gd name="connsiteY7" fmla="*/ 6471 h 10000"/>
                  <a:gd name="connsiteX8" fmla="*/ 4155 w 10000"/>
                  <a:gd name="connsiteY8" fmla="*/ 5845 h 10000"/>
                  <a:gd name="connsiteX9" fmla="*/ 3101 w 10000"/>
                  <a:gd name="connsiteY9" fmla="*/ 5293 h 10000"/>
                  <a:gd name="connsiteX10" fmla="*/ 2406 w 10000"/>
                  <a:gd name="connsiteY10" fmla="*/ 5845 h 10000"/>
                  <a:gd name="connsiteX11" fmla="*/ 1710 w 10000"/>
                  <a:gd name="connsiteY11" fmla="*/ 6471 h 10000"/>
                  <a:gd name="connsiteX12" fmla="*/ 1372 w 10000"/>
                  <a:gd name="connsiteY12" fmla="*/ 6471 h 10000"/>
                  <a:gd name="connsiteX13" fmla="*/ 338 w 10000"/>
                  <a:gd name="connsiteY13" fmla="*/ 6471 h 10000"/>
                  <a:gd name="connsiteX14" fmla="*/ 0 w 10000"/>
                  <a:gd name="connsiteY14" fmla="*/ 5845 h 10000"/>
                  <a:gd name="connsiteX15" fmla="*/ 338 w 10000"/>
                  <a:gd name="connsiteY15" fmla="*/ 4705 h 10000"/>
                  <a:gd name="connsiteX16" fmla="*/ 696 w 10000"/>
                  <a:gd name="connsiteY16" fmla="*/ 3529 h 10000"/>
                  <a:gd name="connsiteX17" fmla="*/ 1034 w 10000"/>
                  <a:gd name="connsiteY17" fmla="*/ 2940 h 10000"/>
                  <a:gd name="connsiteX18" fmla="*/ 696 w 10000"/>
                  <a:gd name="connsiteY18" fmla="*/ 1176 h 10000"/>
                  <a:gd name="connsiteX19" fmla="*/ 1372 w 10000"/>
                  <a:gd name="connsiteY19" fmla="*/ 552 h 10000"/>
                  <a:gd name="connsiteX20" fmla="*/ 2068 w 10000"/>
                  <a:gd name="connsiteY20" fmla="*/ 552 h 10000"/>
                  <a:gd name="connsiteX21" fmla="*/ 3101 w 10000"/>
                  <a:gd name="connsiteY21" fmla="*/ 1176 h 10000"/>
                  <a:gd name="connsiteX22" fmla="*/ 3439 w 10000"/>
                  <a:gd name="connsiteY22" fmla="*/ 1176 h 10000"/>
                  <a:gd name="connsiteX23" fmla="*/ 3817 w 10000"/>
                  <a:gd name="connsiteY23" fmla="*/ 1176 h 10000"/>
                  <a:gd name="connsiteX24" fmla="*/ 4155 w 10000"/>
                  <a:gd name="connsiteY24" fmla="*/ 1176 h 10000"/>
                  <a:gd name="connsiteX25" fmla="*/ 4851 w 10000"/>
                  <a:gd name="connsiteY25" fmla="*/ 1176 h 10000"/>
                  <a:gd name="connsiteX26" fmla="*/ 5189 w 10000"/>
                  <a:gd name="connsiteY26" fmla="*/ 0 h 10000"/>
                  <a:gd name="connsiteX27" fmla="*/ 5527 w 10000"/>
                  <a:gd name="connsiteY27" fmla="*/ 0 h 10000"/>
                  <a:gd name="connsiteX28" fmla="*/ 6561 w 10000"/>
                  <a:gd name="connsiteY28" fmla="*/ 0 h 10000"/>
                  <a:gd name="connsiteX29" fmla="*/ 6918 w 10000"/>
                  <a:gd name="connsiteY29" fmla="*/ 552 h 10000"/>
                  <a:gd name="connsiteX30" fmla="*/ 6561 w 10000"/>
                  <a:gd name="connsiteY30" fmla="*/ 552 h 10000"/>
                  <a:gd name="connsiteX31" fmla="*/ 6918 w 10000"/>
                  <a:gd name="connsiteY31" fmla="*/ 1176 h 10000"/>
                  <a:gd name="connsiteX32" fmla="*/ 7256 w 10000"/>
                  <a:gd name="connsiteY32" fmla="*/ 1176 h 10000"/>
                  <a:gd name="connsiteX33" fmla="*/ 7594 w 10000"/>
                  <a:gd name="connsiteY33" fmla="*/ 2316 h 10000"/>
                  <a:gd name="connsiteX34" fmla="*/ 7932 w 10000"/>
                  <a:gd name="connsiteY34" fmla="*/ 2940 h 10000"/>
                  <a:gd name="connsiteX35" fmla="*/ 8290 w 10000"/>
                  <a:gd name="connsiteY35" fmla="*/ 2316 h 10000"/>
                  <a:gd name="connsiteX36" fmla="*/ 10000 w 10000"/>
                  <a:gd name="connsiteY36" fmla="*/ 4080 h 10000"/>
                  <a:gd name="connsiteX37" fmla="*/ 9662 w 10000"/>
                  <a:gd name="connsiteY37" fmla="*/ 6471 h 10000"/>
                  <a:gd name="connsiteX38" fmla="*/ 9304 w 10000"/>
                  <a:gd name="connsiteY38" fmla="*/ 5845 h 10000"/>
                  <a:gd name="connsiteX39" fmla="*/ 8966 w 10000"/>
                  <a:gd name="connsiteY39" fmla="*/ 6471 h 10000"/>
                  <a:gd name="connsiteX40" fmla="*/ 8966 w 10000"/>
                  <a:gd name="connsiteY40" fmla="*/ 7610 h 10000"/>
                  <a:gd name="connsiteX41" fmla="*/ 8628 w 10000"/>
                  <a:gd name="connsiteY41" fmla="*/ 7610 h 10000"/>
                  <a:gd name="connsiteX42" fmla="*/ 6918 w 10000"/>
                  <a:gd name="connsiteY42" fmla="*/ 9374 h 10000"/>
                  <a:gd name="connsiteX43" fmla="*/ 7594 w 10000"/>
                  <a:gd name="connsiteY43" fmla="*/ 10000 h 10000"/>
                  <a:gd name="connsiteX44" fmla="*/ 7594 w 10000"/>
                  <a:gd name="connsiteY44" fmla="*/ 10000 h 10000"/>
                  <a:gd name="connsiteX45" fmla="*/ 6561 w 10000"/>
                  <a:gd name="connsiteY45" fmla="*/ 9374 h 10000"/>
                  <a:gd name="connsiteX46" fmla="*/ 5527 w 10000"/>
                  <a:gd name="connsiteY46" fmla="*/ 8824 h 10000"/>
                  <a:gd name="connsiteX47" fmla="*/ 5527 w 10000"/>
                  <a:gd name="connsiteY47" fmla="*/ 8235 h 10000"/>
                  <a:gd name="connsiteX48" fmla="*/ 4851 w 10000"/>
                  <a:gd name="connsiteY48" fmla="*/ 8235 h 10000"/>
                  <a:gd name="connsiteX49" fmla="*/ 4513 w 10000"/>
                  <a:gd name="connsiteY49" fmla="*/ 9374 h 10000"/>
                  <a:gd name="connsiteX50" fmla="*/ 4155 w 10000"/>
                  <a:gd name="connsiteY50" fmla="*/ 9374 h 10000"/>
                  <a:gd name="connsiteX51" fmla="*/ 4155 w 10000"/>
                  <a:gd name="connsiteY51" fmla="*/ 10000 h 10000"/>
                  <a:gd name="connsiteX0" fmla="*/ 4155 w 10000"/>
                  <a:gd name="connsiteY0" fmla="*/ 10000 h 10000"/>
                  <a:gd name="connsiteX1" fmla="*/ 4155 w 10000"/>
                  <a:gd name="connsiteY1" fmla="*/ 10000 h 10000"/>
                  <a:gd name="connsiteX2" fmla="*/ 3439 w 10000"/>
                  <a:gd name="connsiteY2" fmla="*/ 10000 h 10000"/>
                  <a:gd name="connsiteX3" fmla="*/ 3439 w 10000"/>
                  <a:gd name="connsiteY3" fmla="*/ 9374 h 10000"/>
                  <a:gd name="connsiteX4" fmla="*/ 3817 w 10000"/>
                  <a:gd name="connsiteY4" fmla="*/ 8235 h 10000"/>
                  <a:gd name="connsiteX5" fmla="*/ 4513 w 10000"/>
                  <a:gd name="connsiteY5" fmla="*/ 8235 h 10000"/>
                  <a:gd name="connsiteX6" fmla="*/ 4513 w 10000"/>
                  <a:gd name="connsiteY6" fmla="*/ 7610 h 10000"/>
                  <a:gd name="connsiteX7" fmla="*/ 4155 w 10000"/>
                  <a:gd name="connsiteY7" fmla="*/ 6471 h 10000"/>
                  <a:gd name="connsiteX8" fmla="*/ 4155 w 10000"/>
                  <a:gd name="connsiteY8" fmla="*/ 5845 h 10000"/>
                  <a:gd name="connsiteX9" fmla="*/ 3101 w 10000"/>
                  <a:gd name="connsiteY9" fmla="*/ 5293 h 10000"/>
                  <a:gd name="connsiteX10" fmla="*/ 2406 w 10000"/>
                  <a:gd name="connsiteY10" fmla="*/ 5845 h 10000"/>
                  <a:gd name="connsiteX11" fmla="*/ 1710 w 10000"/>
                  <a:gd name="connsiteY11" fmla="*/ 6471 h 10000"/>
                  <a:gd name="connsiteX12" fmla="*/ 1372 w 10000"/>
                  <a:gd name="connsiteY12" fmla="*/ 6471 h 10000"/>
                  <a:gd name="connsiteX13" fmla="*/ 338 w 10000"/>
                  <a:gd name="connsiteY13" fmla="*/ 6471 h 10000"/>
                  <a:gd name="connsiteX14" fmla="*/ 0 w 10000"/>
                  <a:gd name="connsiteY14" fmla="*/ 5845 h 10000"/>
                  <a:gd name="connsiteX15" fmla="*/ 338 w 10000"/>
                  <a:gd name="connsiteY15" fmla="*/ 4705 h 10000"/>
                  <a:gd name="connsiteX16" fmla="*/ 696 w 10000"/>
                  <a:gd name="connsiteY16" fmla="*/ 3529 h 10000"/>
                  <a:gd name="connsiteX17" fmla="*/ 1034 w 10000"/>
                  <a:gd name="connsiteY17" fmla="*/ 2940 h 10000"/>
                  <a:gd name="connsiteX18" fmla="*/ 696 w 10000"/>
                  <a:gd name="connsiteY18" fmla="*/ 1176 h 10000"/>
                  <a:gd name="connsiteX19" fmla="*/ 1372 w 10000"/>
                  <a:gd name="connsiteY19" fmla="*/ 552 h 10000"/>
                  <a:gd name="connsiteX20" fmla="*/ 2068 w 10000"/>
                  <a:gd name="connsiteY20" fmla="*/ 552 h 10000"/>
                  <a:gd name="connsiteX21" fmla="*/ 3101 w 10000"/>
                  <a:gd name="connsiteY21" fmla="*/ 1176 h 10000"/>
                  <a:gd name="connsiteX22" fmla="*/ 3439 w 10000"/>
                  <a:gd name="connsiteY22" fmla="*/ 1176 h 10000"/>
                  <a:gd name="connsiteX23" fmla="*/ 3817 w 10000"/>
                  <a:gd name="connsiteY23" fmla="*/ 1176 h 10000"/>
                  <a:gd name="connsiteX24" fmla="*/ 4155 w 10000"/>
                  <a:gd name="connsiteY24" fmla="*/ 1176 h 10000"/>
                  <a:gd name="connsiteX25" fmla="*/ 4851 w 10000"/>
                  <a:gd name="connsiteY25" fmla="*/ 1176 h 10000"/>
                  <a:gd name="connsiteX26" fmla="*/ 5189 w 10000"/>
                  <a:gd name="connsiteY26" fmla="*/ 0 h 10000"/>
                  <a:gd name="connsiteX27" fmla="*/ 5527 w 10000"/>
                  <a:gd name="connsiteY27" fmla="*/ 0 h 10000"/>
                  <a:gd name="connsiteX28" fmla="*/ 6561 w 10000"/>
                  <a:gd name="connsiteY28" fmla="*/ 0 h 10000"/>
                  <a:gd name="connsiteX29" fmla="*/ 6918 w 10000"/>
                  <a:gd name="connsiteY29" fmla="*/ 552 h 10000"/>
                  <a:gd name="connsiteX30" fmla="*/ 6561 w 10000"/>
                  <a:gd name="connsiteY30" fmla="*/ 552 h 10000"/>
                  <a:gd name="connsiteX31" fmla="*/ 6918 w 10000"/>
                  <a:gd name="connsiteY31" fmla="*/ 1176 h 10000"/>
                  <a:gd name="connsiteX32" fmla="*/ 7256 w 10000"/>
                  <a:gd name="connsiteY32" fmla="*/ 1176 h 10000"/>
                  <a:gd name="connsiteX33" fmla="*/ 7594 w 10000"/>
                  <a:gd name="connsiteY33" fmla="*/ 2316 h 10000"/>
                  <a:gd name="connsiteX34" fmla="*/ 7932 w 10000"/>
                  <a:gd name="connsiteY34" fmla="*/ 2940 h 10000"/>
                  <a:gd name="connsiteX35" fmla="*/ 8290 w 10000"/>
                  <a:gd name="connsiteY35" fmla="*/ 2316 h 10000"/>
                  <a:gd name="connsiteX36" fmla="*/ 10000 w 10000"/>
                  <a:gd name="connsiteY36" fmla="*/ 4080 h 10000"/>
                  <a:gd name="connsiteX37" fmla="*/ 9662 w 10000"/>
                  <a:gd name="connsiteY37" fmla="*/ 6471 h 10000"/>
                  <a:gd name="connsiteX38" fmla="*/ 9304 w 10000"/>
                  <a:gd name="connsiteY38" fmla="*/ 5845 h 10000"/>
                  <a:gd name="connsiteX39" fmla="*/ 8966 w 10000"/>
                  <a:gd name="connsiteY39" fmla="*/ 6471 h 10000"/>
                  <a:gd name="connsiteX40" fmla="*/ 8966 w 10000"/>
                  <a:gd name="connsiteY40" fmla="*/ 7610 h 10000"/>
                  <a:gd name="connsiteX41" fmla="*/ 8628 w 10000"/>
                  <a:gd name="connsiteY41" fmla="*/ 7610 h 10000"/>
                  <a:gd name="connsiteX42" fmla="*/ 6918 w 10000"/>
                  <a:gd name="connsiteY42" fmla="*/ 9374 h 10000"/>
                  <a:gd name="connsiteX43" fmla="*/ 7594 w 10000"/>
                  <a:gd name="connsiteY43" fmla="*/ 10000 h 10000"/>
                  <a:gd name="connsiteX44" fmla="*/ 6561 w 10000"/>
                  <a:gd name="connsiteY44" fmla="*/ 9374 h 10000"/>
                  <a:gd name="connsiteX45" fmla="*/ 5527 w 10000"/>
                  <a:gd name="connsiteY45" fmla="*/ 8824 h 10000"/>
                  <a:gd name="connsiteX46" fmla="*/ 5527 w 10000"/>
                  <a:gd name="connsiteY46" fmla="*/ 8235 h 10000"/>
                  <a:gd name="connsiteX47" fmla="*/ 4851 w 10000"/>
                  <a:gd name="connsiteY47" fmla="*/ 8235 h 10000"/>
                  <a:gd name="connsiteX48" fmla="*/ 4513 w 10000"/>
                  <a:gd name="connsiteY48" fmla="*/ 9374 h 10000"/>
                  <a:gd name="connsiteX49" fmla="*/ 4155 w 10000"/>
                  <a:gd name="connsiteY49" fmla="*/ 9374 h 10000"/>
                  <a:gd name="connsiteX50" fmla="*/ 4155 w 10000"/>
                  <a:gd name="connsiteY50" fmla="*/ 10000 h 10000"/>
                  <a:gd name="connsiteX0" fmla="*/ 4155 w 10000"/>
                  <a:gd name="connsiteY0" fmla="*/ 10000 h 10000"/>
                  <a:gd name="connsiteX1" fmla="*/ 4155 w 10000"/>
                  <a:gd name="connsiteY1" fmla="*/ 10000 h 10000"/>
                  <a:gd name="connsiteX2" fmla="*/ 3439 w 10000"/>
                  <a:gd name="connsiteY2" fmla="*/ 10000 h 10000"/>
                  <a:gd name="connsiteX3" fmla="*/ 3439 w 10000"/>
                  <a:gd name="connsiteY3" fmla="*/ 9374 h 10000"/>
                  <a:gd name="connsiteX4" fmla="*/ 3817 w 10000"/>
                  <a:gd name="connsiteY4" fmla="*/ 8235 h 10000"/>
                  <a:gd name="connsiteX5" fmla="*/ 4513 w 10000"/>
                  <a:gd name="connsiteY5" fmla="*/ 8235 h 10000"/>
                  <a:gd name="connsiteX6" fmla="*/ 4513 w 10000"/>
                  <a:gd name="connsiteY6" fmla="*/ 7610 h 10000"/>
                  <a:gd name="connsiteX7" fmla="*/ 4155 w 10000"/>
                  <a:gd name="connsiteY7" fmla="*/ 6471 h 10000"/>
                  <a:gd name="connsiteX8" fmla="*/ 4155 w 10000"/>
                  <a:gd name="connsiteY8" fmla="*/ 5845 h 10000"/>
                  <a:gd name="connsiteX9" fmla="*/ 3101 w 10000"/>
                  <a:gd name="connsiteY9" fmla="*/ 5293 h 10000"/>
                  <a:gd name="connsiteX10" fmla="*/ 2406 w 10000"/>
                  <a:gd name="connsiteY10" fmla="*/ 5845 h 10000"/>
                  <a:gd name="connsiteX11" fmla="*/ 1710 w 10000"/>
                  <a:gd name="connsiteY11" fmla="*/ 6471 h 10000"/>
                  <a:gd name="connsiteX12" fmla="*/ 1372 w 10000"/>
                  <a:gd name="connsiteY12" fmla="*/ 6471 h 10000"/>
                  <a:gd name="connsiteX13" fmla="*/ 338 w 10000"/>
                  <a:gd name="connsiteY13" fmla="*/ 6471 h 10000"/>
                  <a:gd name="connsiteX14" fmla="*/ 0 w 10000"/>
                  <a:gd name="connsiteY14" fmla="*/ 5845 h 10000"/>
                  <a:gd name="connsiteX15" fmla="*/ 338 w 10000"/>
                  <a:gd name="connsiteY15" fmla="*/ 4705 h 10000"/>
                  <a:gd name="connsiteX16" fmla="*/ 696 w 10000"/>
                  <a:gd name="connsiteY16" fmla="*/ 3529 h 10000"/>
                  <a:gd name="connsiteX17" fmla="*/ 1034 w 10000"/>
                  <a:gd name="connsiteY17" fmla="*/ 2940 h 10000"/>
                  <a:gd name="connsiteX18" fmla="*/ 696 w 10000"/>
                  <a:gd name="connsiteY18" fmla="*/ 1176 h 10000"/>
                  <a:gd name="connsiteX19" fmla="*/ 1372 w 10000"/>
                  <a:gd name="connsiteY19" fmla="*/ 552 h 10000"/>
                  <a:gd name="connsiteX20" fmla="*/ 2068 w 10000"/>
                  <a:gd name="connsiteY20" fmla="*/ 552 h 10000"/>
                  <a:gd name="connsiteX21" fmla="*/ 3101 w 10000"/>
                  <a:gd name="connsiteY21" fmla="*/ 1176 h 10000"/>
                  <a:gd name="connsiteX22" fmla="*/ 3439 w 10000"/>
                  <a:gd name="connsiteY22" fmla="*/ 1176 h 10000"/>
                  <a:gd name="connsiteX23" fmla="*/ 3817 w 10000"/>
                  <a:gd name="connsiteY23" fmla="*/ 1176 h 10000"/>
                  <a:gd name="connsiteX24" fmla="*/ 4155 w 10000"/>
                  <a:gd name="connsiteY24" fmla="*/ 1176 h 10000"/>
                  <a:gd name="connsiteX25" fmla="*/ 4851 w 10000"/>
                  <a:gd name="connsiteY25" fmla="*/ 1176 h 10000"/>
                  <a:gd name="connsiteX26" fmla="*/ 5189 w 10000"/>
                  <a:gd name="connsiteY26" fmla="*/ 0 h 10000"/>
                  <a:gd name="connsiteX27" fmla="*/ 5527 w 10000"/>
                  <a:gd name="connsiteY27" fmla="*/ 0 h 10000"/>
                  <a:gd name="connsiteX28" fmla="*/ 6561 w 10000"/>
                  <a:gd name="connsiteY28" fmla="*/ 0 h 10000"/>
                  <a:gd name="connsiteX29" fmla="*/ 6918 w 10000"/>
                  <a:gd name="connsiteY29" fmla="*/ 552 h 10000"/>
                  <a:gd name="connsiteX30" fmla="*/ 6561 w 10000"/>
                  <a:gd name="connsiteY30" fmla="*/ 552 h 10000"/>
                  <a:gd name="connsiteX31" fmla="*/ 6918 w 10000"/>
                  <a:gd name="connsiteY31" fmla="*/ 1176 h 10000"/>
                  <a:gd name="connsiteX32" fmla="*/ 7256 w 10000"/>
                  <a:gd name="connsiteY32" fmla="*/ 1176 h 10000"/>
                  <a:gd name="connsiteX33" fmla="*/ 7594 w 10000"/>
                  <a:gd name="connsiteY33" fmla="*/ 2316 h 10000"/>
                  <a:gd name="connsiteX34" fmla="*/ 7932 w 10000"/>
                  <a:gd name="connsiteY34" fmla="*/ 2940 h 10000"/>
                  <a:gd name="connsiteX35" fmla="*/ 8290 w 10000"/>
                  <a:gd name="connsiteY35" fmla="*/ 2316 h 10000"/>
                  <a:gd name="connsiteX36" fmla="*/ 10000 w 10000"/>
                  <a:gd name="connsiteY36" fmla="*/ 4080 h 10000"/>
                  <a:gd name="connsiteX37" fmla="*/ 9662 w 10000"/>
                  <a:gd name="connsiteY37" fmla="*/ 6471 h 10000"/>
                  <a:gd name="connsiteX38" fmla="*/ 9304 w 10000"/>
                  <a:gd name="connsiteY38" fmla="*/ 5845 h 10000"/>
                  <a:gd name="connsiteX39" fmla="*/ 8966 w 10000"/>
                  <a:gd name="connsiteY39" fmla="*/ 6471 h 10000"/>
                  <a:gd name="connsiteX40" fmla="*/ 8966 w 10000"/>
                  <a:gd name="connsiteY40" fmla="*/ 7610 h 10000"/>
                  <a:gd name="connsiteX41" fmla="*/ 8628 w 10000"/>
                  <a:gd name="connsiteY41" fmla="*/ 7610 h 10000"/>
                  <a:gd name="connsiteX42" fmla="*/ 6918 w 10000"/>
                  <a:gd name="connsiteY42" fmla="*/ 9374 h 10000"/>
                  <a:gd name="connsiteX43" fmla="*/ 6561 w 10000"/>
                  <a:gd name="connsiteY43" fmla="*/ 9374 h 10000"/>
                  <a:gd name="connsiteX44" fmla="*/ 5527 w 10000"/>
                  <a:gd name="connsiteY44" fmla="*/ 8824 h 10000"/>
                  <a:gd name="connsiteX45" fmla="*/ 5527 w 10000"/>
                  <a:gd name="connsiteY45" fmla="*/ 8235 h 10000"/>
                  <a:gd name="connsiteX46" fmla="*/ 4851 w 10000"/>
                  <a:gd name="connsiteY46" fmla="*/ 8235 h 10000"/>
                  <a:gd name="connsiteX47" fmla="*/ 4513 w 10000"/>
                  <a:gd name="connsiteY47" fmla="*/ 9374 h 10000"/>
                  <a:gd name="connsiteX48" fmla="*/ 4155 w 10000"/>
                  <a:gd name="connsiteY48" fmla="*/ 9374 h 10000"/>
                  <a:gd name="connsiteX49" fmla="*/ 4155 w 10000"/>
                  <a:gd name="connsiteY49" fmla="*/ 1000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0000" h="10000">
                    <a:moveTo>
                      <a:pt x="4155" y="10000"/>
                    </a:moveTo>
                    <a:lnTo>
                      <a:pt x="4155" y="10000"/>
                    </a:lnTo>
                    <a:lnTo>
                      <a:pt x="3439" y="10000"/>
                    </a:lnTo>
                    <a:lnTo>
                      <a:pt x="3439" y="9374"/>
                    </a:lnTo>
                    <a:lnTo>
                      <a:pt x="3817" y="8235"/>
                    </a:lnTo>
                    <a:lnTo>
                      <a:pt x="4513" y="8235"/>
                    </a:lnTo>
                    <a:lnTo>
                      <a:pt x="4513" y="7610"/>
                    </a:lnTo>
                    <a:cubicBezTo>
                      <a:pt x="4394" y="7230"/>
                      <a:pt x="4274" y="6851"/>
                      <a:pt x="4155" y="6471"/>
                    </a:cubicBezTo>
                    <a:lnTo>
                      <a:pt x="4155" y="5845"/>
                    </a:lnTo>
                    <a:lnTo>
                      <a:pt x="3101" y="5293"/>
                    </a:lnTo>
                    <a:lnTo>
                      <a:pt x="2406" y="5845"/>
                    </a:lnTo>
                    <a:lnTo>
                      <a:pt x="1710" y="6471"/>
                    </a:lnTo>
                    <a:lnTo>
                      <a:pt x="1372" y="6471"/>
                    </a:lnTo>
                    <a:lnTo>
                      <a:pt x="338" y="6471"/>
                    </a:lnTo>
                    <a:lnTo>
                      <a:pt x="0" y="5845"/>
                    </a:lnTo>
                    <a:cubicBezTo>
                      <a:pt x="113" y="5466"/>
                      <a:pt x="225" y="5085"/>
                      <a:pt x="338" y="4705"/>
                    </a:cubicBezTo>
                    <a:lnTo>
                      <a:pt x="696" y="3529"/>
                    </a:lnTo>
                    <a:lnTo>
                      <a:pt x="1034" y="2940"/>
                    </a:lnTo>
                    <a:cubicBezTo>
                      <a:pt x="921" y="2353"/>
                      <a:pt x="809" y="1764"/>
                      <a:pt x="696" y="1176"/>
                    </a:cubicBezTo>
                    <a:lnTo>
                      <a:pt x="1372" y="552"/>
                    </a:lnTo>
                    <a:lnTo>
                      <a:pt x="2068" y="552"/>
                    </a:lnTo>
                    <a:lnTo>
                      <a:pt x="3101" y="1176"/>
                    </a:lnTo>
                    <a:lnTo>
                      <a:pt x="3439" y="1176"/>
                    </a:lnTo>
                    <a:lnTo>
                      <a:pt x="3817" y="1176"/>
                    </a:lnTo>
                    <a:lnTo>
                      <a:pt x="4155" y="1176"/>
                    </a:lnTo>
                    <a:lnTo>
                      <a:pt x="4851" y="1176"/>
                    </a:lnTo>
                    <a:cubicBezTo>
                      <a:pt x="4964" y="785"/>
                      <a:pt x="5076" y="392"/>
                      <a:pt x="5189" y="0"/>
                    </a:cubicBezTo>
                    <a:lnTo>
                      <a:pt x="5527" y="0"/>
                    </a:lnTo>
                    <a:lnTo>
                      <a:pt x="6561" y="0"/>
                    </a:lnTo>
                    <a:lnTo>
                      <a:pt x="6918" y="552"/>
                    </a:lnTo>
                    <a:lnTo>
                      <a:pt x="6561" y="552"/>
                    </a:lnTo>
                    <a:lnTo>
                      <a:pt x="6918" y="1176"/>
                    </a:lnTo>
                    <a:lnTo>
                      <a:pt x="7256" y="1176"/>
                    </a:lnTo>
                    <a:lnTo>
                      <a:pt x="7594" y="2316"/>
                    </a:lnTo>
                    <a:lnTo>
                      <a:pt x="7932" y="2940"/>
                    </a:lnTo>
                    <a:lnTo>
                      <a:pt x="8290" y="2316"/>
                    </a:lnTo>
                    <a:lnTo>
                      <a:pt x="10000" y="4080"/>
                    </a:lnTo>
                    <a:cubicBezTo>
                      <a:pt x="9887" y="4877"/>
                      <a:pt x="9775" y="5674"/>
                      <a:pt x="9662" y="6471"/>
                    </a:cubicBezTo>
                    <a:lnTo>
                      <a:pt x="9304" y="5845"/>
                    </a:lnTo>
                    <a:lnTo>
                      <a:pt x="8966" y="6471"/>
                    </a:lnTo>
                    <a:lnTo>
                      <a:pt x="8966" y="7610"/>
                    </a:lnTo>
                    <a:lnTo>
                      <a:pt x="8628" y="7610"/>
                    </a:lnTo>
                    <a:lnTo>
                      <a:pt x="6918" y="9374"/>
                    </a:lnTo>
                    <a:lnTo>
                      <a:pt x="6561" y="9374"/>
                    </a:lnTo>
                    <a:lnTo>
                      <a:pt x="5527" y="8824"/>
                    </a:lnTo>
                    <a:lnTo>
                      <a:pt x="5527" y="8235"/>
                    </a:lnTo>
                    <a:lnTo>
                      <a:pt x="4851" y="8235"/>
                    </a:lnTo>
                    <a:lnTo>
                      <a:pt x="4513" y="9374"/>
                    </a:lnTo>
                    <a:lnTo>
                      <a:pt x="4155" y="9374"/>
                    </a:lnTo>
                    <a:lnTo>
                      <a:pt x="4155" y="1000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alpha val="2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60984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6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Arial" charset="0"/>
                  <a:sym typeface="Helvetica Neue"/>
                </a:endParaRPr>
              </a:p>
            </p:txBody>
          </p:sp>
        </p:grpSp>
      </p:grpSp>
      <p:sp>
        <p:nvSpPr>
          <p:cNvPr id="1283" name="TextBox 1"/>
          <p:cNvSpPr txBox="1"/>
          <p:nvPr/>
        </p:nvSpPr>
        <p:spPr>
          <a:xfrm>
            <a:off x="861717" y="2675822"/>
            <a:ext cx="3239538" cy="839028"/>
          </a:xfrm>
          <a:prstGeom prst="rect">
            <a:avLst/>
          </a:prstGeom>
        </p:spPr>
        <p:txBody>
          <a:bodyPr wrap="none" lIns="0" tIns="0" rIns="0" bIns="0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61380" rtl="0" eaLnBrk="1" fontAlgn="base" latinLnBrk="0" hangingPunct="1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ea typeface="Arial" charset="0"/>
                <a:cs typeface="Arial"/>
                <a:sym typeface="Helvetica Neue"/>
              </a:rPr>
              <a:t>17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ea typeface="Arial" charset="0"/>
                <a:cs typeface="Arial"/>
                <a:sym typeface="Helvetica Neue"/>
              </a:rPr>
              <a:t>%</a:t>
            </a: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/>
              <a:ea typeface="Arial" charset="0"/>
              <a:cs typeface="Arial"/>
              <a:sym typeface="Helvetica Neue"/>
            </a:endParaRPr>
          </a:p>
        </p:txBody>
      </p:sp>
      <p:sp>
        <p:nvSpPr>
          <p:cNvPr id="1284" name="TextBox 1"/>
          <p:cNvSpPr txBox="1"/>
          <p:nvPr/>
        </p:nvSpPr>
        <p:spPr>
          <a:xfrm>
            <a:off x="861717" y="3965136"/>
            <a:ext cx="3239538" cy="764520"/>
          </a:xfrm>
          <a:prstGeom prst="rect">
            <a:avLst/>
          </a:prstGeom>
        </p:spPr>
        <p:txBody>
          <a:bodyPr wrap="none" lIns="0" tIns="0" rIns="0" bIns="0" rtlCol="0" anchor="ctr"/>
          <a:lstStyle>
            <a:defPPr>
              <a:defRPr lang="en-US"/>
            </a:defPPr>
            <a:lvl1pPr marL="0" indent="0" algn="ctr">
              <a:spcBef>
                <a:spcPts val="600"/>
              </a:spcBef>
              <a:defRPr sz="2400" b="1">
                <a:solidFill>
                  <a:schemeClr val="accent4"/>
                </a:solidFill>
                <a:latin typeface="+mn-lt"/>
                <a:ea typeface="Arial" charset="0"/>
                <a:cs typeface="Arial"/>
              </a:defRPr>
            </a:lvl1pPr>
            <a:lvl2pPr marL="457200" indent="0">
              <a:defRPr sz="1100">
                <a:latin typeface="+mn-lt"/>
              </a:defRPr>
            </a:lvl2pPr>
            <a:lvl3pPr marL="914400" indent="0">
              <a:defRPr sz="1100">
                <a:latin typeface="+mn-lt"/>
              </a:defRPr>
            </a:lvl3pPr>
            <a:lvl4pPr marL="1371600" indent="0">
              <a:defRPr sz="1100">
                <a:latin typeface="+mn-lt"/>
              </a:defRPr>
            </a:lvl4pPr>
            <a:lvl5pPr marL="1828800" indent="0">
              <a:defRPr sz="1100">
                <a:latin typeface="+mn-lt"/>
              </a:defRPr>
            </a:lvl5pPr>
            <a:lvl6pPr marL="2286000" indent="0">
              <a:defRPr sz="1100">
                <a:latin typeface="+mn-lt"/>
              </a:defRPr>
            </a:lvl6pPr>
            <a:lvl7pPr marL="2743200" indent="0">
              <a:defRPr sz="1100">
                <a:latin typeface="+mn-lt"/>
              </a:defRPr>
            </a:lvl7pPr>
            <a:lvl8pPr marL="3200400" indent="0">
              <a:defRPr sz="1100">
                <a:latin typeface="+mn-lt"/>
              </a:defRPr>
            </a:lvl8pPr>
            <a:lvl9pPr marL="3657600" indent="0">
              <a:defRPr sz="1100">
                <a:latin typeface="+mn-lt"/>
              </a:defRPr>
            </a:lvl9pPr>
          </a:lstStyle>
          <a:p>
            <a:pPr marL="0" marR="0" lvl="0" indent="0" algn="ctr" defTabSz="186138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cs typeface="Arial"/>
                <a:sym typeface="Helvetica Neue"/>
              </a:rPr>
              <a:t>18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cs typeface="Arial"/>
                <a:sym typeface="Helvetica Neue"/>
              </a:rPr>
              <a:t>%</a:t>
            </a: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/>
              <a:cs typeface="Arial"/>
              <a:sym typeface="Helvetica Neue"/>
            </a:endParaRPr>
          </a:p>
        </p:txBody>
      </p:sp>
      <p:sp>
        <p:nvSpPr>
          <p:cNvPr id="1285" name="TextBox 1"/>
          <p:cNvSpPr txBox="1"/>
          <p:nvPr/>
        </p:nvSpPr>
        <p:spPr>
          <a:xfrm>
            <a:off x="4101298" y="3880906"/>
            <a:ext cx="3430672" cy="975088"/>
          </a:xfrm>
          <a:prstGeom prst="rect">
            <a:avLst/>
          </a:prstGeom>
        </p:spPr>
        <p:txBody>
          <a:bodyPr wrap="none" lIns="0" tIns="0" rIns="0" bIns="0" rtlCol="0" anchor="ctr"/>
          <a:lstStyle>
            <a:defPPr>
              <a:defRPr lang="en-US"/>
            </a:defPPr>
            <a:lvl1pPr marL="0" indent="0" algn="ctr">
              <a:spcBef>
                <a:spcPts val="600"/>
              </a:spcBef>
              <a:defRPr sz="2400" b="1">
                <a:solidFill>
                  <a:schemeClr val="accent4"/>
                </a:solidFill>
                <a:latin typeface="+mn-lt"/>
                <a:ea typeface="Arial" charset="0"/>
                <a:cs typeface="Arial"/>
              </a:defRPr>
            </a:lvl1pPr>
            <a:lvl2pPr marL="457200" indent="0">
              <a:defRPr sz="1100">
                <a:latin typeface="+mn-lt"/>
              </a:defRPr>
            </a:lvl2pPr>
            <a:lvl3pPr marL="914400" indent="0">
              <a:defRPr sz="1100">
                <a:latin typeface="+mn-lt"/>
              </a:defRPr>
            </a:lvl3pPr>
            <a:lvl4pPr marL="1371600" indent="0">
              <a:defRPr sz="1100">
                <a:latin typeface="+mn-lt"/>
              </a:defRPr>
            </a:lvl4pPr>
            <a:lvl5pPr marL="1828800" indent="0">
              <a:defRPr sz="1100">
                <a:latin typeface="+mn-lt"/>
              </a:defRPr>
            </a:lvl5pPr>
            <a:lvl6pPr marL="2286000" indent="0">
              <a:defRPr sz="1100">
                <a:latin typeface="+mn-lt"/>
              </a:defRPr>
            </a:lvl6pPr>
            <a:lvl7pPr marL="2743200" indent="0">
              <a:defRPr sz="1100">
                <a:latin typeface="+mn-lt"/>
              </a:defRPr>
            </a:lvl7pPr>
            <a:lvl8pPr marL="3200400" indent="0">
              <a:defRPr sz="1100">
                <a:latin typeface="+mn-lt"/>
              </a:defRPr>
            </a:lvl8pPr>
            <a:lvl9pPr marL="3657600" indent="0">
              <a:defRPr sz="1100">
                <a:latin typeface="+mn-lt"/>
              </a:defRPr>
            </a:lvl9pPr>
          </a:lstStyle>
          <a:p>
            <a:pPr marL="0" marR="0" lvl="0" indent="0" algn="ctr" defTabSz="186138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cs typeface="Arial"/>
                <a:sym typeface="Helvetica Neue"/>
              </a:rPr>
              <a:t>15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/>
                <a:cs typeface="Arial"/>
                <a:sym typeface="Helvetica Neue"/>
              </a:rPr>
              <a:t>%</a:t>
            </a: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/>
              <a:cs typeface="Arial"/>
              <a:sym typeface="Helvetica Neue"/>
            </a:endParaRPr>
          </a:p>
        </p:txBody>
      </p:sp>
      <p:sp>
        <p:nvSpPr>
          <p:cNvPr id="1286" name="ACET">
            <a:extLst>
              <a:ext uri="{FF2B5EF4-FFF2-40B4-BE49-F238E27FC236}">
                <a16:creationId xmlns:a16="http://schemas.microsoft.com/office/drawing/2014/main" id="{AB3DEC0A-8B4B-4887-A67B-BF3F4CBA6E10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51578" y="5536345"/>
            <a:ext cx="6812748" cy="79691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square" lIns="146554" tIns="146554" rIns="146554" bIns="146554" anchor="ctr" anchorCtr="0">
            <a:no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TB Group Demi Bold" pitchFamily="34" charset="-52"/>
                <a:ea typeface="+mn-ea"/>
                <a:cs typeface="+mn-cs"/>
                <a:sym typeface="Helvetica Neue"/>
              </a:rPr>
              <a:t>Активы и прибыль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TB Group Demi Bold" pitchFamily="34" charset="-52"/>
              <a:ea typeface="+mn-ea"/>
              <a:cs typeface="+mn-cs"/>
              <a:sym typeface="Helvetica Neue"/>
            </a:endParaRPr>
          </a:p>
        </p:txBody>
      </p:sp>
      <p:sp>
        <p:nvSpPr>
          <p:cNvPr id="1288" name="Прямоугольник 1287"/>
          <p:cNvSpPr/>
          <p:nvPr>
            <p:custDataLst>
              <p:tags r:id="rId10"/>
            </p:custDataLst>
          </p:nvPr>
        </p:nvSpPr>
        <p:spPr>
          <a:xfrm>
            <a:off x="693262" y="10826426"/>
            <a:ext cx="6871060" cy="618805"/>
          </a:xfrm>
          <a:prstGeom prst="rect">
            <a:avLst/>
          </a:prstGeom>
        </p:spPr>
        <p:txBody>
          <a:bodyPr wrap="square" lIns="186092" tIns="93050" rIns="186092" bIns="93050">
            <a:sp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75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млрд руб.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чистая прибыль 20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20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г.</a:t>
            </a:r>
          </a:p>
        </p:txBody>
      </p:sp>
      <p:graphicFrame>
        <p:nvGraphicFramePr>
          <p:cNvPr id="356" name="Chart 3"/>
          <p:cNvGraphicFramePr/>
          <p:nvPr>
            <p:custDataLst>
              <p:tags r:id="rId11"/>
            </p:custDataLst>
            <p:extLst/>
          </p:nvPr>
        </p:nvGraphicFramePr>
        <p:xfrm>
          <a:off x="693262" y="7211104"/>
          <a:ext cx="7039516" cy="1778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6"/>
          </a:graphicData>
        </a:graphic>
      </p:graphicFrame>
      <p:cxnSp>
        <p:nvCxnSpPr>
          <p:cNvPr id="1290" name="Прямая соединительная линия 1289"/>
          <p:cNvCxnSpPr/>
          <p:nvPr>
            <p:custDataLst>
              <p:tags r:id="rId12"/>
            </p:custDataLst>
          </p:nvPr>
        </p:nvCxnSpPr>
        <p:spPr bwMode="auto">
          <a:xfrm flipV="1">
            <a:off x="1979358" y="6867718"/>
            <a:ext cx="0" cy="1001004"/>
          </a:xfrm>
          <a:prstGeom prst="line">
            <a:avLst/>
          </a:prstGeom>
          <a:ln w="12700" algn="ctr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2" name="Прямая соединительная линия 1291"/>
          <p:cNvCxnSpPr/>
          <p:nvPr>
            <p:custDataLst>
              <p:tags r:id="rId13"/>
            </p:custDataLst>
          </p:nvPr>
        </p:nvCxnSpPr>
        <p:spPr bwMode="auto">
          <a:xfrm>
            <a:off x="1979404" y="6867718"/>
            <a:ext cx="4467324" cy="0"/>
          </a:xfrm>
          <a:prstGeom prst="line">
            <a:avLst/>
          </a:prstGeom>
          <a:ln w="12700" algn="ctr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1" name="Прямая соединительная линия 1290"/>
          <p:cNvCxnSpPr/>
          <p:nvPr>
            <p:custDataLst>
              <p:tags r:id="rId14"/>
            </p:custDataLst>
          </p:nvPr>
        </p:nvCxnSpPr>
        <p:spPr bwMode="auto">
          <a:xfrm>
            <a:off x="6446680" y="6867718"/>
            <a:ext cx="0" cy="310992"/>
          </a:xfrm>
          <a:prstGeom prst="line">
            <a:avLst/>
          </a:prstGeom>
          <a:ln w="12700" algn="ctr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5" name="Прямоугольник 1294"/>
          <p:cNvSpPr/>
          <p:nvPr>
            <p:custDataLst>
              <p:tags r:id="rId15"/>
            </p:custDataLst>
          </p:nvPr>
        </p:nvSpPr>
        <p:spPr bwMode="auto">
          <a:xfrm>
            <a:off x="6116247" y="8915129"/>
            <a:ext cx="660866" cy="34338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marL="0" marR="0" lvl="0" indent="0" algn="ctr" defTabSz="18613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DC6FC30-3380-42DA-AB40-A1DCF21DA2A7}" type="datetime'''''2''''''''''0''''''''2''''''''''''''''''''''''''0'''''''''">
              <a:rPr kumimoji="0" lang="en-US" altLang="en-US" sz="2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pPr marL="0" marR="0" lvl="0" indent="0" algn="ctr" defTabSz="18613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ru-RU" sz="2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TB Group Book" pitchFamily="34" charset="-52"/>
              <a:ea typeface="+mn-ea"/>
              <a:cs typeface="+mn-cs"/>
              <a:sym typeface="+mn-lt"/>
            </a:endParaRPr>
          </a:p>
        </p:txBody>
      </p:sp>
      <p:sp>
        <p:nvSpPr>
          <p:cNvPr id="1294" name="Прямоугольник 1293"/>
          <p:cNvSpPr/>
          <p:nvPr>
            <p:custDataLst>
              <p:tags r:id="rId16"/>
            </p:custDataLst>
          </p:nvPr>
        </p:nvSpPr>
        <p:spPr bwMode="auto">
          <a:xfrm>
            <a:off x="3880977" y="8915129"/>
            <a:ext cx="660866" cy="34338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marR="0" lvl="0" indent="0" algn="ctr" defTabSz="18613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37C2D2E-0EA0-4576-B505-90EFE8194459}" type="datetime'''''2''0''''''''1''''''''''''''''''''''9'''">
              <a:rPr kumimoji="0" lang="en-US" altLang="en-US" sz="2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pPr marL="0" marR="0" lvl="0" indent="0" algn="ctr" defTabSz="18613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ru-RU" sz="2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TB Group Book" pitchFamily="34" charset="-52"/>
              <a:ea typeface="+mn-ea"/>
              <a:cs typeface="+mn-cs"/>
              <a:sym typeface="+mn-lt"/>
            </a:endParaRPr>
          </a:p>
        </p:txBody>
      </p:sp>
      <p:sp>
        <p:nvSpPr>
          <p:cNvPr id="1293" name="Прямоугольник 1292"/>
          <p:cNvSpPr/>
          <p:nvPr>
            <p:custDataLst>
              <p:tags r:id="rId17"/>
            </p:custDataLst>
          </p:nvPr>
        </p:nvSpPr>
        <p:spPr bwMode="auto">
          <a:xfrm>
            <a:off x="1648955" y="8915129"/>
            <a:ext cx="660866" cy="34338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marR="0" lvl="0" indent="0" algn="ctr" defTabSz="18613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20546D-1ACE-4EC7-BDCF-0D6474DBCA74}" type="datetime'2''''''''0''1''''''''2'''''''''''''''''''''''''''''">
              <a:rPr kumimoji="0" lang="en-US" altLang="en-US" sz="2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pPr marL="0" marR="0" lvl="0" indent="0" algn="ctr" defTabSz="18613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2</a:t>
            </a:fld>
            <a:endParaRPr kumimoji="0" lang="ru-RU" sz="2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TB Group Book" pitchFamily="34" charset="-52"/>
              <a:ea typeface="+mn-ea"/>
              <a:cs typeface="+mn-cs"/>
              <a:sym typeface="+mn-lt"/>
            </a:endParaRPr>
          </a:p>
        </p:txBody>
      </p:sp>
      <p:sp>
        <p:nvSpPr>
          <p:cNvPr id="1296" name="Овал 1295"/>
          <p:cNvSpPr/>
          <p:nvPr>
            <p:custDataLst>
              <p:tags r:id="rId18"/>
            </p:custDataLst>
          </p:nvPr>
        </p:nvSpPr>
        <p:spPr bwMode="auto">
          <a:xfrm>
            <a:off x="3796749" y="6650674"/>
            <a:ext cx="829322" cy="437332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186138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+mn-lt"/>
              </a:rPr>
              <a:t>X</a:t>
            </a: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+mn-lt"/>
              </a:rPr>
              <a:t>2,4</a:t>
            </a:r>
          </a:p>
        </p:txBody>
      </p:sp>
      <p:sp>
        <p:nvSpPr>
          <p:cNvPr id="1297" name="Прямоугольник 55">
            <a:extLst>
              <a:ext uri="{FF2B5EF4-FFF2-40B4-BE49-F238E27FC236}">
                <a16:creationId xmlns:a16="http://schemas.microsoft.com/office/drawing/2014/main" id="{BAD6EDA9-A131-4AE3-8C82-1FEF8D2BD1F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369412" y="12892814"/>
            <a:ext cx="22411016" cy="803471"/>
          </a:xfrm>
          <a:prstGeom prst="rect">
            <a:avLst/>
          </a:prstGeom>
        </p:spPr>
        <p:txBody>
          <a:bodyPr wrap="square" lIns="186092" tIns="93050" rIns="186092" bIns="93050">
            <a:sp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1. С учетом цессии и </a:t>
            </a:r>
            <a:r>
              <a:rPr kumimoji="0" 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секьюритизации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  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2. Факторы нормализации: переоценка нефинансовых активов (+101 млрд. руб.), резервы под обесценение (+65 млрд. руб.), переоценка структурной ОВП (-18 млрд. руб.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TB Group Book" pitchFamily="34" charset="-52"/>
              <a:ea typeface="+mn-ea"/>
              <a:cs typeface="+mn-cs"/>
              <a:sym typeface="Helvetica Neue"/>
            </a:endParaRPr>
          </a:p>
        </p:txBody>
      </p:sp>
      <p:sp>
        <p:nvSpPr>
          <p:cNvPr id="1298" name="Прямоугольник 1297"/>
          <p:cNvSpPr/>
          <p:nvPr>
            <p:custDataLst>
              <p:tags r:id="rId20"/>
            </p:custDataLst>
          </p:nvPr>
        </p:nvSpPr>
        <p:spPr>
          <a:xfrm>
            <a:off x="745094" y="9802748"/>
            <a:ext cx="6819228" cy="988136"/>
          </a:xfrm>
          <a:prstGeom prst="rect">
            <a:avLst/>
          </a:prstGeom>
        </p:spPr>
        <p:txBody>
          <a:bodyPr wrap="square" lIns="186092" tIns="93050" rIns="186092" bIns="93050">
            <a:sp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223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млрд руб.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нормализованная</a:t>
            </a:r>
            <a:r>
              <a:rPr kumimoji="0" lang="ru-RU" sz="24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2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чистая прибыль 20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20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г.</a:t>
            </a:r>
          </a:p>
        </p:txBody>
      </p:sp>
      <p:sp>
        <p:nvSpPr>
          <p:cNvPr id="1318" name="Прямоугольник 59">
            <a:extLst>
              <a:ext uri="{FF2B5EF4-FFF2-40B4-BE49-F238E27FC236}">
                <a16:creationId xmlns:a16="http://schemas.microsoft.com/office/drawing/2014/main" id="{AA598668-D0F5-401E-817F-527B356161EA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16068281" y="10916224"/>
            <a:ext cx="5921522" cy="1490140"/>
          </a:xfrm>
          <a:prstGeom prst="rect">
            <a:avLst/>
          </a:prstGeom>
        </p:spPr>
        <p:txBody>
          <a:bodyPr wrap="square" lIns="186092" tIns="93050" rIns="186092" bIns="93050">
            <a:no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18 стран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VTB Group Book" pitchFamily="34" charset="-52"/>
                <a:ea typeface="Arial" charset="0"/>
                <a:cs typeface="Arial"/>
                <a:sym typeface="Helvetica Neue"/>
              </a:rPr>
              <a:t/>
            </a:r>
            <a:b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VTB Group Book" pitchFamily="34" charset="-52"/>
                <a:ea typeface="Arial" charset="0"/>
                <a:cs typeface="Arial"/>
                <a:sym typeface="Helvetica Neue"/>
              </a:rPr>
            </a:b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международное присутствие </a:t>
            </a:r>
          </a:p>
        </p:txBody>
      </p:sp>
      <p:sp>
        <p:nvSpPr>
          <p:cNvPr id="1323" name="Прямоугольник 59">
            <a:extLst>
              <a:ext uri="{FF2B5EF4-FFF2-40B4-BE49-F238E27FC236}">
                <a16:creationId xmlns:a16="http://schemas.microsoft.com/office/drawing/2014/main" id="{AA598668-D0F5-401E-817F-527B356161EA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9790296" y="10916277"/>
            <a:ext cx="6277932" cy="1466758"/>
          </a:xfrm>
          <a:prstGeom prst="rect">
            <a:avLst/>
          </a:prstGeom>
        </p:spPr>
        <p:txBody>
          <a:bodyPr wrap="square" lIns="186092" tIns="93050" rIns="186092" bIns="93050">
            <a:no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18,1 трлн руб.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Arial" charset="0"/>
                <a:cs typeface="Arial"/>
                <a:sym typeface="Helvetica Neue"/>
              </a:rPr>
              <a:t/>
            </a:r>
            <a:b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Arial" charset="0"/>
                <a:cs typeface="Arial"/>
                <a:sym typeface="Helvetica Neue"/>
              </a:rPr>
            </a:b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активы</a:t>
            </a:r>
          </a:p>
        </p:txBody>
      </p:sp>
      <p:sp>
        <p:nvSpPr>
          <p:cNvPr id="1324" name="Прямоугольник 1323"/>
          <p:cNvSpPr/>
          <p:nvPr>
            <p:custDataLst>
              <p:tags r:id="rId23"/>
            </p:custDataLst>
          </p:nvPr>
        </p:nvSpPr>
        <p:spPr>
          <a:xfrm>
            <a:off x="9760225" y="10051777"/>
            <a:ext cx="12487146" cy="81213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146554" tIns="146554" rIns="146554" bIns="146554" anchor="ctr" anchorCtr="0">
            <a:no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VTB Group Demi Bold" pitchFamily="34" charset="-52"/>
                <a:ea typeface="+mn-ea"/>
                <a:cs typeface="Arial" pitchFamily="34" charset="0"/>
                <a:sym typeface="Helvetica Neue"/>
              </a:rPr>
              <a:t>Мир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VTB Group Demi Bold" pitchFamily="34" charset="-52"/>
              <a:ea typeface="+mn-ea"/>
              <a:cs typeface="Arial" pitchFamily="34" charset="0"/>
              <a:sym typeface="Helvetica Neue"/>
            </a:endParaRPr>
          </a:p>
        </p:txBody>
      </p:sp>
      <p:cxnSp>
        <p:nvCxnSpPr>
          <p:cNvPr id="1326" name="Прямая соединительная линия 1325"/>
          <p:cNvCxnSpPr/>
          <p:nvPr/>
        </p:nvCxnSpPr>
        <p:spPr>
          <a:xfrm>
            <a:off x="9796423" y="10723592"/>
            <a:ext cx="1219333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29" name="Прямоугольник 59">
            <a:extLst>
              <a:ext uri="{FF2B5EF4-FFF2-40B4-BE49-F238E27FC236}">
                <a16:creationId xmlns:a16="http://schemas.microsoft.com/office/drawing/2014/main" id="{AA598668-D0F5-401E-817F-527B356161EA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16594639" y="8329365"/>
            <a:ext cx="3359670" cy="1466758"/>
          </a:xfrm>
          <a:prstGeom prst="rect">
            <a:avLst/>
          </a:prstGeom>
        </p:spPr>
        <p:txBody>
          <a:bodyPr wrap="square" lIns="186092" tIns="93050" rIns="186092" bIns="93050">
            <a:no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~0,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6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 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млн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Arial" charset="0"/>
                <a:cs typeface="Arial"/>
                <a:sym typeface="Helvetica Neue"/>
              </a:rPr>
              <a:t/>
            </a:r>
            <a:b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Arial" charset="0"/>
                <a:cs typeface="Arial"/>
                <a:sym typeface="Helvetica Neue"/>
              </a:rPr>
            </a:b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клиентов ЮЛ</a:t>
            </a:r>
          </a:p>
        </p:txBody>
      </p:sp>
      <p:sp>
        <p:nvSpPr>
          <p:cNvPr id="1330" name="Прямоугольник 59">
            <a:extLst>
              <a:ext uri="{FF2B5EF4-FFF2-40B4-BE49-F238E27FC236}">
                <a16:creationId xmlns:a16="http://schemas.microsoft.com/office/drawing/2014/main" id="{AA598668-D0F5-401E-817F-527B356161EA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19701995" y="8329365"/>
            <a:ext cx="3359670" cy="1466758"/>
          </a:xfrm>
          <a:prstGeom prst="rect">
            <a:avLst/>
          </a:prstGeom>
        </p:spPr>
        <p:txBody>
          <a:bodyPr wrap="square" lIns="186092" tIns="93050" rIns="186092" bIns="93050">
            <a:no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1,6 тыс.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Arial" charset="0"/>
                <a:cs typeface="Arial"/>
                <a:sym typeface="Helvetica Neue"/>
              </a:rPr>
              <a:t/>
            </a:r>
            <a:b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Arial" charset="0"/>
                <a:cs typeface="Arial"/>
                <a:sym typeface="Helvetica Neue"/>
              </a:rPr>
            </a:b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отделений</a:t>
            </a:r>
          </a:p>
        </p:txBody>
      </p:sp>
      <p:sp>
        <p:nvSpPr>
          <p:cNvPr id="1331" name="Прямоугольник 59">
            <a:extLst>
              <a:ext uri="{FF2B5EF4-FFF2-40B4-BE49-F238E27FC236}">
                <a16:creationId xmlns:a16="http://schemas.microsoft.com/office/drawing/2014/main" id="{AA598668-D0F5-401E-817F-527B356161EA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12410849" y="8329365"/>
            <a:ext cx="4316434" cy="1466758"/>
          </a:xfrm>
          <a:prstGeom prst="rect">
            <a:avLst/>
          </a:prstGeom>
        </p:spPr>
        <p:txBody>
          <a:bodyPr wrap="square" lIns="186092" tIns="93050" rIns="186092" bIns="93050">
            <a:no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&gt;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14 млн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Arial" charset="0"/>
                <a:cs typeface="Arial"/>
                <a:sym typeface="Helvetica Neue"/>
              </a:rPr>
              <a:t/>
            </a:r>
            <a:b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Arial" charset="0"/>
                <a:cs typeface="Arial"/>
                <a:sym typeface="Helvetica Neue"/>
              </a:rPr>
            </a:b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активных клиентов ФЛ</a:t>
            </a:r>
          </a:p>
        </p:txBody>
      </p:sp>
      <p:sp>
        <p:nvSpPr>
          <p:cNvPr id="1332" name="Прямоугольник 59">
            <a:extLst>
              <a:ext uri="{FF2B5EF4-FFF2-40B4-BE49-F238E27FC236}">
                <a16:creationId xmlns:a16="http://schemas.microsoft.com/office/drawing/2014/main" id="{AA598668-D0F5-401E-817F-527B356161EA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9768697" y="8329365"/>
            <a:ext cx="3359670" cy="1466758"/>
          </a:xfrm>
          <a:prstGeom prst="rect">
            <a:avLst/>
          </a:prstGeom>
        </p:spPr>
        <p:txBody>
          <a:bodyPr wrap="square" lIns="186092" tIns="93050" rIns="186092" bIns="93050">
            <a:no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Arial"/>
                <a:sym typeface="Helvetica Neue"/>
              </a:rPr>
              <a:t>79 тыс.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Arial" charset="0"/>
                <a:cs typeface="Arial"/>
                <a:sym typeface="Helvetica Neue"/>
              </a:rPr>
              <a:t/>
            </a:r>
            <a:b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Arial" charset="0"/>
                <a:cs typeface="Arial"/>
                <a:sym typeface="Helvetica Neue"/>
              </a:rPr>
            </a:b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сотрудников</a:t>
            </a:r>
          </a:p>
        </p:txBody>
      </p:sp>
      <p:sp>
        <p:nvSpPr>
          <p:cNvPr id="1333" name="Прямоугольник 1332"/>
          <p:cNvSpPr/>
          <p:nvPr>
            <p:custDataLst>
              <p:tags r:id="rId28"/>
            </p:custDataLst>
          </p:nvPr>
        </p:nvSpPr>
        <p:spPr>
          <a:xfrm>
            <a:off x="9738641" y="7464865"/>
            <a:ext cx="12487146" cy="81213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146554" tIns="146554" rIns="146554" bIns="146554" anchor="ctr" anchorCtr="0">
            <a:no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Demi Bold" pitchFamily="34" charset="-52"/>
                <a:ea typeface="+mn-ea"/>
                <a:cs typeface="Arial" pitchFamily="34" charset="0"/>
                <a:sym typeface="Helvetica Neue"/>
              </a:rPr>
              <a:t>Россия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VTB Group Demi Bold" pitchFamily="34" charset="-52"/>
              <a:ea typeface="+mn-ea"/>
              <a:cs typeface="Arial" pitchFamily="34" charset="0"/>
              <a:sym typeface="Helvetica Neue"/>
            </a:endParaRPr>
          </a:p>
        </p:txBody>
      </p:sp>
      <p:cxnSp>
        <p:nvCxnSpPr>
          <p:cNvPr id="1334" name="Прямая соединительная линия 1333"/>
          <p:cNvCxnSpPr/>
          <p:nvPr/>
        </p:nvCxnSpPr>
        <p:spPr>
          <a:xfrm>
            <a:off x="9774823" y="8136682"/>
            <a:ext cx="12193330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336" name="TextBox 1335"/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9355344" y="3308039"/>
            <a:ext cx="13964452" cy="2412968"/>
          </a:xfrm>
          <a:prstGeom prst="rect">
            <a:avLst/>
          </a:prstGeom>
          <a:solidFill>
            <a:schemeClr val="bg1">
              <a:alpha val="86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348934" marR="0" lvl="0" indent="-348934" algn="l" defTabSz="1790700" rtl="0" eaLnBrk="1" fontAlgn="base" latinLnBrk="0" hangingPunct="1">
              <a:lnSpc>
                <a:spcPct val="95000"/>
              </a:lnSpc>
              <a:spcBef>
                <a:spcPts val="1224"/>
              </a:spcBef>
              <a:spcAft>
                <a:spcPts val="0"/>
              </a:spcAft>
              <a:buClr>
                <a:srgbClr val="0A289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#2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Корпоративный банк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– ведущие позиции в обслуживании  ключевых секторов Российской экономики, включая государственный сектор, крупнейшие инфраструктурные проекты и ОПК</a:t>
            </a:r>
          </a:p>
          <a:p>
            <a:pPr marL="348934" marR="0" lvl="0" indent="-348934" algn="l" defTabSz="1790700" rtl="0" eaLnBrk="1" fontAlgn="base" latinLnBrk="0" hangingPunct="1">
              <a:lnSpc>
                <a:spcPct val="95000"/>
              </a:lnSpc>
              <a:spcBef>
                <a:spcPts val="1224"/>
              </a:spcBef>
              <a:spcAft>
                <a:spcPts val="0"/>
              </a:spcAft>
              <a:buClr>
                <a:srgbClr val="0A289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#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1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Инвестиционный банк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– создан в 2008 году, крупнейший инвестиционный банк на российском рынке</a:t>
            </a:r>
          </a:p>
          <a:p>
            <a:pPr marL="348934" marR="0" lvl="0" indent="-348934" algn="l" defTabSz="1790700" rtl="0" eaLnBrk="1" fontAlgn="base" latinLnBrk="0" hangingPunct="1">
              <a:lnSpc>
                <a:spcPct val="95000"/>
              </a:lnSpc>
              <a:spcBef>
                <a:spcPts val="1224"/>
              </a:spcBef>
              <a:spcAft>
                <a:spcPts val="0"/>
              </a:spcAft>
              <a:buClr>
                <a:srgbClr val="0A289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#2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Розничный банк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– создан с нуля в 2005 году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65410" y="6294087"/>
            <a:ext cx="1663030" cy="526472"/>
          </a:xfrm>
          <a:prstGeom prst="rect">
            <a:avLst/>
          </a:prstGeom>
          <a:noFill/>
        </p:spPr>
        <p:txBody>
          <a:bodyPr wrap="none" lIns="186092" tIns="93050" rIns="186092" bIns="93050" rtlCol="0">
            <a:spAutoFit/>
          </a:bodyPr>
          <a:lstStyle/>
          <a:p>
            <a:pPr marL="0" marR="0" lvl="0" indent="0" algn="l" defTabSz="18613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1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VTB Group Book" pitchFamily="34" charset="-52"/>
                <a:ea typeface="+mn-ea"/>
                <a:cs typeface="+mn-cs"/>
                <a:sym typeface="Helvetica Neue"/>
              </a:rPr>
              <a:t>Трлн руб.</a:t>
            </a:r>
            <a:endParaRPr kumimoji="0" lang="ru-RU" sz="3200" b="0" i="1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VTB Group Book" pitchFamily="34" charset="-52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758675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ВТБ (сжат).024-min.jpeg" descr="ВТБ (сжат).024-min.jpe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07207" y="-422031"/>
            <a:ext cx="24384000" cy="14336850"/>
          </a:xfrm>
          <a:prstGeom prst="rect">
            <a:avLst/>
          </a:prstGeom>
          <a:ln w="12700">
            <a:miter lim="400000"/>
          </a:ln>
        </p:spPr>
      </p:pic>
      <p:sp>
        <p:nvSpPr>
          <p:cNvPr id="254" name="втб"/>
          <p:cNvSpPr/>
          <p:nvPr/>
        </p:nvSpPr>
        <p:spPr>
          <a:xfrm>
            <a:off x="14979341" y="-103393"/>
            <a:ext cx="9477197" cy="13874960"/>
          </a:xfrm>
          <a:custGeom>
            <a:avLst/>
            <a:gdLst>
              <a:gd name="connsiteX0" fmla="*/ 0 w 21600"/>
              <a:gd name="connsiteY0" fmla="*/ 21556 h 21574"/>
              <a:gd name="connsiteX1" fmla="*/ 21547 w 21600"/>
              <a:gd name="connsiteY1" fmla="*/ 21574 h 21574"/>
              <a:gd name="connsiteX2" fmla="*/ 21600 w 21600"/>
              <a:gd name="connsiteY2" fmla="*/ 20 h 21574"/>
              <a:gd name="connsiteX3" fmla="*/ 14006 w 21600"/>
              <a:gd name="connsiteY3" fmla="*/ 0 h 21574"/>
              <a:gd name="connsiteX4" fmla="*/ 0 w 21600"/>
              <a:gd name="connsiteY4" fmla="*/ 21556 h 21574"/>
              <a:gd name="connsiteX0" fmla="*/ 0 w 21600"/>
              <a:gd name="connsiteY0" fmla="*/ 21536 h 21554"/>
              <a:gd name="connsiteX1" fmla="*/ 21547 w 21600"/>
              <a:gd name="connsiteY1" fmla="*/ 21554 h 21554"/>
              <a:gd name="connsiteX2" fmla="*/ 21600 w 21600"/>
              <a:gd name="connsiteY2" fmla="*/ 0 h 21554"/>
              <a:gd name="connsiteX3" fmla="*/ 13985 w 21600"/>
              <a:gd name="connsiteY3" fmla="*/ 24 h 21554"/>
              <a:gd name="connsiteX4" fmla="*/ 0 w 21600"/>
              <a:gd name="connsiteY4" fmla="*/ 21536 h 21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1554" extrusionOk="0">
                <a:moveTo>
                  <a:pt x="0" y="21536"/>
                </a:moveTo>
                <a:lnTo>
                  <a:pt x="21547" y="21554"/>
                </a:lnTo>
                <a:cubicBezTo>
                  <a:pt x="21565" y="14369"/>
                  <a:pt x="21582" y="7185"/>
                  <a:pt x="21600" y="0"/>
                </a:cubicBezTo>
                <a:lnTo>
                  <a:pt x="13985" y="24"/>
                </a:lnTo>
                <a:lnTo>
                  <a:pt x="0" y="21536"/>
                </a:lnTo>
                <a:close/>
              </a:path>
            </a:pathLst>
          </a:custGeom>
          <a:solidFill>
            <a:schemeClr val="bg1"/>
          </a:solidFill>
          <a:ln w="25400">
            <a:noFill/>
          </a:ln>
        </p:spPr>
        <p:txBody>
          <a:bodyPr lIns="0" tIns="0" rIns="0" bIns="0" anchor="ctr"/>
          <a:lstStyle/>
          <a:p>
            <a:pPr algn="l" defTabSz="1865925" fontAlgn="base" hangingPunct="1">
              <a:spcBef>
                <a:spcPct val="0"/>
              </a:spcBef>
              <a:spcAft>
                <a:spcPct val="0"/>
              </a:spcAft>
            </a:pPr>
            <a:endParaRPr sz="3300" b="0" kern="1200" dirty="0">
              <a:latin typeface="VTB Group Book" panose="020B0503040504020204" pitchFamily="34" charset="-52"/>
              <a:ea typeface="+mn-ea"/>
              <a:cs typeface="+mn-cs"/>
            </a:endParaRPr>
          </a:p>
        </p:txBody>
      </p:sp>
      <p:sp>
        <p:nvSpPr>
          <p:cNvPr id="258" name="Мы помогаем людям воплощать их планы, создавая лучшие финансовые решения.…"/>
          <p:cNvSpPr txBox="1"/>
          <p:nvPr/>
        </p:nvSpPr>
        <p:spPr>
          <a:xfrm>
            <a:off x="2977498" y="3446498"/>
            <a:ext cx="10865482" cy="27466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786" tIns="50786" rIns="50786" bIns="50786">
            <a:spAutoFit/>
          </a:bodyPr>
          <a:lstStyle/>
          <a:p>
            <a:pPr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ts val="1224"/>
              </a:spcAft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700" b="0" kern="1200" dirty="0" err="1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помогаем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людям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воплощать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их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планы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,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создавая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лучшие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финансовые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решения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.</a:t>
            </a:r>
          </a:p>
          <a:p>
            <a:pPr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–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команда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профессионалов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,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работающих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для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наших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клиентов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и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всей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страны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. </a:t>
            </a:r>
          </a:p>
        </p:txBody>
      </p:sp>
      <p:sp>
        <p:nvSpPr>
          <p:cNvPr id="261" name="Миссия"/>
          <p:cNvSpPr txBox="1"/>
          <p:nvPr/>
        </p:nvSpPr>
        <p:spPr>
          <a:xfrm>
            <a:off x="2977645" y="1854204"/>
            <a:ext cx="8394899" cy="14875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86" tIns="50786" rIns="50786" bIns="50786">
            <a:spAutoFit/>
          </a:bodyPr>
          <a:lstStyle>
            <a:lvl1pPr algn="l">
              <a:lnSpc>
                <a:spcPct val="70000"/>
              </a:lnSpc>
              <a:defRPr sz="12000" b="1">
                <a:solidFill>
                  <a:srgbClr val="002280"/>
                </a:solidFill>
                <a:latin typeface="VTB Group Cond"/>
                <a:ea typeface="VTB Group Cond"/>
                <a:cs typeface="VTB Group Cond"/>
                <a:sym typeface="VTB Group Cond"/>
              </a:defRPr>
            </a:lvl1pPr>
          </a:lstStyle>
          <a:p>
            <a:pPr defTabSz="1651000">
              <a:lnSpc>
                <a:spcPct val="90000"/>
              </a:lnSpc>
            </a:pPr>
            <a:r>
              <a:rPr sz="10000" cap="all" dirty="0" err="1">
                <a:solidFill>
                  <a:srgbClr val="002476"/>
                </a:solidFill>
                <a:latin typeface="VTB Group Demi Bold" panose="020B0703050504020204" pitchFamily="34" charset="-52"/>
                <a:ea typeface="Arial"/>
                <a:cs typeface="Arial"/>
                <a:sym typeface="Arial"/>
              </a:rPr>
              <a:t>Мисси</a:t>
            </a:r>
            <a:r>
              <a:rPr lang="ru-RU" sz="10000" cap="all" dirty="0">
                <a:solidFill>
                  <a:srgbClr val="002476"/>
                </a:solidFill>
                <a:latin typeface="VTB Group Demi Bold" panose="020B0703050504020204" pitchFamily="34" charset="-52"/>
                <a:ea typeface="Arial"/>
                <a:cs typeface="Arial"/>
                <a:sym typeface="Arial"/>
              </a:rPr>
              <a:t>я ВТБ</a:t>
            </a:r>
            <a:endParaRPr sz="10000" cap="all" dirty="0">
              <a:solidFill>
                <a:srgbClr val="002476"/>
              </a:solidFill>
              <a:latin typeface="VTB Group Demi Bold" panose="020B0703050504020204" pitchFamily="34" charset="-52"/>
              <a:ea typeface="Arial"/>
              <a:cs typeface="Arial"/>
              <a:sym typeface="Arial"/>
            </a:endParaRPr>
          </a:p>
        </p:txBody>
      </p:sp>
      <p:sp>
        <p:nvSpPr>
          <p:cNvPr id="263" name="Динамично и устойчиво растущая универсальная финансовая группа, которая призвана быть для своих клиентов финансовым партнером первого выбора, обеспечивая их потребности наиболее удобными и современными способами."/>
          <p:cNvSpPr txBox="1"/>
          <p:nvPr/>
        </p:nvSpPr>
        <p:spPr>
          <a:xfrm>
            <a:off x="2977647" y="8898897"/>
            <a:ext cx="10865335" cy="38332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786" tIns="50786" rIns="50786" bIns="50786">
            <a:spAutoFit/>
          </a:bodyPr>
          <a:lstStyle>
            <a:lvl1pPr algn="l">
              <a:lnSpc>
                <a:spcPct val="110000"/>
              </a:lnSpc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lvl1pPr>
          </a:lstStyle>
          <a:p>
            <a:pPr defTabSz="1865925" fontAlgn="base" hangingPunct="1">
              <a:spcBef>
                <a:spcPct val="0"/>
              </a:spcBef>
              <a:spcAft>
                <a:spcPct val="0"/>
              </a:spcAft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700" b="0" kern="1200" dirty="0" err="1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+mn-cs"/>
                <a:sym typeface="Helvetica Neue"/>
              </a:rPr>
              <a:t>Динамично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и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устойчиво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растущая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универсальная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финансовая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группа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,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которая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призвана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быть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для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своих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клиентов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финансовым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партнером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первого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выбора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,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обеспечивая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их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потребности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наиболее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удобными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и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современными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 </a:t>
            </a:r>
            <a:r>
              <a:rPr sz="37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способами</a:t>
            </a:r>
            <a:r>
              <a:rPr sz="37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Helvetica Neue"/>
              </a:rPr>
              <a:t>.</a:t>
            </a:r>
          </a:p>
        </p:txBody>
      </p:sp>
      <p:sp>
        <p:nvSpPr>
          <p:cNvPr id="264" name="Видение"/>
          <p:cNvSpPr txBox="1"/>
          <p:nvPr/>
        </p:nvSpPr>
        <p:spPr>
          <a:xfrm>
            <a:off x="2977495" y="7306602"/>
            <a:ext cx="8898241" cy="14875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86" tIns="50786" rIns="50786" bIns="50786">
            <a:spAutoFit/>
          </a:bodyPr>
          <a:lstStyle>
            <a:lvl1pPr algn="l">
              <a:lnSpc>
                <a:spcPct val="70000"/>
              </a:lnSpc>
              <a:defRPr sz="12000" b="1">
                <a:solidFill>
                  <a:srgbClr val="002280"/>
                </a:solidFill>
                <a:latin typeface="VTB Group Cond"/>
                <a:ea typeface="VTB Group Cond"/>
                <a:cs typeface="VTB Group Cond"/>
                <a:sym typeface="VTB Group Cond"/>
              </a:defRPr>
            </a:lvl1pPr>
          </a:lstStyle>
          <a:p>
            <a:pPr defTabSz="1651000">
              <a:lnSpc>
                <a:spcPct val="90000"/>
              </a:lnSpc>
            </a:pPr>
            <a:r>
              <a:rPr sz="10000" cap="all" dirty="0" err="1">
                <a:solidFill>
                  <a:srgbClr val="002476"/>
                </a:solidFill>
                <a:latin typeface="VTB Group Demi Bold" panose="020B0703050504020204" pitchFamily="34" charset="-52"/>
                <a:ea typeface="Arial"/>
                <a:cs typeface="Arial"/>
              </a:rPr>
              <a:t>Видение</a:t>
            </a:r>
            <a:r>
              <a:rPr lang="ru-RU" sz="10000" cap="all" dirty="0">
                <a:solidFill>
                  <a:srgbClr val="002476"/>
                </a:solidFill>
                <a:latin typeface="VTB Group Demi Bold" panose="020B0703050504020204" pitchFamily="34" charset="-52"/>
                <a:ea typeface="Arial"/>
                <a:cs typeface="Arial"/>
              </a:rPr>
              <a:t> ВТБ</a:t>
            </a:r>
            <a:endParaRPr sz="10000" cap="all" dirty="0">
              <a:solidFill>
                <a:srgbClr val="002476"/>
              </a:solidFill>
              <a:latin typeface="VTB Group Demi Bold" panose="020B0703050504020204" pitchFamily="34" charset="-52"/>
              <a:ea typeface="Arial"/>
              <a:cs typeface="Arial"/>
            </a:endParaRPr>
          </a:p>
        </p:txBody>
      </p:sp>
      <p:sp>
        <p:nvSpPr>
          <p:cNvPr id="10" name="втб"/>
          <p:cNvSpPr/>
          <p:nvPr/>
        </p:nvSpPr>
        <p:spPr>
          <a:xfrm rot="2630972" flipH="1">
            <a:off x="-1586491" y="-1161714"/>
            <a:ext cx="4217915" cy="5967859"/>
          </a:xfrm>
          <a:custGeom>
            <a:avLst/>
            <a:gdLst>
              <a:gd name="connsiteX0" fmla="*/ 0 w 21600"/>
              <a:gd name="connsiteY0" fmla="*/ 21556 h 21574"/>
              <a:gd name="connsiteX1" fmla="*/ 21547 w 21600"/>
              <a:gd name="connsiteY1" fmla="*/ 21574 h 21574"/>
              <a:gd name="connsiteX2" fmla="*/ 21600 w 21600"/>
              <a:gd name="connsiteY2" fmla="*/ 20 h 21574"/>
              <a:gd name="connsiteX3" fmla="*/ 14006 w 21600"/>
              <a:gd name="connsiteY3" fmla="*/ 0 h 21574"/>
              <a:gd name="connsiteX4" fmla="*/ 0 w 21600"/>
              <a:gd name="connsiteY4" fmla="*/ 21556 h 21574"/>
              <a:gd name="connsiteX0" fmla="*/ 0 w 21600"/>
              <a:gd name="connsiteY0" fmla="*/ 21536 h 21554"/>
              <a:gd name="connsiteX1" fmla="*/ 21547 w 21600"/>
              <a:gd name="connsiteY1" fmla="*/ 21554 h 21554"/>
              <a:gd name="connsiteX2" fmla="*/ 21600 w 21600"/>
              <a:gd name="connsiteY2" fmla="*/ 0 h 21554"/>
              <a:gd name="connsiteX3" fmla="*/ 13985 w 21600"/>
              <a:gd name="connsiteY3" fmla="*/ 24 h 21554"/>
              <a:gd name="connsiteX4" fmla="*/ 0 w 21600"/>
              <a:gd name="connsiteY4" fmla="*/ 21536 h 21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1554" extrusionOk="0">
                <a:moveTo>
                  <a:pt x="0" y="21536"/>
                </a:moveTo>
                <a:lnTo>
                  <a:pt x="21547" y="21554"/>
                </a:lnTo>
                <a:cubicBezTo>
                  <a:pt x="21565" y="14369"/>
                  <a:pt x="21582" y="7185"/>
                  <a:pt x="21600" y="0"/>
                </a:cubicBezTo>
                <a:lnTo>
                  <a:pt x="13985" y="24"/>
                </a:lnTo>
                <a:lnTo>
                  <a:pt x="0" y="21536"/>
                </a:lnTo>
                <a:close/>
              </a:path>
            </a:pathLst>
          </a:custGeom>
          <a:solidFill>
            <a:schemeClr val="bg1"/>
          </a:solidFill>
          <a:ln w="25400">
            <a:noFill/>
          </a:ln>
        </p:spPr>
        <p:txBody>
          <a:bodyPr lIns="0" tIns="0" rIns="0" bIns="0" anchor="ctr"/>
          <a:lstStyle/>
          <a:p>
            <a:pPr algn="l" defTabSz="1865925" fontAlgn="base" hangingPunct="1">
              <a:spcBef>
                <a:spcPct val="0"/>
              </a:spcBef>
              <a:spcAft>
                <a:spcPct val="0"/>
              </a:spcAft>
            </a:pPr>
            <a:endParaRPr sz="3300" b="0" kern="1200" dirty="0">
              <a:latin typeface="VTB Group Book" panose="020B0503040504020204" pitchFamily="34" charset="-52"/>
              <a:ea typeface="+mn-ea"/>
              <a:cs typeface="+mn-cs"/>
            </a:endParaRPr>
          </a:p>
        </p:txBody>
      </p:sp>
      <p:sp>
        <p:nvSpPr>
          <p:cNvPr id="12" name="Выноска 1 11"/>
          <p:cNvSpPr/>
          <p:nvPr/>
        </p:nvSpPr>
        <p:spPr>
          <a:xfrm>
            <a:off x="16178540" y="1671513"/>
            <a:ext cx="5188615" cy="1774985"/>
          </a:xfrm>
          <a:prstGeom prst="borderCallout1">
            <a:avLst>
              <a:gd name="adj1" fmla="val 37366"/>
              <a:gd name="adj2" fmla="val -3463"/>
              <a:gd name="adj3" fmla="val 112500"/>
              <a:gd name="adj4" fmla="val -38333"/>
            </a:avLst>
          </a:prstGeom>
          <a:solidFill>
            <a:schemeClr val="bg1"/>
          </a:solidFill>
          <a:ln w="9525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72" tIns="93286" rIns="186572" bIns="93286" rtlCol="0" anchor="ctr"/>
          <a:lstStyle/>
          <a:p>
            <a:pPr algn="l" defTabSz="1865925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400" b="0" i="1" kern="1200" dirty="0">
                <a:solidFill>
                  <a:srgbClr val="002476"/>
                </a:solidFill>
                <a:latin typeface="VTB Group Book" pitchFamily="34" charset="-52"/>
                <a:ea typeface="VTB Group Cond Light"/>
                <a:cs typeface="VTB Group Cond Light"/>
              </a:rPr>
              <a:t>Определяет предназначение организации, смысл ее существования</a:t>
            </a:r>
            <a:endParaRPr lang="en-US" sz="2400" b="0" i="1" kern="1200" dirty="0">
              <a:solidFill>
                <a:srgbClr val="002476"/>
              </a:solidFill>
              <a:latin typeface="VTB Group Book" pitchFamily="34" charset="-52"/>
              <a:ea typeface="VTB Group Cond Light"/>
              <a:cs typeface="VTB Group Cond Light"/>
            </a:endParaRPr>
          </a:p>
        </p:txBody>
      </p:sp>
      <p:sp>
        <p:nvSpPr>
          <p:cNvPr id="14" name="Выноска 1 13"/>
          <p:cNvSpPr/>
          <p:nvPr/>
        </p:nvSpPr>
        <p:spPr>
          <a:xfrm>
            <a:off x="16853202" y="6381333"/>
            <a:ext cx="5538483" cy="1774985"/>
          </a:xfrm>
          <a:prstGeom prst="borderCallout1">
            <a:avLst>
              <a:gd name="adj1" fmla="val 39556"/>
              <a:gd name="adj2" fmla="val -5336"/>
              <a:gd name="adj3" fmla="val 112500"/>
              <a:gd name="adj4" fmla="val -38333"/>
            </a:avLst>
          </a:prstGeom>
          <a:solidFill>
            <a:schemeClr val="bg1"/>
          </a:solidFill>
          <a:ln w="9525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6572" tIns="93286" rIns="186572" bIns="93286" rtlCol="0" anchor="ctr"/>
          <a:lstStyle/>
          <a:p>
            <a:pPr algn="l" defTabSz="1865925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400" b="0" i="1" kern="1200" dirty="0">
                <a:solidFill>
                  <a:srgbClr val="002476"/>
                </a:solidFill>
                <a:latin typeface="VTB Group Book" panose="020B0503040504020204" pitchFamily="34" charset="-52"/>
                <a:ea typeface="VTB Group Cond Light"/>
                <a:cs typeface="VTB Group Cond Light"/>
              </a:rPr>
              <a:t>Отвечает на </a:t>
            </a:r>
            <a:r>
              <a:rPr lang="ru-RU" sz="2400" b="0" i="1" kern="1200" dirty="0" smtClean="0">
                <a:solidFill>
                  <a:srgbClr val="002476"/>
                </a:solidFill>
                <a:latin typeface="VTB Group Book" panose="020B0503040504020204" pitchFamily="34" charset="-52"/>
                <a:ea typeface="VTB Group Cond Light"/>
                <a:cs typeface="VTB Group Cond Light"/>
              </a:rPr>
              <a:t>вопрос, </a:t>
            </a:r>
            <a:r>
              <a:rPr lang="ru-RU" sz="2400" b="0" i="1" kern="1200" dirty="0">
                <a:solidFill>
                  <a:srgbClr val="002476"/>
                </a:solidFill>
                <a:latin typeface="VTB Group Book" panose="020B0503040504020204" pitchFamily="34" charset="-52"/>
                <a:ea typeface="VTB Group Cond Light"/>
                <a:cs typeface="VTB Group Cond Light"/>
              </a:rPr>
              <a:t>как развиваться организации, чтобы реализовать свою миссию, какой она видит себя в будущем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3178893" y="13025139"/>
            <a:ext cx="524805" cy="439640"/>
          </a:xfrm>
          <a:prstGeom prst="rect">
            <a:avLst/>
          </a:prstGeom>
          <a:noFill/>
        </p:spPr>
        <p:txBody>
          <a:bodyPr wrap="square" lIns="186572" tIns="93286" rIns="186572" bIns="93286" rtlCol="0">
            <a:spAutoFit/>
          </a:bodyPr>
          <a:lstStyle/>
          <a:p>
            <a:pPr algn="l" defTabSz="1865925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 kern="1200" dirty="0" smtClean="0">
                <a:solidFill>
                  <a:srgbClr val="FFFFFF">
                    <a:lumMod val="50000"/>
                  </a:srgbClr>
                </a:solidFill>
                <a:latin typeface="VTB Group Book" panose="020B0503040504020204" pitchFamily="34" charset="-52"/>
                <a:ea typeface="+mn-ea"/>
                <a:cs typeface="+mn-cs"/>
              </a:rPr>
              <a:t>4</a:t>
            </a:r>
            <a:endParaRPr lang="ru-RU" sz="1600" b="0" kern="1200" dirty="0">
              <a:solidFill>
                <a:srgbClr val="FFFFFF">
                  <a:lumMod val="50000"/>
                </a:srgbClr>
              </a:solidFill>
              <a:latin typeface="VTB Group Book" panose="020B0503040504020204" pitchFamily="34" charset="-52"/>
              <a:ea typeface="+mn-ea"/>
              <a:cs typeface="+mn-cs"/>
            </a:endParaRPr>
          </a:p>
        </p:txBody>
      </p:sp>
      <p:pic>
        <p:nvPicPr>
          <p:cNvPr id="15" name="Picture 2" descr="C:\Users\vtb129757.REGION\Desktop\VTB_logo_ru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67158" y="-122561"/>
            <a:ext cx="3016843" cy="1728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670196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ВТБ (сжат).024-min.jpeg" descr="ВТБ (сжат).024-min.jpe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07208" y="-422031"/>
            <a:ext cx="25301515" cy="14336850"/>
          </a:xfrm>
          <a:prstGeom prst="rect">
            <a:avLst/>
          </a:prstGeom>
          <a:ln w="12700">
            <a:miter lim="400000"/>
          </a:ln>
        </p:spPr>
      </p:pic>
      <p:sp>
        <p:nvSpPr>
          <p:cNvPr id="269" name="новости и пресс-релизы"/>
          <p:cNvSpPr txBox="1"/>
          <p:nvPr/>
        </p:nvSpPr>
        <p:spPr>
          <a:xfrm>
            <a:off x="2968145" y="1510986"/>
            <a:ext cx="9675697" cy="14875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786" tIns="50786" rIns="50786" bIns="50786">
            <a:spAutoFit/>
          </a:bodyPr>
          <a:lstStyle>
            <a:lvl1pPr algn="l">
              <a:lnSpc>
                <a:spcPct val="90000"/>
              </a:lnSpc>
              <a:defRPr sz="10000" b="1" cap="all">
                <a:solidFill>
                  <a:srgbClr val="FFFFFF"/>
                </a:solidFill>
                <a:latin typeface="VTB Group Cond"/>
                <a:ea typeface="VTB Group Cond"/>
                <a:cs typeface="VTB Group Cond"/>
                <a:sym typeface="VTB Group Cond"/>
              </a:defRPr>
            </a:lvl1pPr>
          </a:lstStyle>
          <a:p>
            <a:pPr defTabSz="1865925" fontAlgn="base" hangingPunct="1">
              <a:spcBef>
                <a:spcPct val="0"/>
              </a:spcBef>
              <a:spcAft>
                <a:spcPct val="0"/>
              </a:spcAft>
            </a:pPr>
            <a:r>
              <a:rPr dirty="0">
                <a:solidFill>
                  <a:srgbClr val="002476"/>
                </a:solidFill>
                <a:latin typeface="VTB Group Demi Bold" panose="020B0703050504020204" pitchFamily="34" charset="-52"/>
                <a:ea typeface="Arial"/>
                <a:cs typeface="Arial"/>
              </a:rPr>
              <a:t>Ц</a:t>
            </a:r>
            <a:r>
              <a:rPr lang="ru-RU" dirty="0">
                <a:solidFill>
                  <a:srgbClr val="002476"/>
                </a:solidFill>
                <a:latin typeface="VTB Group Demi Bold" panose="020B0703050504020204" pitchFamily="34" charset="-52"/>
                <a:ea typeface="Arial"/>
                <a:cs typeface="Arial"/>
              </a:rPr>
              <a:t>ЕННОСТИ ВТБ</a:t>
            </a:r>
            <a:endParaRPr dirty="0">
              <a:solidFill>
                <a:srgbClr val="002476"/>
              </a:solidFill>
              <a:latin typeface="VTB Group Demi Bold" panose="020B0703050504020204" pitchFamily="34" charset="-52"/>
              <a:ea typeface="Arial"/>
              <a:cs typeface="Arial"/>
            </a:endParaRPr>
          </a:p>
        </p:txBody>
      </p:sp>
      <p:sp>
        <p:nvSpPr>
          <p:cNvPr id="271" name="Наблюдательный совет банка ВТБ утвердил программу структурных облигаций. Срок ее действия неограничен, максимальный объем всех выпусков составит 1 трлн руб. при возможном сроке обращения до 100 лет. Программа рублевых структурных облигаций разработана в соответствии с изменениями в законе «О рынке ценных бумаг», вступившими в силу в конце 2018 года."/>
          <p:cNvSpPr txBox="1"/>
          <p:nvPr/>
        </p:nvSpPr>
        <p:spPr>
          <a:xfrm>
            <a:off x="9717404" y="4090751"/>
            <a:ext cx="6070402" cy="40128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786" tIns="50786" rIns="50786" bIns="50786">
            <a:spAutoFit/>
          </a:bodyPr>
          <a:lstStyle/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200" b="0" kern="1200" dirty="0" err="1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уважаем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и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доверяем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друг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другу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  <a:sym typeface="VTB Group Cond Light"/>
            </a:endParaRPr>
          </a:p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поддерживаем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друг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друга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и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помогаем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коллегам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расти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  <a:sym typeface="VTB Group Cond Light"/>
            </a:endParaRPr>
          </a:p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добиваемся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общих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целей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  <a:sym typeface="VTB Group Cond Light"/>
            </a:endParaRPr>
          </a:p>
        </p:txBody>
      </p:sp>
      <p:sp>
        <p:nvSpPr>
          <p:cNvPr id="272" name="Наблюдательный совет банка ВТБ утвердил программу структурных облигаций. Срок ее действия неограничен, максимальный объем всех выпусков составит 1 трлн руб. при возможном сроке обращения до 100 лет. Программа рублевых структурных облигаций разработана в соответствии с изменениями в законе «О рынке ценных бумаг», вступившими в силу в конце 2018 года."/>
          <p:cNvSpPr txBox="1"/>
          <p:nvPr/>
        </p:nvSpPr>
        <p:spPr>
          <a:xfrm>
            <a:off x="2924744" y="9335490"/>
            <a:ext cx="6260703" cy="40128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786" tIns="50786" rIns="50786" bIns="50786">
            <a:spAutoFit/>
          </a:bodyPr>
          <a:lstStyle/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200" b="0" kern="1200" dirty="0" err="1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относимся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к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делу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неравнодушно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  <a:sym typeface="VTB Group Cond Light"/>
            </a:endParaRPr>
          </a:p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занимаем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проактивную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позицию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при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решении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общих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задач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  <a:sym typeface="VTB Group Cond Light"/>
            </a:endParaRPr>
          </a:p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делаем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больше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,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чем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формально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обязаны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  <a:sym typeface="VTB Group Cond Light"/>
            </a:endParaRPr>
          </a:p>
        </p:txBody>
      </p:sp>
      <p:sp>
        <p:nvSpPr>
          <p:cNvPr id="273" name="Наблюдательный совет банка ВТБ утвердил программу структурных облигаций. Срок ее действия неограничен, максимальный объем всех выпусков составит 1 трлн руб. при возможном сроке обращения до 100 лет. Программа рублевых структурных облигаций разработана в соответствии с изменениями в законе «О рынке ценных бумаг», вступившими в силу в конце 2018 года."/>
          <p:cNvSpPr txBox="1"/>
          <p:nvPr/>
        </p:nvSpPr>
        <p:spPr>
          <a:xfrm>
            <a:off x="9718080" y="9335492"/>
            <a:ext cx="7074062" cy="22693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786" tIns="50786" rIns="50786" bIns="50786">
            <a:spAutoFit/>
          </a:bodyPr>
          <a:lstStyle/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200" b="0" kern="1200" dirty="0" err="1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открыт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к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изменениям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  <a:sym typeface="VTB Group Cond Light"/>
            </a:endParaRPr>
          </a:p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начинаем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изменения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с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себя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  <a:sym typeface="VTB Group Cond Light"/>
            </a:endParaRPr>
          </a:p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не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боимся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экспериментировать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  <a:sym typeface="VTB Group Cond Light"/>
            </a:endParaRPr>
          </a:p>
        </p:txBody>
      </p:sp>
      <p:sp>
        <p:nvSpPr>
          <p:cNvPr id="274" name="Наблюдательный совет банка ВТБ утвердил программу структурных облигаций. Срок ее действия неограничен, максимальный объем всех выпусков составит 1 трлн руб. при возможном сроке обращения до 100 лет. Программа рублевых структурных облигаций разработана в соответствии с изменениями в законе «О рынке ценных бумаг», вступившими в силу в конце 2018 года."/>
          <p:cNvSpPr txBox="1"/>
          <p:nvPr/>
        </p:nvSpPr>
        <p:spPr>
          <a:xfrm>
            <a:off x="16792141" y="4090753"/>
            <a:ext cx="6386751" cy="38648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786" tIns="50786" rIns="50786" bIns="50786">
            <a:spAutoFit/>
          </a:bodyPr>
          <a:lstStyle/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200" b="0" kern="1200" dirty="0" err="1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нацелен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на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результат</a:t>
            </a:r>
            <a:r>
              <a:rPr sz="3200" b="0" kern="1200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,</a:t>
            </a:r>
            <a:r>
              <a:rPr lang="ru-RU" sz="3200" b="0" kern="1200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 </a:t>
            </a:r>
            <a:r>
              <a:rPr sz="3200" b="0" kern="1200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а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не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на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процесс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  <a:sym typeface="VTB Group Cond Light"/>
            </a:endParaRPr>
          </a:p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Каждый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из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нас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отвечает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lang="ru-RU" sz="3200" b="0" kern="1200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    </a:t>
            </a:r>
            <a:r>
              <a:rPr sz="3200" b="0" kern="1200" dirty="0" err="1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за</a:t>
            </a:r>
            <a:r>
              <a:rPr sz="3200" b="0" kern="1200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свой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вклад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в </a:t>
            </a:r>
            <a:r>
              <a:rPr lang="ru-RU" sz="3200" b="0" kern="1200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д</a:t>
            </a:r>
            <a:r>
              <a:rPr sz="3200" b="0" kern="1200" dirty="0" err="1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остижение</a:t>
            </a:r>
            <a:r>
              <a:rPr sz="3200" b="0" kern="1200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общих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целей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  <a:sym typeface="VTB Group Cond Light"/>
            </a:endParaRPr>
          </a:p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Мы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открыто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говорим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lang="ru-RU" sz="3200" b="0" kern="1200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         </a:t>
            </a:r>
            <a:r>
              <a:rPr sz="3200" b="0" kern="1200" dirty="0" err="1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об</a:t>
            </a:r>
            <a:r>
              <a:rPr sz="3200" b="0" kern="1200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успехах</a:t>
            </a:r>
            <a:r>
              <a:rPr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и </a:t>
            </a:r>
            <a:r>
              <a:rPr sz="3200" b="0" kern="1200" dirty="0" err="1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неудачах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  <a:sym typeface="VTB Group Cond Light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CC0F75C-B06D-6F47-ACC6-70BF71460865}"/>
              </a:ext>
            </a:extLst>
          </p:cNvPr>
          <p:cNvSpPr/>
          <p:nvPr/>
        </p:nvSpPr>
        <p:spPr>
          <a:xfrm>
            <a:off x="9718082" y="3433171"/>
            <a:ext cx="4559203" cy="650917"/>
          </a:xfrm>
          <a:prstGeom prst="rect">
            <a:avLst/>
          </a:prstGeom>
        </p:spPr>
        <p:txBody>
          <a:bodyPr wrap="none" lIns="91411" tIns="45705" rIns="91411" bIns="45705">
            <a:spAutoFit/>
          </a:bodyPr>
          <a:lstStyle/>
          <a:p>
            <a:pPr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FFFFFF"/>
                </a:solidFill>
                <a:latin typeface="VTB Group Cond"/>
                <a:ea typeface="VTB Group Cond"/>
                <a:cs typeface="VTB Group Cond"/>
                <a:sym typeface="VTB Group Cond"/>
              </a:defRPr>
            </a:pPr>
            <a:r>
              <a:rPr lang="ru-RU" sz="3300" kern="1200" dirty="0">
                <a:solidFill>
                  <a:srgbClr val="002476"/>
                </a:solidFill>
                <a:latin typeface="VTB Group Book" panose="020B0503040504020204" pitchFamily="34" charset="-52"/>
                <a:ea typeface="VTB Group Cond"/>
                <a:cs typeface="VTB Group Cond Demi Bold"/>
                <a:sym typeface="VTB Group Cond"/>
              </a:rPr>
              <a:t>Работаем в команде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F67E291-8BAD-8341-8B54-168873C40D34}"/>
              </a:ext>
            </a:extLst>
          </p:cNvPr>
          <p:cNvSpPr/>
          <p:nvPr/>
        </p:nvSpPr>
        <p:spPr>
          <a:xfrm>
            <a:off x="16792147" y="3449202"/>
            <a:ext cx="5036898" cy="650917"/>
          </a:xfrm>
          <a:prstGeom prst="rect">
            <a:avLst/>
          </a:prstGeom>
        </p:spPr>
        <p:txBody>
          <a:bodyPr wrap="none" lIns="91411" tIns="45705" rIns="91411" bIns="45705">
            <a:spAutoFit/>
          </a:bodyPr>
          <a:lstStyle/>
          <a:p>
            <a:pPr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FFFFFF"/>
                </a:solidFill>
                <a:latin typeface="VTB Group Cond"/>
                <a:ea typeface="VTB Group Cond"/>
                <a:cs typeface="VTB Group Cond"/>
                <a:sym typeface="VTB Group Cond"/>
              </a:defRPr>
            </a:pPr>
            <a:r>
              <a:rPr lang="ru-RU" sz="3300" kern="1200" dirty="0">
                <a:solidFill>
                  <a:srgbClr val="002476"/>
                </a:solidFill>
                <a:latin typeface="VTB Group Book" panose="020B0503040504020204" pitchFamily="34" charset="-52"/>
                <a:ea typeface="VTB Group Cond"/>
                <a:cs typeface="VTB Group Cond Demi Bold"/>
                <a:sym typeface="VTB Group Cond"/>
              </a:rPr>
              <a:t>Отвечаем за результат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4F2F3C8-24C0-9D43-81DF-24BB6791D17C}"/>
              </a:ext>
            </a:extLst>
          </p:cNvPr>
          <p:cNvSpPr/>
          <p:nvPr/>
        </p:nvSpPr>
        <p:spPr>
          <a:xfrm>
            <a:off x="2924747" y="8725869"/>
            <a:ext cx="5208419" cy="650917"/>
          </a:xfrm>
          <a:prstGeom prst="rect">
            <a:avLst/>
          </a:prstGeom>
        </p:spPr>
        <p:txBody>
          <a:bodyPr wrap="none" lIns="91411" tIns="45705" rIns="91411" bIns="45705">
            <a:spAutoFit/>
          </a:bodyPr>
          <a:lstStyle/>
          <a:p>
            <a:pPr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FFFFFF"/>
                </a:solidFill>
                <a:latin typeface="VTB Group Cond"/>
                <a:ea typeface="VTB Group Cond"/>
                <a:cs typeface="VTB Group Cond"/>
                <a:sym typeface="VTB Group Cond"/>
              </a:defRPr>
            </a:pPr>
            <a:r>
              <a:rPr lang="ru-RU" sz="3300" kern="1200" dirty="0">
                <a:solidFill>
                  <a:srgbClr val="002476"/>
                </a:solidFill>
                <a:latin typeface="VTB Group Book" panose="020B0503040504020204" pitchFamily="34" charset="-52"/>
                <a:ea typeface="VTB Group Cond"/>
                <a:cs typeface="VTB Group Cond Demi Bold"/>
                <a:sym typeface="VTB Group Cond"/>
              </a:rPr>
              <a:t>Проявляем инициативу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7563574-EC60-0C48-A43B-7CC2A6051A7F}"/>
              </a:ext>
            </a:extLst>
          </p:cNvPr>
          <p:cNvSpPr/>
          <p:nvPr/>
        </p:nvSpPr>
        <p:spPr>
          <a:xfrm>
            <a:off x="9718083" y="8725869"/>
            <a:ext cx="6603031" cy="650917"/>
          </a:xfrm>
          <a:prstGeom prst="rect">
            <a:avLst/>
          </a:prstGeom>
        </p:spPr>
        <p:txBody>
          <a:bodyPr wrap="none" lIns="91411" tIns="45705" rIns="91411" bIns="45705">
            <a:spAutoFit/>
          </a:bodyPr>
          <a:lstStyle/>
          <a:p>
            <a:pPr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FFFFFF"/>
                </a:solidFill>
                <a:latin typeface="VTB Group Cond"/>
                <a:ea typeface="VTB Group Cond"/>
                <a:cs typeface="VTB Group Cond"/>
                <a:sym typeface="VTB Group Cond"/>
              </a:defRPr>
            </a:pPr>
            <a:r>
              <a:rPr lang="ru-RU" sz="3300" kern="1200" dirty="0">
                <a:solidFill>
                  <a:srgbClr val="002476"/>
                </a:solidFill>
                <a:latin typeface="VTB Group Book" panose="020B0503040504020204" pitchFamily="34" charset="-52"/>
                <a:ea typeface="VTB Group Cond"/>
                <a:cs typeface="VTB Group Cond Demi Bold"/>
                <a:sym typeface="VTB Group Cond"/>
              </a:rPr>
              <a:t>Совершенствуемся постоянно</a:t>
            </a:r>
          </a:p>
        </p:txBody>
      </p:sp>
      <p:sp>
        <p:nvSpPr>
          <p:cNvPr id="15" name="втб"/>
          <p:cNvSpPr/>
          <p:nvPr/>
        </p:nvSpPr>
        <p:spPr>
          <a:xfrm rot="2630972" flipH="1">
            <a:off x="-1586491" y="-1161714"/>
            <a:ext cx="4217915" cy="5967859"/>
          </a:xfrm>
          <a:custGeom>
            <a:avLst/>
            <a:gdLst>
              <a:gd name="connsiteX0" fmla="*/ 0 w 21600"/>
              <a:gd name="connsiteY0" fmla="*/ 21556 h 21574"/>
              <a:gd name="connsiteX1" fmla="*/ 21547 w 21600"/>
              <a:gd name="connsiteY1" fmla="*/ 21574 h 21574"/>
              <a:gd name="connsiteX2" fmla="*/ 21600 w 21600"/>
              <a:gd name="connsiteY2" fmla="*/ 20 h 21574"/>
              <a:gd name="connsiteX3" fmla="*/ 14006 w 21600"/>
              <a:gd name="connsiteY3" fmla="*/ 0 h 21574"/>
              <a:gd name="connsiteX4" fmla="*/ 0 w 21600"/>
              <a:gd name="connsiteY4" fmla="*/ 21556 h 21574"/>
              <a:gd name="connsiteX0" fmla="*/ 0 w 21600"/>
              <a:gd name="connsiteY0" fmla="*/ 21536 h 21554"/>
              <a:gd name="connsiteX1" fmla="*/ 21547 w 21600"/>
              <a:gd name="connsiteY1" fmla="*/ 21554 h 21554"/>
              <a:gd name="connsiteX2" fmla="*/ 21600 w 21600"/>
              <a:gd name="connsiteY2" fmla="*/ 0 h 21554"/>
              <a:gd name="connsiteX3" fmla="*/ 13985 w 21600"/>
              <a:gd name="connsiteY3" fmla="*/ 24 h 21554"/>
              <a:gd name="connsiteX4" fmla="*/ 0 w 21600"/>
              <a:gd name="connsiteY4" fmla="*/ 21536 h 21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1554" extrusionOk="0">
                <a:moveTo>
                  <a:pt x="0" y="21536"/>
                </a:moveTo>
                <a:lnTo>
                  <a:pt x="21547" y="21554"/>
                </a:lnTo>
                <a:cubicBezTo>
                  <a:pt x="21565" y="14369"/>
                  <a:pt x="21582" y="7185"/>
                  <a:pt x="21600" y="0"/>
                </a:cubicBezTo>
                <a:lnTo>
                  <a:pt x="13985" y="24"/>
                </a:lnTo>
                <a:lnTo>
                  <a:pt x="0" y="21536"/>
                </a:lnTo>
                <a:close/>
              </a:path>
            </a:pathLst>
          </a:custGeom>
          <a:solidFill>
            <a:schemeClr val="bg1"/>
          </a:solidFill>
          <a:ln w="25400">
            <a:noFill/>
          </a:ln>
        </p:spPr>
        <p:txBody>
          <a:bodyPr lIns="0" tIns="0" rIns="0" bIns="0" anchor="ctr"/>
          <a:lstStyle/>
          <a:p>
            <a:pPr algn="l" defTabSz="1865925" fontAlgn="base" hangingPunct="1">
              <a:spcBef>
                <a:spcPct val="0"/>
              </a:spcBef>
              <a:spcAft>
                <a:spcPct val="0"/>
              </a:spcAft>
            </a:pPr>
            <a:endParaRPr sz="3300" b="0" kern="1200" dirty="0">
              <a:latin typeface="VTB Group Book" panose="020B0503040504020204" pitchFamily="34" charset="-52"/>
              <a:ea typeface="+mn-ea"/>
              <a:cs typeface="+mn-cs"/>
            </a:endParaRPr>
          </a:p>
        </p:txBody>
      </p:sp>
      <p:sp>
        <p:nvSpPr>
          <p:cNvPr id="16" name="втб"/>
          <p:cNvSpPr/>
          <p:nvPr/>
        </p:nvSpPr>
        <p:spPr>
          <a:xfrm rot="13429282" flipH="1">
            <a:off x="20897394" y="6444182"/>
            <a:ext cx="6131458" cy="8045058"/>
          </a:xfrm>
          <a:custGeom>
            <a:avLst/>
            <a:gdLst>
              <a:gd name="connsiteX0" fmla="*/ 0 w 21600"/>
              <a:gd name="connsiteY0" fmla="*/ 21556 h 21574"/>
              <a:gd name="connsiteX1" fmla="*/ 21547 w 21600"/>
              <a:gd name="connsiteY1" fmla="*/ 21574 h 21574"/>
              <a:gd name="connsiteX2" fmla="*/ 21600 w 21600"/>
              <a:gd name="connsiteY2" fmla="*/ 20 h 21574"/>
              <a:gd name="connsiteX3" fmla="*/ 14006 w 21600"/>
              <a:gd name="connsiteY3" fmla="*/ 0 h 21574"/>
              <a:gd name="connsiteX4" fmla="*/ 0 w 21600"/>
              <a:gd name="connsiteY4" fmla="*/ 21556 h 21574"/>
              <a:gd name="connsiteX0" fmla="*/ 0 w 21600"/>
              <a:gd name="connsiteY0" fmla="*/ 21536 h 21554"/>
              <a:gd name="connsiteX1" fmla="*/ 21547 w 21600"/>
              <a:gd name="connsiteY1" fmla="*/ 21554 h 21554"/>
              <a:gd name="connsiteX2" fmla="*/ 21600 w 21600"/>
              <a:gd name="connsiteY2" fmla="*/ 0 h 21554"/>
              <a:gd name="connsiteX3" fmla="*/ 13985 w 21600"/>
              <a:gd name="connsiteY3" fmla="*/ 24 h 21554"/>
              <a:gd name="connsiteX4" fmla="*/ 0 w 21600"/>
              <a:gd name="connsiteY4" fmla="*/ 21536 h 21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00" h="21554" extrusionOk="0">
                <a:moveTo>
                  <a:pt x="0" y="21536"/>
                </a:moveTo>
                <a:lnTo>
                  <a:pt x="21547" y="21554"/>
                </a:lnTo>
                <a:cubicBezTo>
                  <a:pt x="21565" y="14369"/>
                  <a:pt x="21582" y="7185"/>
                  <a:pt x="21600" y="0"/>
                </a:cubicBezTo>
                <a:lnTo>
                  <a:pt x="13985" y="24"/>
                </a:lnTo>
                <a:lnTo>
                  <a:pt x="0" y="21536"/>
                </a:lnTo>
                <a:close/>
              </a:path>
            </a:pathLst>
          </a:custGeom>
          <a:solidFill>
            <a:schemeClr val="bg1"/>
          </a:solidFill>
          <a:ln w="25400">
            <a:noFill/>
          </a:ln>
        </p:spPr>
        <p:txBody>
          <a:bodyPr lIns="0" tIns="0" rIns="0" bIns="0" anchor="ctr"/>
          <a:lstStyle/>
          <a:p>
            <a:pPr algn="l" defTabSz="1865925" fontAlgn="base" hangingPunct="1">
              <a:spcBef>
                <a:spcPct val="0"/>
              </a:spcBef>
              <a:spcAft>
                <a:spcPct val="0"/>
              </a:spcAft>
            </a:pPr>
            <a:endParaRPr sz="3300" b="0" kern="1200" dirty="0">
              <a:latin typeface="VTB Group Book" panose="020B0503040504020204" pitchFamily="34" charset="-52"/>
              <a:ea typeface="+mn-ea"/>
              <a:cs typeface="+mn-cs"/>
            </a:endParaRPr>
          </a:p>
        </p:txBody>
      </p:sp>
      <p:sp>
        <p:nvSpPr>
          <p:cNvPr id="17" name="Наблюдательный совет банка ВТБ утвердил программу структурных облигаций. Срок ее действия неограничен, максимальный объем всех выпусков составит 1 трлн руб. при возможном сроке обращения до 100 лет. Программа рублевых структурных облигаций разработана в соответствии с изменениями в законе «О рынке ценных бумаг», вступившими в силу в конце 2018 года."/>
          <p:cNvSpPr txBox="1"/>
          <p:nvPr/>
        </p:nvSpPr>
        <p:spPr>
          <a:xfrm>
            <a:off x="2999815" y="4144407"/>
            <a:ext cx="6070404" cy="38943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786" tIns="50786" rIns="50786" bIns="50786">
            <a:spAutoFit/>
          </a:bodyPr>
          <a:lstStyle/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lang="ru-RU"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Мы ставим потребности клиента</a:t>
            </a:r>
            <a:r>
              <a:rPr lang="en-US"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</a:t>
            </a:r>
            <a:r>
              <a:rPr lang="ru-RU"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во главу угла</a:t>
            </a:r>
          </a:p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lang="ru-RU"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Мы доверяем клиенту </a:t>
            </a:r>
            <a:r>
              <a:rPr lang="ru-RU" sz="3200" b="0" kern="1200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        и </a:t>
            </a:r>
            <a:r>
              <a:rPr lang="ru-RU"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стремимся заслужить его доверие</a:t>
            </a:r>
          </a:p>
          <a:p>
            <a:pPr marL="571500" indent="-571500"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lang="ru-RU"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  <a:sym typeface="VTB Group Cond Light"/>
              </a:rPr>
              <a:t>Мы слушаем и слышим клиента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FCC0F75C-B06D-6F47-ACC6-70BF71460865}"/>
              </a:ext>
            </a:extLst>
          </p:cNvPr>
          <p:cNvSpPr/>
          <p:nvPr/>
        </p:nvSpPr>
        <p:spPr>
          <a:xfrm>
            <a:off x="2999813" y="3396950"/>
            <a:ext cx="4400505" cy="650917"/>
          </a:xfrm>
          <a:prstGeom prst="rect">
            <a:avLst/>
          </a:prstGeom>
        </p:spPr>
        <p:txBody>
          <a:bodyPr wrap="none" lIns="91411" tIns="45705" rIns="91411" bIns="45705">
            <a:spAutoFit/>
          </a:bodyPr>
          <a:lstStyle/>
          <a:p>
            <a:pPr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FFFFFF"/>
                </a:solidFill>
                <a:latin typeface="VTB Group Cond"/>
                <a:ea typeface="VTB Group Cond"/>
                <a:cs typeface="VTB Group Cond"/>
                <a:sym typeface="VTB Group Cond"/>
              </a:defRPr>
            </a:pPr>
            <a:r>
              <a:rPr lang="ru-RU" sz="3300" kern="1200" dirty="0">
                <a:solidFill>
                  <a:srgbClr val="002476"/>
                </a:solidFill>
                <a:latin typeface="VTB Group Book" panose="020B0503040504020204" pitchFamily="34" charset="-52"/>
                <a:ea typeface="VTB Group Cond"/>
                <a:cs typeface="VTB Group Cond Demi Bold"/>
                <a:sym typeface="VTB Group Cond"/>
              </a:rPr>
              <a:t>Дорожим клиентом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3178893" y="13025139"/>
            <a:ext cx="524805" cy="439640"/>
          </a:xfrm>
          <a:prstGeom prst="rect">
            <a:avLst/>
          </a:prstGeom>
          <a:noFill/>
        </p:spPr>
        <p:txBody>
          <a:bodyPr wrap="square" lIns="186572" tIns="93286" rIns="186572" bIns="93286" rtlCol="0">
            <a:spAutoFit/>
          </a:bodyPr>
          <a:lstStyle/>
          <a:p>
            <a:pPr algn="l" defTabSz="1865925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0" kern="1200" dirty="0" smtClean="0">
                <a:solidFill>
                  <a:srgbClr val="FFFFFF">
                    <a:lumMod val="50000"/>
                  </a:srgbClr>
                </a:solidFill>
                <a:latin typeface="VTB Group Book" panose="020B0503040504020204" pitchFamily="34" charset="-52"/>
                <a:ea typeface="+mn-ea"/>
                <a:cs typeface="+mn-cs"/>
              </a:rPr>
              <a:t>5</a:t>
            </a:r>
            <a:endParaRPr lang="ru-RU" sz="1600" b="0" kern="1200" dirty="0">
              <a:solidFill>
                <a:srgbClr val="FFFFFF">
                  <a:lumMod val="50000"/>
                </a:srgbClr>
              </a:solidFill>
              <a:latin typeface="VTB Group Book" panose="020B0503040504020204" pitchFamily="34" charset="-52"/>
              <a:ea typeface="+mn-ea"/>
              <a:cs typeface="+mn-cs"/>
            </a:endParaRPr>
          </a:p>
        </p:txBody>
      </p:sp>
      <p:pic>
        <p:nvPicPr>
          <p:cNvPr id="21" name="Picture 2" descr="C:\Users\vtb129757.REGION\Desktop\VTB_logo_ru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67158" y="-122561"/>
            <a:ext cx="3016843" cy="1728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61501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3" name="ВТБ (сжат).024-min.jpeg" descr="ВТБ (сжат).024-min.jpe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-422030"/>
            <a:ext cx="24384000" cy="137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4" name="TextBox 3"/>
          <p:cNvSpPr txBox="1"/>
          <p:nvPr/>
        </p:nvSpPr>
        <p:spPr>
          <a:xfrm>
            <a:off x="1954470" y="4892700"/>
            <a:ext cx="19356909" cy="5586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defTabSz="1650650">
              <a:lnSpc>
                <a:spcPct val="110000"/>
              </a:lnSpc>
              <a:defRPr sz="7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3300" kern="1200" dirty="0">
                <a:solidFill>
                  <a:srgbClr val="002476"/>
                </a:solidFill>
                <a:latin typeface="VTB Group Book" panose="020B0503040504020204" pitchFamily="34" charset="-52"/>
                <a:ea typeface="VTB Group Cond"/>
                <a:cs typeface="VTB Group Cond Demi Bold"/>
              </a:rPr>
              <a:t>Направления стажировки:</a:t>
            </a:r>
            <a:endParaRPr sz="3300" kern="1200" dirty="0">
              <a:solidFill>
                <a:srgbClr val="002476"/>
              </a:solidFill>
              <a:latin typeface="VTB Group Book" panose="020B0503040504020204" pitchFamily="34" charset="-52"/>
              <a:ea typeface="VTB Group Cond"/>
              <a:cs typeface="VTB Group Cond Demi Bold"/>
            </a:endParaRPr>
          </a:p>
        </p:txBody>
      </p:sp>
      <p:sp>
        <p:nvSpPr>
          <p:cNvPr id="18" name="Сквиркл"/>
          <p:cNvSpPr/>
          <p:nvPr/>
        </p:nvSpPr>
        <p:spPr>
          <a:xfrm>
            <a:off x="8346511" y="6206583"/>
            <a:ext cx="6823074" cy="2434027"/>
          </a:xfrm>
          <a:prstGeom prst="roundRect">
            <a:avLst>
              <a:gd name="adj" fmla="val 2657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19" name="TextBox 25"/>
          <p:cNvSpPr txBox="1"/>
          <p:nvPr/>
        </p:nvSpPr>
        <p:spPr>
          <a:xfrm>
            <a:off x="8346511" y="6618180"/>
            <a:ext cx="6823074" cy="16055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1650650">
              <a:spcBef>
                <a:spcPts val="1000"/>
              </a:spcBef>
              <a:buClr>
                <a:srgbClr val="1A9FDE"/>
              </a:buClr>
              <a:buSzPct val="100000"/>
              <a:defRPr sz="3200" b="0" spc="-32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3200" kern="1200" dirty="0">
                <a:solidFill>
                  <a:srgbClr val="002476"/>
                </a:solidFill>
                <a:latin typeface="VTB Group Book" pitchFamily="34" charset="-52"/>
                <a:ea typeface="+mn-ea"/>
                <a:cs typeface="+mn-cs"/>
              </a:rPr>
              <a:t>Розничный бизнес</a:t>
            </a:r>
            <a:r>
              <a:rPr lang="ru-RU" sz="3200" b="0" kern="1200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</a:rPr>
              <a:t>:</a:t>
            </a:r>
          </a:p>
          <a:p>
            <a:pPr defTabSz="1650650">
              <a:spcBef>
                <a:spcPts val="1000"/>
              </a:spcBef>
              <a:buClr>
                <a:srgbClr val="1A9FDE"/>
              </a:buClr>
              <a:buSzPct val="100000"/>
              <a:defRPr sz="3200" b="0" spc="-32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3200" b="0" kern="1200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</a:rPr>
              <a:t> </a:t>
            </a:r>
            <a:r>
              <a:rPr lang="ru-RU" sz="32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</a:rPr>
              <a:t>работа с клиентами – физическими лицами</a:t>
            </a:r>
            <a:endParaRPr sz="3200" b="0" kern="1200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</a:endParaRPr>
          </a:p>
        </p:txBody>
      </p:sp>
      <p:sp>
        <p:nvSpPr>
          <p:cNvPr id="20" name="Сквиркл"/>
          <p:cNvSpPr/>
          <p:nvPr/>
        </p:nvSpPr>
        <p:spPr>
          <a:xfrm>
            <a:off x="13651136" y="9829713"/>
            <a:ext cx="6485340" cy="2488212"/>
          </a:xfrm>
          <a:prstGeom prst="roundRect">
            <a:avLst>
              <a:gd name="adj" fmla="val 2657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21" name="TextBox 25"/>
          <p:cNvSpPr txBox="1"/>
          <p:nvPr/>
        </p:nvSpPr>
        <p:spPr>
          <a:xfrm>
            <a:off x="13659187" y="10488017"/>
            <a:ext cx="6485341" cy="9848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1650650">
              <a:spcBef>
                <a:spcPts val="1000"/>
              </a:spcBef>
              <a:buClr>
                <a:srgbClr val="1A9FDE"/>
              </a:buClr>
              <a:buSzPct val="100000"/>
              <a:defRPr sz="3200" b="0" spc="-32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3200" b="0" kern="1200" spc="-32" dirty="0">
                <a:solidFill>
                  <a:srgbClr val="002476"/>
                </a:solidFill>
                <a:latin typeface="VTB Group Book" panose="020B0503040504020204" pitchFamily="34" charset="-52"/>
                <a:ea typeface="+mn-ea"/>
                <a:cs typeface="+mn-cs"/>
              </a:rPr>
              <a:t>Средний и малый бизнес: </a:t>
            </a:r>
            <a:r>
              <a:rPr lang="ru-RU" sz="3200" b="0" kern="1200" spc="-32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</a:rPr>
              <a:t>кредитный анализ</a:t>
            </a:r>
          </a:p>
        </p:txBody>
      </p:sp>
      <p:sp>
        <p:nvSpPr>
          <p:cNvPr id="22" name="Сквиркл"/>
          <p:cNvSpPr/>
          <p:nvPr/>
        </p:nvSpPr>
        <p:spPr>
          <a:xfrm>
            <a:off x="3205166" y="9763447"/>
            <a:ext cx="6823074" cy="2434027"/>
          </a:xfrm>
          <a:prstGeom prst="roundRect">
            <a:avLst>
              <a:gd name="adj" fmla="val 2657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23" name="TextBox 25"/>
          <p:cNvSpPr txBox="1"/>
          <p:nvPr/>
        </p:nvSpPr>
        <p:spPr>
          <a:xfrm>
            <a:off x="3213217" y="10180309"/>
            <a:ext cx="6823074" cy="16055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1650650">
              <a:spcBef>
                <a:spcPts val="1000"/>
              </a:spcBef>
              <a:buClr>
                <a:srgbClr val="1A9FDE"/>
              </a:buClr>
              <a:buSzPct val="100000"/>
              <a:defRPr sz="3200" b="0" spc="-32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3200" b="0" kern="1200" spc="-32" dirty="0">
                <a:solidFill>
                  <a:srgbClr val="002476"/>
                </a:solidFill>
                <a:latin typeface="VTB Group Book" panose="020B0503040504020204" pitchFamily="34" charset="-52"/>
                <a:ea typeface="+mn-ea"/>
                <a:cs typeface="+mn-cs"/>
              </a:rPr>
              <a:t>Средний и малый бизнес: </a:t>
            </a:r>
            <a:endParaRPr lang="ru-RU" sz="3200" b="0" kern="1200" spc="-32" dirty="0" smtClean="0">
              <a:solidFill>
                <a:srgbClr val="002476"/>
              </a:solidFill>
              <a:latin typeface="VTB Group Book" pitchFamily="34" charset="-52"/>
              <a:ea typeface="+mn-ea"/>
              <a:cs typeface="+mn-cs"/>
            </a:endParaRPr>
          </a:p>
          <a:p>
            <a:pPr defTabSz="1650650">
              <a:spcBef>
                <a:spcPts val="1000"/>
              </a:spcBef>
              <a:buClr>
                <a:srgbClr val="1A9FDE"/>
              </a:buClr>
              <a:buSzPct val="100000"/>
              <a:defRPr sz="3200" b="0" spc="-32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3200" b="0" kern="1200" spc="-32" dirty="0" smtClean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</a:rPr>
              <a:t>привлечение корпоративных клиентов</a:t>
            </a:r>
            <a:endParaRPr lang="ru-RU" sz="3200" b="0" kern="1200" spc="-32" dirty="0">
              <a:solidFill>
                <a:srgbClr val="343434"/>
              </a:solidFill>
              <a:latin typeface="VTB Group Book" pitchFamily="34" charset="-52"/>
              <a:ea typeface="+mn-ea"/>
              <a:cs typeface="+mn-cs"/>
            </a:endParaRPr>
          </a:p>
        </p:txBody>
      </p:sp>
      <p:sp>
        <p:nvSpPr>
          <p:cNvPr id="13" name="TextBox 3"/>
          <p:cNvSpPr txBox="1"/>
          <p:nvPr/>
        </p:nvSpPr>
        <p:spPr>
          <a:xfrm>
            <a:off x="1577165" y="728921"/>
            <a:ext cx="21229672" cy="20313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algn="l" defTabSz="1650650">
              <a:defRPr sz="59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Стажировка </a:t>
            </a:r>
          </a:p>
          <a:p>
            <a:pPr algn="l" defTabSz="1650650">
              <a:defRPr sz="59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ВТБ Юниор в региональной сети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6" name="ВТБ (сжат).025-min.jpeg" descr="ВТБ (сжат).025-min.jpe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1564"/>
            <a:ext cx="24384000" cy="137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187" name="TextBox 3"/>
          <p:cNvSpPr txBox="1"/>
          <p:nvPr/>
        </p:nvSpPr>
        <p:spPr>
          <a:xfrm>
            <a:off x="1577165" y="843221"/>
            <a:ext cx="21229672" cy="17419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algn="l" defTabSz="1650650">
              <a:lnSpc>
                <a:spcPct val="200000"/>
              </a:lnSpc>
              <a:defRPr sz="59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6600" cap="all" dirty="0" err="1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Требования</a:t>
            </a:r>
            <a:r>
              <a:rPr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 и </a:t>
            </a:r>
            <a:r>
              <a:rPr sz="6600" cap="all" dirty="0" err="1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условия</a:t>
            </a:r>
            <a:r>
              <a:rPr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 </a:t>
            </a:r>
            <a:r>
              <a:rPr sz="6600" cap="all" dirty="0" err="1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работы</a:t>
            </a:r>
            <a:endParaRPr sz="6600" cap="all" dirty="0">
              <a:solidFill>
                <a:srgbClr val="053674"/>
              </a:solidFill>
              <a:latin typeface="VTB Group Demi Bold" panose="020B0703050504020204" pitchFamily="34" charset="-52"/>
              <a:ea typeface="Arial"/>
              <a:cs typeface="Arial"/>
            </a:endParaRPr>
          </a:p>
        </p:txBody>
      </p:sp>
      <p:sp>
        <p:nvSpPr>
          <p:cNvPr id="189" name="Сквиркл"/>
          <p:cNvSpPr/>
          <p:nvPr/>
        </p:nvSpPr>
        <p:spPr>
          <a:xfrm>
            <a:off x="1577166" y="3503438"/>
            <a:ext cx="12741188" cy="4811246"/>
          </a:xfrm>
          <a:prstGeom prst="roundRect">
            <a:avLst>
              <a:gd name="adj" fmla="val 4072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190" name="TextBox 25"/>
          <p:cNvSpPr txBox="1"/>
          <p:nvPr/>
        </p:nvSpPr>
        <p:spPr>
          <a:xfrm>
            <a:off x="5655763" y="3715641"/>
            <a:ext cx="8418751" cy="4235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380919" indent="-380919" algn="l" defTabSz="1650650">
              <a:lnSpc>
                <a:spcPct val="110000"/>
              </a:lnSpc>
              <a:spcBef>
                <a:spcPts val="1200"/>
              </a:spcBef>
              <a:buClr>
                <a:srgbClr val="1A9FDE"/>
              </a:buClr>
              <a:buSzPct val="90000"/>
              <a:buFontTx/>
              <a:buChar char="•"/>
              <a:defRPr sz="2900"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smtClean="0">
                <a:latin typeface="VTB Group Book" panose="020B0503040504020204" pitchFamily="34" charset="-52"/>
              </a:rPr>
              <a:t>Выпускник </a:t>
            </a:r>
            <a:r>
              <a:rPr lang="ru-RU" dirty="0" err="1">
                <a:latin typeface="VTB Group Book" panose="020B0503040504020204" pitchFamily="34" charset="-52"/>
              </a:rPr>
              <a:t>ссуза</a:t>
            </a:r>
            <a:r>
              <a:rPr lang="ru-RU" dirty="0">
                <a:latin typeface="VTB Group Book" panose="020B0503040504020204" pitchFamily="34" charset="-52"/>
              </a:rPr>
              <a:t> 2021-2022 </a:t>
            </a:r>
            <a:r>
              <a:rPr lang="ru-RU" dirty="0" err="1" smtClean="0">
                <a:latin typeface="VTB Group Book" panose="020B0503040504020204" pitchFamily="34" charset="-52"/>
              </a:rPr>
              <a:t>гг</a:t>
            </a:r>
            <a:r>
              <a:rPr lang="ru-RU" dirty="0" smtClean="0">
                <a:latin typeface="VTB Group Book" panose="020B0503040504020204" pitchFamily="34" charset="-52"/>
              </a:rPr>
              <a:t>, выпускник </a:t>
            </a:r>
            <a:r>
              <a:rPr lang="ru-RU" dirty="0">
                <a:latin typeface="VTB Group Book" panose="020B0503040504020204" pitchFamily="34" charset="-52"/>
              </a:rPr>
              <a:t>б</a:t>
            </a:r>
            <a:r>
              <a:rPr dirty="0" err="1" smtClean="0">
                <a:latin typeface="VTB Group Book" panose="020B0503040504020204" pitchFamily="34" charset="-52"/>
              </a:rPr>
              <a:t>акалавр</a:t>
            </a:r>
            <a:r>
              <a:rPr lang="ru-RU" dirty="0" err="1" smtClean="0">
                <a:latin typeface="VTB Group Book" panose="020B0503040504020204" pitchFamily="34" charset="-52"/>
              </a:rPr>
              <a:t>иата</a:t>
            </a:r>
            <a:r>
              <a:rPr lang="ru-RU" dirty="0" smtClean="0">
                <a:latin typeface="VTB Group Book" panose="020B0503040504020204" pitchFamily="34" charset="-52"/>
              </a:rPr>
              <a:t> 2021-2022</a:t>
            </a:r>
            <a:r>
              <a:rPr dirty="0" smtClean="0">
                <a:latin typeface="VTB Group Book" panose="020B0503040504020204" pitchFamily="34" charset="-52"/>
              </a:rPr>
              <a:t> </a:t>
            </a:r>
            <a:r>
              <a:rPr lang="ru-RU" dirty="0" err="1" smtClean="0">
                <a:latin typeface="VTB Group Book" panose="020B0503040504020204" pitchFamily="34" charset="-52"/>
              </a:rPr>
              <a:t>гг</a:t>
            </a:r>
            <a:r>
              <a:rPr lang="ru-RU" dirty="0">
                <a:latin typeface="VTB Group Book" panose="020B0503040504020204" pitchFamily="34" charset="-52"/>
              </a:rPr>
              <a:t> </a:t>
            </a:r>
            <a:r>
              <a:rPr lang="ru-RU" dirty="0" smtClean="0">
                <a:latin typeface="VTB Group Book" panose="020B0503040504020204" pitchFamily="34" charset="-52"/>
              </a:rPr>
              <a:t>или </a:t>
            </a:r>
            <a:r>
              <a:rPr dirty="0" err="1" smtClean="0">
                <a:latin typeface="VTB Group Book" panose="020B0503040504020204" pitchFamily="34" charset="-52"/>
              </a:rPr>
              <a:t>студент</a:t>
            </a:r>
            <a:r>
              <a:rPr dirty="0" smtClean="0">
                <a:latin typeface="VTB Group Book" panose="020B0503040504020204" pitchFamily="34" charset="-52"/>
              </a:rPr>
              <a:t> </a:t>
            </a:r>
            <a:r>
              <a:rPr dirty="0" err="1" smtClean="0">
                <a:latin typeface="VTB Group Book" panose="020B0503040504020204" pitchFamily="34" charset="-52"/>
              </a:rPr>
              <a:t>магистратуры</a:t>
            </a:r>
            <a:r>
              <a:rPr lang="ru-RU" dirty="0" smtClean="0">
                <a:latin typeface="VTB Group Book" panose="020B0503040504020204" pitchFamily="34" charset="-52"/>
              </a:rPr>
              <a:t> </a:t>
            </a:r>
            <a:r>
              <a:rPr lang="ru-RU" dirty="0">
                <a:latin typeface="VTB Group Book" panose="020B0503040504020204" pitchFamily="34" charset="-52"/>
              </a:rPr>
              <a:t>по специальностям экономика, финансы, бухгалтерский учет и аудит, менеджмент, юриспруденция</a:t>
            </a:r>
          </a:p>
          <a:p>
            <a:pPr marL="380919" indent="-380919" algn="l" defTabSz="1650650">
              <a:lnSpc>
                <a:spcPct val="110000"/>
              </a:lnSpc>
              <a:spcBef>
                <a:spcPts val="1200"/>
              </a:spcBef>
              <a:buClr>
                <a:srgbClr val="1A9FDE"/>
              </a:buClr>
              <a:buSzPct val="90000"/>
              <a:buFontTx/>
              <a:buChar char="•"/>
              <a:defRPr sz="2900"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smtClean="0">
                <a:latin typeface="VTB Group Book" panose="020B0503040504020204" pitchFamily="34" charset="-52"/>
              </a:rPr>
              <a:t>Развитые коммуникативные и аналитические навыки</a:t>
            </a:r>
            <a:endParaRPr dirty="0">
              <a:latin typeface="VTB Group Book" panose="020B0503040504020204" pitchFamily="34" charset="-52"/>
            </a:endParaRPr>
          </a:p>
          <a:p>
            <a:pPr marL="380919" indent="-380919" algn="l" defTabSz="1650650">
              <a:lnSpc>
                <a:spcPct val="110000"/>
              </a:lnSpc>
              <a:spcBef>
                <a:spcPts val="1200"/>
              </a:spcBef>
              <a:buClr>
                <a:srgbClr val="1A9FDE"/>
              </a:buClr>
              <a:buSzPct val="90000"/>
              <a:buChar char="•"/>
              <a:defRPr sz="2900"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Book" panose="020B0503040504020204" pitchFamily="34" charset="-52"/>
              </a:rPr>
              <a:t>Возможность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работать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полный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рабочий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день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191" name="Линия"/>
          <p:cNvSpPr/>
          <p:nvPr/>
        </p:nvSpPr>
        <p:spPr>
          <a:xfrm flipH="1">
            <a:off x="5371162" y="4020441"/>
            <a:ext cx="0" cy="3353129"/>
          </a:xfrm>
          <a:prstGeom prst="line">
            <a:avLst/>
          </a:prstGeom>
          <a:ln w="25400">
            <a:solidFill>
              <a:srgbClr val="053674">
                <a:alpha val="1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192" name="TextBox 25"/>
          <p:cNvSpPr txBox="1"/>
          <p:nvPr/>
        </p:nvSpPr>
        <p:spPr>
          <a:xfrm>
            <a:off x="2364544" y="5057794"/>
            <a:ext cx="2952524" cy="11849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 defTabSz="1650650">
              <a:lnSpc>
                <a:spcPct val="110000"/>
              </a:lnSpc>
              <a:spcBef>
                <a:spcPts val="4000"/>
              </a:spcBef>
              <a:defRPr sz="3500" spc="-35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Book" panose="020B0503040504020204" pitchFamily="34" charset="-52"/>
              </a:rPr>
              <a:t>Требования</a:t>
            </a:r>
            <a:r>
              <a:rPr dirty="0">
                <a:latin typeface="VTB Group Book" panose="020B0503040504020204" pitchFamily="34" charset="-52"/>
              </a:rPr>
              <a:t> </a:t>
            </a:r>
            <a:br>
              <a:rPr dirty="0">
                <a:latin typeface="VTB Group Book" panose="020B0503040504020204" pitchFamily="34" charset="-52"/>
              </a:rPr>
            </a:br>
            <a:r>
              <a:rPr dirty="0">
                <a:latin typeface="VTB Group Book" panose="020B0503040504020204" pitchFamily="34" charset="-52"/>
              </a:rPr>
              <a:t>к </a:t>
            </a:r>
            <a:r>
              <a:rPr dirty="0" err="1">
                <a:latin typeface="VTB Group Book" panose="020B0503040504020204" pitchFamily="34" charset="-52"/>
              </a:rPr>
              <a:t>вам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193" name="Сквиркл"/>
          <p:cNvSpPr/>
          <p:nvPr/>
        </p:nvSpPr>
        <p:spPr>
          <a:xfrm>
            <a:off x="1577166" y="8868911"/>
            <a:ext cx="12741188" cy="3742271"/>
          </a:xfrm>
          <a:prstGeom prst="roundRect">
            <a:avLst>
              <a:gd name="adj" fmla="val 4072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194" name="TextBox 25"/>
          <p:cNvSpPr txBox="1"/>
          <p:nvPr/>
        </p:nvSpPr>
        <p:spPr>
          <a:xfrm>
            <a:off x="5899603" y="9527413"/>
            <a:ext cx="8418751" cy="24252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380919" indent="-380919" algn="l" defTabSz="1650650">
              <a:lnSpc>
                <a:spcPct val="110000"/>
              </a:lnSpc>
              <a:spcBef>
                <a:spcPts val="1200"/>
              </a:spcBef>
              <a:buClr>
                <a:srgbClr val="1A9FDE"/>
              </a:buClr>
              <a:buSzPct val="90000"/>
              <a:buChar char="•"/>
              <a:defRPr sz="2900"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Book" panose="020B0503040504020204" pitchFamily="34" charset="-52"/>
              </a:rPr>
              <a:t>Официальное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трудоустройство</a:t>
            </a:r>
            <a:endParaRPr dirty="0">
              <a:latin typeface="VTB Group Book" panose="020B0503040504020204" pitchFamily="34" charset="-52"/>
            </a:endParaRPr>
          </a:p>
          <a:p>
            <a:pPr marL="380919" indent="-380919" algn="l" defTabSz="1650650">
              <a:lnSpc>
                <a:spcPct val="110000"/>
              </a:lnSpc>
              <a:spcBef>
                <a:spcPts val="1200"/>
              </a:spcBef>
              <a:buClr>
                <a:srgbClr val="1A9FDE"/>
              </a:buClr>
              <a:buSzPct val="90000"/>
              <a:buChar char="•"/>
              <a:defRPr sz="2900"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Book" panose="020B0503040504020204" pitchFamily="34" charset="-52"/>
              </a:rPr>
              <a:t>Конкурентная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 smtClean="0">
                <a:latin typeface="VTB Group Book" panose="020B0503040504020204" pitchFamily="34" charset="-52"/>
              </a:rPr>
              <a:t>зарплата</a:t>
            </a:r>
            <a:endParaRPr dirty="0">
              <a:latin typeface="VTB Group Book" panose="020B0503040504020204" pitchFamily="34" charset="-52"/>
            </a:endParaRPr>
          </a:p>
          <a:p>
            <a:pPr marL="380919" indent="-380919" algn="l" defTabSz="1650650">
              <a:lnSpc>
                <a:spcPct val="110000"/>
              </a:lnSpc>
              <a:spcBef>
                <a:spcPts val="1200"/>
              </a:spcBef>
              <a:buClr>
                <a:srgbClr val="1A9FDE"/>
              </a:buClr>
              <a:buSzPct val="90000"/>
              <a:buChar char="•"/>
              <a:defRPr sz="2900"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 smtClean="0">
                <a:latin typeface="VTB Group Book" panose="020B0503040504020204" pitchFamily="34" charset="-52"/>
              </a:rPr>
              <a:t>Комплексная программа обучения</a:t>
            </a:r>
            <a:endParaRPr dirty="0">
              <a:latin typeface="VTB Group Book" panose="020B0503040504020204" pitchFamily="34" charset="-52"/>
            </a:endParaRPr>
          </a:p>
          <a:p>
            <a:pPr marL="380919" indent="-380919" algn="l" defTabSz="1650650">
              <a:lnSpc>
                <a:spcPct val="110000"/>
              </a:lnSpc>
              <a:spcBef>
                <a:spcPts val="1200"/>
              </a:spcBef>
              <a:buClr>
                <a:srgbClr val="1A9FDE"/>
              </a:buClr>
              <a:buSzPct val="90000"/>
              <a:buChar char="•"/>
              <a:defRPr sz="2900" b="0" spc="-29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Book" panose="020B0503040504020204" pitchFamily="34" charset="-52"/>
              </a:rPr>
              <a:t>Полис</a:t>
            </a:r>
            <a:r>
              <a:rPr dirty="0">
                <a:latin typeface="VTB Group Book" panose="020B0503040504020204" pitchFamily="34" charset="-52"/>
              </a:rPr>
              <a:t> ДМС</a:t>
            </a:r>
          </a:p>
        </p:txBody>
      </p:sp>
      <p:sp>
        <p:nvSpPr>
          <p:cNvPr id="195" name="TextBox 25"/>
          <p:cNvSpPr txBox="1"/>
          <p:nvPr/>
        </p:nvSpPr>
        <p:spPr>
          <a:xfrm>
            <a:off x="2364547" y="10147578"/>
            <a:ext cx="2952521" cy="11849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 defTabSz="1650650">
              <a:lnSpc>
                <a:spcPct val="110000"/>
              </a:lnSpc>
              <a:spcBef>
                <a:spcPts val="4000"/>
              </a:spcBef>
              <a:defRPr sz="3500" spc="-35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 err="1">
                <a:latin typeface="VTB Group Book" panose="020B0503040504020204" pitchFamily="34" charset="-52"/>
              </a:rPr>
              <a:t>Мы</a:t>
            </a:r>
            <a:r>
              <a:rPr dirty="0">
                <a:latin typeface="VTB Group Book" panose="020B0503040504020204" pitchFamily="34" charset="-52"/>
              </a:rPr>
              <a:t> </a:t>
            </a:r>
            <a:br>
              <a:rPr dirty="0">
                <a:latin typeface="VTB Group Book" panose="020B0503040504020204" pitchFamily="34" charset="-52"/>
              </a:rPr>
            </a:br>
            <a:r>
              <a:rPr dirty="0" err="1">
                <a:latin typeface="VTB Group Book" panose="020B0503040504020204" pitchFamily="34" charset="-52"/>
              </a:rPr>
              <a:t>предлагаем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196" name="Линия"/>
          <p:cNvSpPr/>
          <p:nvPr/>
        </p:nvSpPr>
        <p:spPr>
          <a:xfrm flipH="1">
            <a:off x="5371162" y="9423148"/>
            <a:ext cx="0" cy="2633806"/>
          </a:xfrm>
          <a:prstGeom prst="line">
            <a:avLst/>
          </a:prstGeom>
          <a:ln w="25400">
            <a:solidFill>
              <a:srgbClr val="053674">
                <a:alpha val="1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Сквиркл"/>
          <p:cNvSpPr/>
          <p:nvPr/>
        </p:nvSpPr>
        <p:spPr>
          <a:xfrm>
            <a:off x="1577167" y="5075043"/>
            <a:ext cx="10318065" cy="3303398"/>
          </a:xfrm>
          <a:prstGeom prst="roundRect">
            <a:avLst>
              <a:gd name="adj" fmla="val 4613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199" name="Сквиркл"/>
          <p:cNvSpPr/>
          <p:nvPr/>
        </p:nvSpPr>
        <p:spPr>
          <a:xfrm>
            <a:off x="12488774" y="5075043"/>
            <a:ext cx="10318065" cy="3303398"/>
          </a:xfrm>
          <a:prstGeom prst="roundRect">
            <a:avLst>
              <a:gd name="adj" fmla="val 4613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200" name="Сквиркл"/>
          <p:cNvSpPr/>
          <p:nvPr/>
        </p:nvSpPr>
        <p:spPr>
          <a:xfrm>
            <a:off x="1566960" y="8904283"/>
            <a:ext cx="10318065" cy="3303398"/>
          </a:xfrm>
          <a:prstGeom prst="roundRect">
            <a:avLst>
              <a:gd name="adj" fmla="val 4613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201" name="Сквиркл"/>
          <p:cNvSpPr/>
          <p:nvPr/>
        </p:nvSpPr>
        <p:spPr>
          <a:xfrm>
            <a:off x="12488774" y="8904283"/>
            <a:ext cx="10318065" cy="3303398"/>
          </a:xfrm>
          <a:prstGeom prst="roundRect">
            <a:avLst>
              <a:gd name="adj" fmla="val 4613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latin typeface="VTB Group Book" panose="020B0503040504020204" pitchFamily="34" charset="-52"/>
            </a:endParaRPr>
          </a:p>
        </p:txBody>
      </p:sp>
      <p:sp>
        <p:nvSpPr>
          <p:cNvPr id="202" name="Начало приема заявок"/>
          <p:cNvSpPr txBox="1"/>
          <p:nvPr/>
        </p:nvSpPr>
        <p:spPr>
          <a:xfrm>
            <a:off x="3761566" y="5925885"/>
            <a:ext cx="5063887" cy="7001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algn="l" defTabSz="1651000">
              <a:lnSpc>
                <a:spcPct val="130000"/>
              </a:lnSpc>
              <a:spcBef>
                <a:spcPts val="4000"/>
              </a:spcBef>
              <a:defRPr sz="3500" spc="-35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dirty="0" err="1">
                <a:latin typeface="VTB Group Book" panose="020B0503040504020204" pitchFamily="34" charset="-52"/>
              </a:rPr>
              <a:t>Начало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приема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err="1">
                <a:latin typeface="VTB Group Book" panose="020B0503040504020204" pitchFamily="34" charset="-52"/>
              </a:rPr>
              <a:t>заявок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203" name="25 февраля 2020"/>
          <p:cNvSpPr txBox="1"/>
          <p:nvPr/>
        </p:nvSpPr>
        <p:spPr>
          <a:xfrm>
            <a:off x="3761565" y="6556714"/>
            <a:ext cx="4930837" cy="10002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algn="l" defTabSz="1651000">
              <a:lnSpc>
                <a:spcPct val="130000"/>
              </a:lnSpc>
              <a:spcBef>
                <a:spcPts val="1000"/>
              </a:spcBef>
              <a:defRPr sz="5000" b="0" spc="-50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latin typeface="VTB Group Book" panose="020B0503040504020204" pitchFamily="34" charset="-52"/>
              </a:rPr>
              <a:t>14 февраля 2022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204" name="Продолжительность"/>
          <p:cNvSpPr txBox="1"/>
          <p:nvPr/>
        </p:nvSpPr>
        <p:spPr>
          <a:xfrm>
            <a:off x="14673173" y="5862384"/>
            <a:ext cx="4554773" cy="7001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algn="l" defTabSz="1651000">
              <a:lnSpc>
                <a:spcPct val="130000"/>
              </a:lnSpc>
              <a:spcBef>
                <a:spcPts val="4000"/>
              </a:spcBef>
              <a:defRPr sz="3500" spc="-35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Продолжительность</a:t>
            </a:r>
          </a:p>
        </p:txBody>
      </p:sp>
      <p:sp>
        <p:nvSpPr>
          <p:cNvPr id="205" name="12 месяцев"/>
          <p:cNvSpPr txBox="1"/>
          <p:nvPr/>
        </p:nvSpPr>
        <p:spPr>
          <a:xfrm>
            <a:off x="14673171" y="6556714"/>
            <a:ext cx="3355086" cy="10002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algn="l" defTabSz="1651000">
              <a:lnSpc>
                <a:spcPct val="130000"/>
              </a:lnSpc>
              <a:spcBef>
                <a:spcPts val="1000"/>
              </a:spcBef>
              <a:defRPr sz="5000" b="0" spc="-50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12 месяцев</a:t>
            </a:r>
          </a:p>
        </p:txBody>
      </p:sp>
      <p:sp>
        <p:nvSpPr>
          <p:cNvPr id="206" name="География"/>
          <p:cNvSpPr txBox="1"/>
          <p:nvPr/>
        </p:nvSpPr>
        <p:spPr>
          <a:xfrm>
            <a:off x="14673174" y="9755125"/>
            <a:ext cx="2380139" cy="7001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algn="l" defTabSz="1651000">
              <a:lnSpc>
                <a:spcPct val="130000"/>
              </a:lnSpc>
              <a:spcBef>
                <a:spcPts val="4000"/>
              </a:spcBef>
              <a:defRPr sz="3500" spc="-35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География</a:t>
            </a:r>
          </a:p>
        </p:txBody>
      </p:sp>
      <p:sp>
        <p:nvSpPr>
          <p:cNvPr id="207" name="Москва, Санкт-Петербург"/>
          <p:cNvSpPr txBox="1"/>
          <p:nvPr/>
        </p:nvSpPr>
        <p:spPr>
          <a:xfrm>
            <a:off x="14673172" y="10385956"/>
            <a:ext cx="7645309" cy="10002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algn="l" defTabSz="1651000">
              <a:lnSpc>
                <a:spcPct val="130000"/>
              </a:lnSpc>
              <a:spcBef>
                <a:spcPts val="1000"/>
              </a:spcBef>
              <a:defRPr sz="5000" b="0" spc="-50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mtClean="0">
                <a:latin typeface="VTB Group Book" panose="020B0503040504020204" pitchFamily="34" charset="-52"/>
              </a:rPr>
              <a:t>Более 70 </a:t>
            </a:r>
            <a:r>
              <a:rPr lang="ru-RU" dirty="0" smtClean="0">
                <a:latin typeface="VTB Group Book" panose="020B0503040504020204" pitchFamily="34" charset="-52"/>
              </a:rPr>
              <a:t>городов РФ</a:t>
            </a:r>
            <a:endParaRPr dirty="0">
              <a:latin typeface="VTB Group Book" panose="020B0503040504020204" pitchFamily="34" charset="-52"/>
            </a:endParaRPr>
          </a:p>
        </p:txBody>
      </p:sp>
      <p:sp>
        <p:nvSpPr>
          <p:cNvPr id="208" name="Начало стажировки"/>
          <p:cNvSpPr txBox="1"/>
          <p:nvPr/>
        </p:nvSpPr>
        <p:spPr>
          <a:xfrm>
            <a:off x="3761569" y="9755125"/>
            <a:ext cx="4426533" cy="7001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algn="l" defTabSz="1651000">
              <a:lnSpc>
                <a:spcPct val="130000"/>
              </a:lnSpc>
              <a:spcBef>
                <a:spcPts val="4000"/>
              </a:spcBef>
              <a:defRPr sz="3500" spc="-35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>
                <a:latin typeface="VTB Group Book" panose="020B0503040504020204" pitchFamily="34" charset="-52"/>
              </a:rPr>
              <a:t>Начало стажировки</a:t>
            </a:r>
          </a:p>
        </p:txBody>
      </p:sp>
      <p:sp>
        <p:nvSpPr>
          <p:cNvPr id="209" name="01 июля 2020"/>
          <p:cNvSpPr txBox="1"/>
          <p:nvPr/>
        </p:nvSpPr>
        <p:spPr>
          <a:xfrm>
            <a:off x="3761568" y="10385956"/>
            <a:ext cx="3953005" cy="10002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algn="l" defTabSz="1651000">
              <a:lnSpc>
                <a:spcPct val="130000"/>
              </a:lnSpc>
              <a:spcBef>
                <a:spcPts val="1000"/>
              </a:spcBef>
              <a:defRPr sz="5000" b="0" spc="-50">
                <a:solidFill>
                  <a:srgbClr val="343434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dirty="0">
                <a:latin typeface="VTB Group Book" panose="020B0503040504020204" pitchFamily="34" charset="-52"/>
              </a:rPr>
              <a:t>01 </a:t>
            </a:r>
            <a:r>
              <a:rPr dirty="0" err="1">
                <a:latin typeface="VTB Group Book" panose="020B0503040504020204" pitchFamily="34" charset="-52"/>
              </a:rPr>
              <a:t>июля</a:t>
            </a:r>
            <a:r>
              <a:rPr dirty="0">
                <a:latin typeface="VTB Group Book" panose="020B0503040504020204" pitchFamily="34" charset="-52"/>
              </a:rPr>
              <a:t> </a:t>
            </a:r>
            <a:r>
              <a:rPr dirty="0" smtClean="0">
                <a:latin typeface="VTB Group Book" panose="020B0503040504020204" pitchFamily="34" charset="-52"/>
              </a:rPr>
              <a:t>202</a:t>
            </a:r>
            <a:r>
              <a:rPr lang="ru-RU" dirty="0">
                <a:latin typeface="VTB Group Book" panose="020B0503040504020204" pitchFamily="34" charset="-52"/>
              </a:rPr>
              <a:t>2</a:t>
            </a:r>
            <a:endParaRPr dirty="0">
              <a:latin typeface="VTB Group Book" panose="020B0503040504020204" pitchFamily="34" charset="-52"/>
            </a:endParaRPr>
          </a:p>
        </p:txBody>
      </p:sp>
      <p:grpSp>
        <p:nvGrpSpPr>
          <p:cNvPr id="218" name="Группа"/>
          <p:cNvGrpSpPr/>
          <p:nvPr/>
        </p:nvGrpSpPr>
        <p:grpSpPr>
          <a:xfrm>
            <a:off x="2349887" y="5869580"/>
            <a:ext cx="712676" cy="812801"/>
            <a:chOff x="55123" y="0"/>
            <a:chExt cx="712675" cy="812799"/>
          </a:xfrm>
        </p:grpSpPr>
        <p:sp>
          <p:nvSpPr>
            <p:cNvPr id="210" name="이등변 삼각형 108"/>
            <p:cNvSpPr/>
            <p:nvPr/>
          </p:nvSpPr>
          <p:spPr>
            <a:xfrm>
              <a:off x="55125" y="28859"/>
              <a:ext cx="712674" cy="340141"/>
            </a:xfrm>
            <a:prstGeom prst="triangle">
              <a:avLst/>
            </a:prstGeom>
            <a:solidFill>
              <a:srgbClr val="FFFFFF"/>
            </a:solidFill>
            <a:ln w="28575" cap="rnd">
              <a:solidFill>
                <a:srgbClr val="053674"/>
              </a:solidFill>
              <a:prstDash val="solid"/>
              <a:round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defTabSz="609470">
                <a:defRPr sz="5200" b="0">
                  <a:solidFill>
                    <a:srgbClr val="FFFFFF"/>
                  </a:solidFill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11" name="직사각형 109"/>
            <p:cNvSpPr/>
            <p:nvPr/>
          </p:nvSpPr>
          <p:spPr>
            <a:xfrm>
              <a:off x="141797" y="0"/>
              <a:ext cx="537744" cy="7029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90" y="0"/>
                  </a:moveTo>
                  <a:lnTo>
                    <a:pt x="19110" y="0"/>
                  </a:lnTo>
                  <a:cubicBezTo>
                    <a:pt x="20485" y="0"/>
                    <a:pt x="21600" y="853"/>
                    <a:pt x="21600" y="1904"/>
                  </a:cubicBezTo>
                  <a:lnTo>
                    <a:pt x="21600" y="21600"/>
                  </a:lnTo>
                  <a:lnTo>
                    <a:pt x="0" y="21600"/>
                  </a:lnTo>
                  <a:lnTo>
                    <a:pt x="0" y="1904"/>
                  </a:lnTo>
                  <a:cubicBezTo>
                    <a:pt x="0" y="853"/>
                    <a:pt x="1115" y="0"/>
                    <a:pt x="2490" y="0"/>
                  </a:cubicBezTo>
                  <a:close/>
                </a:path>
              </a:pathLst>
            </a:custGeom>
            <a:solidFill>
              <a:srgbClr val="FFFFFF"/>
            </a:solidFill>
            <a:ln w="28575" cap="rnd">
              <a:solidFill>
                <a:srgbClr val="053674"/>
              </a:solidFill>
              <a:prstDash val="solid"/>
              <a:round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defTabSz="609470">
                <a:defRPr sz="5200" b="0">
                  <a:solidFill>
                    <a:srgbClr val="FFFFFF"/>
                  </a:solidFill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12" name="이등변 삼각형 111"/>
            <p:cNvSpPr/>
            <p:nvPr/>
          </p:nvSpPr>
          <p:spPr>
            <a:xfrm rot="5400000">
              <a:off x="46512" y="377613"/>
              <a:ext cx="441591" cy="4243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10696" y="0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28575" cap="rnd">
              <a:solidFill>
                <a:srgbClr val="053674"/>
              </a:solidFill>
              <a:prstDash val="solid"/>
              <a:round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defTabSz="609470">
                <a:defRPr sz="5200" b="0">
                  <a:solidFill>
                    <a:srgbClr val="FFFFFF"/>
                  </a:solidFill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13" name="이등변 삼각형 112"/>
            <p:cNvSpPr/>
            <p:nvPr/>
          </p:nvSpPr>
          <p:spPr>
            <a:xfrm>
              <a:off x="55123" y="368999"/>
              <a:ext cx="712674" cy="4438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FFFFFF"/>
            </a:solidFill>
            <a:ln w="28575" cap="rnd">
              <a:solidFill>
                <a:srgbClr val="053674"/>
              </a:solidFill>
              <a:prstDash val="solid"/>
              <a:round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defTabSz="609470">
                <a:defRPr sz="5200" b="0">
                  <a:solidFill>
                    <a:srgbClr val="FFFFFF"/>
                  </a:solidFill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14" name="Straight Connector 191"/>
            <p:cNvSpPr/>
            <p:nvPr/>
          </p:nvSpPr>
          <p:spPr>
            <a:xfrm>
              <a:off x="209078" y="134638"/>
              <a:ext cx="270411" cy="1"/>
            </a:xfrm>
            <a:prstGeom prst="line">
              <a:avLst/>
            </a:prstGeom>
            <a:noFill/>
            <a:ln w="28575" cap="rnd">
              <a:solidFill>
                <a:srgbClr val="053674"/>
              </a:solidFill>
              <a:prstDash val="solid"/>
              <a:round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15" name="Straight Connector 192"/>
            <p:cNvSpPr/>
            <p:nvPr/>
          </p:nvSpPr>
          <p:spPr>
            <a:xfrm>
              <a:off x="209078" y="202616"/>
              <a:ext cx="325122" cy="1"/>
            </a:xfrm>
            <a:prstGeom prst="line">
              <a:avLst/>
            </a:prstGeom>
            <a:noFill/>
            <a:ln w="28575" cap="rnd">
              <a:solidFill>
                <a:srgbClr val="053674"/>
              </a:solidFill>
              <a:prstDash val="solid"/>
              <a:round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16" name="Straight Connector 193"/>
            <p:cNvSpPr/>
            <p:nvPr/>
          </p:nvSpPr>
          <p:spPr>
            <a:xfrm>
              <a:off x="209078" y="270594"/>
              <a:ext cx="270411" cy="1"/>
            </a:xfrm>
            <a:prstGeom prst="line">
              <a:avLst/>
            </a:prstGeom>
            <a:noFill/>
            <a:ln w="28575" cap="rnd">
              <a:solidFill>
                <a:srgbClr val="053674"/>
              </a:solidFill>
              <a:prstDash val="solid"/>
              <a:round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17" name="Straight Connector 194"/>
            <p:cNvSpPr/>
            <p:nvPr/>
          </p:nvSpPr>
          <p:spPr>
            <a:xfrm>
              <a:off x="209078" y="338573"/>
              <a:ext cx="406402" cy="1"/>
            </a:xfrm>
            <a:prstGeom prst="line">
              <a:avLst/>
            </a:prstGeom>
            <a:noFill/>
            <a:ln w="28575" cap="rnd">
              <a:solidFill>
                <a:srgbClr val="053674"/>
              </a:solidFill>
              <a:prstDash val="solid"/>
              <a:round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</p:grpSp>
      <p:grpSp>
        <p:nvGrpSpPr>
          <p:cNvPr id="241" name="Группа"/>
          <p:cNvGrpSpPr/>
          <p:nvPr/>
        </p:nvGrpSpPr>
        <p:grpSpPr>
          <a:xfrm>
            <a:off x="13193477" y="5869580"/>
            <a:ext cx="850408" cy="812801"/>
            <a:chOff x="0" y="0"/>
            <a:chExt cx="850406" cy="812800"/>
          </a:xfrm>
        </p:grpSpPr>
        <p:sp>
          <p:nvSpPr>
            <p:cNvPr id="219" name="Freeform 41"/>
            <p:cNvSpPr/>
            <p:nvPr/>
          </p:nvSpPr>
          <p:spPr>
            <a:xfrm>
              <a:off x="0" y="0"/>
              <a:ext cx="850407" cy="8128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749" y="770"/>
                  </a:moveTo>
                  <a:cubicBezTo>
                    <a:pt x="18612" y="770"/>
                    <a:pt x="18612" y="770"/>
                    <a:pt x="18612" y="770"/>
                  </a:cubicBezTo>
                  <a:cubicBezTo>
                    <a:pt x="18612" y="363"/>
                    <a:pt x="18612" y="363"/>
                    <a:pt x="18612" y="363"/>
                  </a:cubicBezTo>
                  <a:cubicBezTo>
                    <a:pt x="18612" y="166"/>
                    <a:pt x="18452" y="0"/>
                    <a:pt x="18262" y="0"/>
                  </a:cubicBezTo>
                  <a:cubicBezTo>
                    <a:pt x="18073" y="0"/>
                    <a:pt x="17913" y="166"/>
                    <a:pt x="17913" y="363"/>
                  </a:cubicBezTo>
                  <a:cubicBezTo>
                    <a:pt x="17913" y="770"/>
                    <a:pt x="17913" y="770"/>
                    <a:pt x="17913" y="770"/>
                  </a:cubicBezTo>
                  <a:cubicBezTo>
                    <a:pt x="16747" y="770"/>
                    <a:pt x="16747" y="770"/>
                    <a:pt x="16747" y="770"/>
                  </a:cubicBezTo>
                  <a:cubicBezTo>
                    <a:pt x="16747" y="363"/>
                    <a:pt x="16747" y="363"/>
                    <a:pt x="16747" y="363"/>
                  </a:cubicBezTo>
                  <a:cubicBezTo>
                    <a:pt x="16747" y="166"/>
                    <a:pt x="16586" y="0"/>
                    <a:pt x="16397" y="0"/>
                  </a:cubicBezTo>
                  <a:cubicBezTo>
                    <a:pt x="16207" y="0"/>
                    <a:pt x="16047" y="166"/>
                    <a:pt x="16047" y="363"/>
                  </a:cubicBezTo>
                  <a:cubicBezTo>
                    <a:pt x="16047" y="770"/>
                    <a:pt x="16047" y="770"/>
                    <a:pt x="16047" y="770"/>
                  </a:cubicBezTo>
                  <a:cubicBezTo>
                    <a:pt x="14881" y="770"/>
                    <a:pt x="14881" y="770"/>
                    <a:pt x="14881" y="770"/>
                  </a:cubicBezTo>
                  <a:cubicBezTo>
                    <a:pt x="14881" y="363"/>
                    <a:pt x="14881" y="363"/>
                    <a:pt x="14881" y="363"/>
                  </a:cubicBezTo>
                  <a:cubicBezTo>
                    <a:pt x="14881" y="166"/>
                    <a:pt x="14721" y="0"/>
                    <a:pt x="14531" y="0"/>
                  </a:cubicBezTo>
                  <a:cubicBezTo>
                    <a:pt x="14342" y="0"/>
                    <a:pt x="14181" y="166"/>
                    <a:pt x="14181" y="363"/>
                  </a:cubicBezTo>
                  <a:cubicBezTo>
                    <a:pt x="14181" y="770"/>
                    <a:pt x="14181" y="770"/>
                    <a:pt x="14181" y="770"/>
                  </a:cubicBezTo>
                  <a:cubicBezTo>
                    <a:pt x="13015" y="770"/>
                    <a:pt x="13015" y="770"/>
                    <a:pt x="13015" y="770"/>
                  </a:cubicBezTo>
                  <a:cubicBezTo>
                    <a:pt x="13015" y="363"/>
                    <a:pt x="13015" y="363"/>
                    <a:pt x="13015" y="363"/>
                  </a:cubicBezTo>
                  <a:cubicBezTo>
                    <a:pt x="13015" y="166"/>
                    <a:pt x="12855" y="0"/>
                    <a:pt x="12666" y="0"/>
                  </a:cubicBezTo>
                  <a:cubicBezTo>
                    <a:pt x="12476" y="0"/>
                    <a:pt x="12316" y="166"/>
                    <a:pt x="12316" y="363"/>
                  </a:cubicBezTo>
                  <a:cubicBezTo>
                    <a:pt x="12316" y="770"/>
                    <a:pt x="12316" y="770"/>
                    <a:pt x="12316" y="770"/>
                  </a:cubicBezTo>
                  <a:cubicBezTo>
                    <a:pt x="11150" y="770"/>
                    <a:pt x="11150" y="770"/>
                    <a:pt x="11150" y="770"/>
                  </a:cubicBezTo>
                  <a:cubicBezTo>
                    <a:pt x="11150" y="363"/>
                    <a:pt x="11150" y="363"/>
                    <a:pt x="11150" y="363"/>
                  </a:cubicBezTo>
                  <a:cubicBezTo>
                    <a:pt x="11150" y="166"/>
                    <a:pt x="10989" y="0"/>
                    <a:pt x="10800" y="0"/>
                  </a:cubicBezTo>
                  <a:cubicBezTo>
                    <a:pt x="10611" y="0"/>
                    <a:pt x="10450" y="166"/>
                    <a:pt x="10450" y="363"/>
                  </a:cubicBezTo>
                  <a:cubicBezTo>
                    <a:pt x="10450" y="770"/>
                    <a:pt x="10450" y="770"/>
                    <a:pt x="10450" y="770"/>
                  </a:cubicBezTo>
                  <a:cubicBezTo>
                    <a:pt x="9284" y="770"/>
                    <a:pt x="9284" y="770"/>
                    <a:pt x="9284" y="770"/>
                  </a:cubicBezTo>
                  <a:cubicBezTo>
                    <a:pt x="9284" y="363"/>
                    <a:pt x="9284" y="363"/>
                    <a:pt x="9284" y="363"/>
                  </a:cubicBezTo>
                  <a:cubicBezTo>
                    <a:pt x="9284" y="166"/>
                    <a:pt x="9124" y="0"/>
                    <a:pt x="8934" y="0"/>
                  </a:cubicBezTo>
                  <a:cubicBezTo>
                    <a:pt x="8745" y="0"/>
                    <a:pt x="8585" y="166"/>
                    <a:pt x="8585" y="363"/>
                  </a:cubicBezTo>
                  <a:cubicBezTo>
                    <a:pt x="8585" y="770"/>
                    <a:pt x="8585" y="770"/>
                    <a:pt x="8585" y="770"/>
                  </a:cubicBezTo>
                  <a:cubicBezTo>
                    <a:pt x="7419" y="770"/>
                    <a:pt x="7419" y="770"/>
                    <a:pt x="7419" y="770"/>
                  </a:cubicBezTo>
                  <a:cubicBezTo>
                    <a:pt x="7419" y="363"/>
                    <a:pt x="7419" y="363"/>
                    <a:pt x="7419" y="363"/>
                  </a:cubicBezTo>
                  <a:cubicBezTo>
                    <a:pt x="7419" y="166"/>
                    <a:pt x="7258" y="0"/>
                    <a:pt x="7069" y="0"/>
                  </a:cubicBezTo>
                  <a:cubicBezTo>
                    <a:pt x="6879" y="0"/>
                    <a:pt x="6719" y="166"/>
                    <a:pt x="6719" y="363"/>
                  </a:cubicBezTo>
                  <a:cubicBezTo>
                    <a:pt x="6719" y="770"/>
                    <a:pt x="6719" y="770"/>
                    <a:pt x="6719" y="770"/>
                  </a:cubicBezTo>
                  <a:cubicBezTo>
                    <a:pt x="5553" y="770"/>
                    <a:pt x="5553" y="770"/>
                    <a:pt x="5553" y="770"/>
                  </a:cubicBezTo>
                  <a:cubicBezTo>
                    <a:pt x="5553" y="363"/>
                    <a:pt x="5553" y="363"/>
                    <a:pt x="5553" y="363"/>
                  </a:cubicBezTo>
                  <a:cubicBezTo>
                    <a:pt x="5553" y="166"/>
                    <a:pt x="5393" y="0"/>
                    <a:pt x="5203" y="0"/>
                  </a:cubicBezTo>
                  <a:cubicBezTo>
                    <a:pt x="5014" y="0"/>
                    <a:pt x="4853" y="166"/>
                    <a:pt x="4853" y="363"/>
                  </a:cubicBezTo>
                  <a:cubicBezTo>
                    <a:pt x="4853" y="770"/>
                    <a:pt x="4853" y="770"/>
                    <a:pt x="4853" y="770"/>
                  </a:cubicBezTo>
                  <a:cubicBezTo>
                    <a:pt x="3687" y="770"/>
                    <a:pt x="3687" y="770"/>
                    <a:pt x="3687" y="770"/>
                  </a:cubicBezTo>
                  <a:cubicBezTo>
                    <a:pt x="3687" y="363"/>
                    <a:pt x="3687" y="363"/>
                    <a:pt x="3687" y="363"/>
                  </a:cubicBezTo>
                  <a:cubicBezTo>
                    <a:pt x="3687" y="166"/>
                    <a:pt x="3527" y="0"/>
                    <a:pt x="3338" y="0"/>
                  </a:cubicBezTo>
                  <a:cubicBezTo>
                    <a:pt x="3148" y="0"/>
                    <a:pt x="2988" y="166"/>
                    <a:pt x="2988" y="363"/>
                  </a:cubicBezTo>
                  <a:cubicBezTo>
                    <a:pt x="2988" y="770"/>
                    <a:pt x="2988" y="770"/>
                    <a:pt x="2988" y="770"/>
                  </a:cubicBezTo>
                  <a:cubicBezTo>
                    <a:pt x="1836" y="770"/>
                    <a:pt x="1836" y="770"/>
                    <a:pt x="1836" y="770"/>
                  </a:cubicBezTo>
                  <a:cubicBezTo>
                    <a:pt x="831" y="770"/>
                    <a:pt x="0" y="1631"/>
                    <a:pt x="0" y="2689"/>
                  </a:cubicBezTo>
                  <a:cubicBezTo>
                    <a:pt x="0" y="16600"/>
                    <a:pt x="0" y="16600"/>
                    <a:pt x="0" y="16600"/>
                  </a:cubicBezTo>
                  <a:cubicBezTo>
                    <a:pt x="0" y="17658"/>
                    <a:pt x="831" y="18519"/>
                    <a:pt x="1836" y="18519"/>
                  </a:cubicBezTo>
                  <a:cubicBezTo>
                    <a:pt x="5859" y="18519"/>
                    <a:pt x="5859" y="18519"/>
                    <a:pt x="5859" y="18519"/>
                  </a:cubicBezTo>
                  <a:cubicBezTo>
                    <a:pt x="6792" y="20346"/>
                    <a:pt x="8657" y="21600"/>
                    <a:pt x="10800" y="21600"/>
                  </a:cubicBezTo>
                  <a:cubicBezTo>
                    <a:pt x="12943" y="21600"/>
                    <a:pt x="14794" y="20346"/>
                    <a:pt x="15726" y="18519"/>
                  </a:cubicBezTo>
                  <a:cubicBezTo>
                    <a:pt x="19749" y="18519"/>
                    <a:pt x="19749" y="18519"/>
                    <a:pt x="19749" y="18519"/>
                  </a:cubicBezTo>
                  <a:cubicBezTo>
                    <a:pt x="20769" y="18519"/>
                    <a:pt x="21600" y="17658"/>
                    <a:pt x="21600" y="16600"/>
                  </a:cubicBezTo>
                  <a:cubicBezTo>
                    <a:pt x="21600" y="2689"/>
                    <a:pt x="21600" y="2689"/>
                    <a:pt x="21600" y="2689"/>
                  </a:cubicBezTo>
                  <a:cubicBezTo>
                    <a:pt x="21600" y="1631"/>
                    <a:pt x="20769" y="770"/>
                    <a:pt x="19749" y="770"/>
                  </a:cubicBezTo>
                  <a:close/>
                  <a:moveTo>
                    <a:pt x="1836" y="1495"/>
                  </a:moveTo>
                  <a:cubicBezTo>
                    <a:pt x="2988" y="1495"/>
                    <a:pt x="2988" y="1495"/>
                    <a:pt x="2988" y="1495"/>
                  </a:cubicBezTo>
                  <a:cubicBezTo>
                    <a:pt x="2988" y="1903"/>
                    <a:pt x="2988" y="1903"/>
                    <a:pt x="2988" y="1903"/>
                  </a:cubicBezTo>
                  <a:cubicBezTo>
                    <a:pt x="2988" y="2115"/>
                    <a:pt x="3148" y="2266"/>
                    <a:pt x="3338" y="2266"/>
                  </a:cubicBezTo>
                  <a:cubicBezTo>
                    <a:pt x="3527" y="2266"/>
                    <a:pt x="3687" y="2115"/>
                    <a:pt x="3687" y="1903"/>
                  </a:cubicBezTo>
                  <a:cubicBezTo>
                    <a:pt x="3687" y="1495"/>
                    <a:pt x="3687" y="1495"/>
                    <a:pt x="3687" y="1495"/>
                  </a:cubicBezTo>
                  <a:cubicBezTo>
                    <a:pt x="4853" y="1495"/>
                    <a:pt x="4853" y="1495"/>
                    <a:pt x="4853" y="1495"/>
                  </a:cubicBezTo>
                  <a:cubicBezTo>
                    <a:pt x="4853" y="1903"/>
                    <a:pt x="4853" y="1903"/>
                    <a:pt x="4853" y="1903"/>
                  </a:cubicBezTo>
                  <a:cubicBezTo>
                    <a:pt x="4853" y="2115"/>
                    <a:pt x="5014" y="2266"/>
                    <a:pt x="5203" y="2266"/>
                  </a:cubicBezTo>
                  <a:cubicBezTo>
                    <a:pt x="5393" y="2266"/>
                    <a:pt x="5553" y="2115"/>
                    <a:pt x="5553" y="1903"/>
                  </a:cubicBezTo>
                  <a:cubicBezTo>
                    <a:pt x="5553" y="1495"/>
                    <a:pt x="5553" y="1495"/>
                    <a:pt x="5553" y="1495"/>
                  </a:cubicBezTo>
                  <a:cubicBezTo>
                    <a:pt x="6719" y="1495"/>
                    <a:pt x="6719" y="1495"/>
                    <a:pt x="6719" y="1495"/>
                  </a:cubicBezTo>
                  <a:cubicBezTo>
                    <a:pt x="6719" y="1903"/>
                    <a:pt x="6719" y="1903"/>
                    <a:pt x="6719" y="1903"/>
                  </a:cubicBezTo>
                  <a:cubicBezTo>
                    <a:pt x="6719" y="2115"/>
                    <a:pt x="6879" y="2266"/>
                    <a:pt x="7069" y="2266"/>
                  </a:cubicBezTo>
                  <a:cubicBezTo>
                    <a:pt x="7258" y="2266"/>
                    <a:pt x="7419" y="2115"/>
                    <a:pt x="7419" y="1903"/>
                  </a:cubicBezTo>
                  <a:cubicBezTo>
                    <a:pt x="7419" y="1495"/>
                    <a:pt x="7419" y="1495"/>
                    <a:pt x="7419" y="1495"/>
                  </a:cubicBezTo>
                  <a:cubicBezTo>
                    <a:pt x="8585" y="1495"/>
                    <a:pt x="8585" y="1495"/>
                    <a:pt x="8585" y="1495"/>
                  </a:cubicBezTo>
                  <a:cubicBezTo>
                    <a:pt x="8585" y="1903"/>
                    <a:pt x="8585" y="1903"/>
                    <a:pt x="8585" y="1903"/>
                  </a:cubicBezTo>
                  <a:cubicBezTo>
                    <a:pt x="8585" y="2115"/>
                    <a:pt x="8745" y="2266"/>
                    <a:pt x="8934" y="2266"/>
                  </a:cubicBezTo>
                  <a:cubicBezTo>
                    <a:pt x="9124" y="2266"/>
                    <a:pt x="9284" y="2115"/>
                    <a:pt x="9284" y="1903"/>
                  </a:cubicBezTo>
                  <a:cubicBezTo>
                    <a:pt x="9284" y="1495"/>
                    <a:pt x="9284" y="1495"/>
                    <a:pt x="9284" y="1495"/>
                  </a:cubicBezTo>
                  <a:cubicBezTo>
                    <a:pt x="10450" y="1495"/>
                    <a:pt x="10450" y="1495"/>
                    <a:pt x="10450" y="1495"/>
                  </a:cubicBezTo>
                  <a:cubicBezTo>
                    <a:pt x="10450" y="1903"/>
                    <a:pt x="10450" y="1903"/>
                    <a:pt x="10450" y="1903"/>
                  </a:cubicBezTo>
                  <a:cubicBezTo>
                    <a:pt x="10450" y="2115"/>
                    <a:pt x="10611" y="2266"/>
                    <a:pt x="10800" y="2266"/>
                  </a:cubicBezTo>
                  <a:cubicBezTo>
                    <a:pt x="10989" y="2266"/>
                    <a:pt x="11150" y="2115"/>
                    <a:pt x="11150" y="1903"/>
                  </a:cubicBezTo>
                  <a:cubicBezTo>
                    <a:pt x="11150" y="1495"/>
                    <a:pt x="11150" y="1495"/>
                    <a:pt x="11150" y="1495"/>
                  </a:cubicBezTo>
                  <a:cubicBezTo>
                    <a:pt x="12316" y="1495"/>
                    <a:pt x="12316" y="1495"/>
                    <a:pt x="12316" y="1495"/>
                  </a:cubicBezTo>
                  <a:cubicBezTo>
                    <a:pt x="12316" y="1903"/>
                    <a:pt x="12316" y="1903"/>
                    <a:pt x="12316" y="1903"/>
                  </a:cubicBezTo>
                  <a:cubicBezTo>
                    <a:pt x="12316" y="2115"/>
                    <a:pt x="12476" y="2266"/>
                    <a:pt x="12666" y="2266"/>
                  </a:cubicBezTo>
                  <a:cubicBezTo>
                    <a:pt x="12855" y="2266"/>
                    <a:pt x="13015" y="2115"/>
                    <a:pt x="13015" y="1903"/>
                  </a:cubicBezTo>
                  <a:cubicBezTo>
                    <a:pt x="13015" y="1495"/>
                    <a:pt x="13015" y="1495"/>
                    <a:pt x="13015" y="1495"/>
                  </a:cubicBezTo>
                  <a:cubicBezTo>
                    <a:pt x="14181" y="1495"/>
                    <a:pt x="14181" y="1495"/>
                    <a:pt x="14181" y="1495"/>
                  </a:cubicBezTo>
                  <a:cubicBezTo>
                    <a:pt x="14181" y="1903"/>
                    <a:pt x="14181" y="1903"/>
                    <a:pt x="14181" y="1903"/>
                  </a:cubicBezTo>
                  <a:cubicBezTo>
                    <a:pt x="14181" y="2115"/>
                    <a:pt x="14342" y="2266"/>
                    <a:pt x="14531" y="2266"/>
                  </a:cubicBezTo>
                  <a:cubicBezTo>
                    <a:pt x="14721" y="2266"/>
                    <a:pt x="14881" y="2115"/>
                    <a:pt x="14881" y="1903"/>
                  </a:cubicBezTo>
                  <a:cubicBezTo>
                    <a:pt x="14881" y="1495"/>
                    <a:pt x="14881" y="1495"/>
                    <a:pt x="14881" y="1495"/>
                  </a:cubicBezTo>
                  <a:cubicBezTo>
                    <a:pt x="16047" y="1495"/>
                    <a:pt x="16047" y="1495"/>
                    <a:pt x="16047" y="1495"/>
                  </a:cubicBezTo>
                  <a:cubicBezTo>
                    <a:pt x="16047" y="1903"/>
                    <a:pt x="16047" y="1903"/>
                    <a:pt x="16047" y="1903"/>
                  </a:cubicBezTo>
                  <a:cubicBezTo>
                    <a:pt x="16047" y="2115"/>
                    <a:pt x="16207" y="2266"/>
                    <a:pt x="16397" y="2266"/>
                  </a:cubicBezTo>
                  <a:cubicBezTo>
                    <a:pt x="16586" y="2266"/>
                    <a:pt x="16747" y="2115"/>
                    <a:pt x="16747" y="1903"/>
                  </a:cubicBezTo>
                  <a:cubicBezTo>
                    <a:pt x="16747" y="1495"/>
                    <a:pt x="16747" y="1495"/>
                    <a:pt x="16747" y="1495"/>
                  </a:cubicBezTo>
                  <a:cubicBezTo>
                    <a:pt x="17913" y="1495"/>
                    <a:pt x="17913" y="1495"/>
                    <a:pt x="17913" y="1495"/>
                  </a:cubicBezTo>
                  <a:cubicBezTo>
                    <a:pt x="17913" y="1903"/>
                    <a:pt x="17913" y="1903"/>
                    <a:pt x="17913" y="1903"/>
                  </a:cubicBezTo>
                  <a:cubicBezTo>
                    <a:pt x="17913" y="2115"/>
                    <a:pt x="18073" y="2266"/>
                    <a:pt x="18262" y="2266"/>
                  </a:cubicBezTo>
                  <a:cubicBezTo>
                    <a:pt x="18452" y="2266"/>
                    <a:pt x="18612" y="2115"/>
                    <a:pt x="18612" y="1903"/>
                  </a:cubicBezTo>
                  <a:cubicBezTo>
                    <a:pt x="18612" y="1495"/>
                    <a:pt x="18612" y="1495"/>
                    <a:pt x="18612" y="1495"/>
                  </a:cubicBezTo>
                  <a:cubicBezTo>
                    <a:pt x="19749" y="1495"/>
                    <a:pt x="19749" y="1495"/>
                    <a:pt x="19749" y="1495"/>
                  </a:cubicBezTo>
                  <a:cubicBezTo>
                    <a:pt x="20376" y="1495"/>
                    <a:pt x="20900" y="2024"/>
                    <a:pt x="20900" y="2689"/>
                  </a:cubicBezTo>
                  <a:cubicBezTo>
                    <a:pt x="20900" y="3097"/>
                    <a:pt x="20900" y="3097"/>
                    <a:pt x="20900" y="3097"/>
                  </a:cubicBezTo>
                  <a:cubicBezTo>
                    <a:pt x="700" y="3097"/>
                    <a:pt x="700" y="3097"/>
                    <a:pt x="700" y="3097"/>
                  </a:cubicBezTo>
                  <a:cubicBezTo>
                    <a:pt x="700" y="2689"/>
                    <a:pt x="700" y="2689"/>
                    <a:pt x="700" y="2689"/>
                  </a:cubicBezTo>
                  <a:cubicBezTo>
                    <a:pt x="700" y="2024"/>
                    <a:pt x="1210" y="1495"/>
                    <a:pt x="1836" y="1495"/>
                  </a:cubicBezTo>
                  <a:close/>
                  <a:moveTo>
                    <a:pt x="11150" y="20875"/>
                  </a:moveTo>
                  <a:cubicBezTo>
                    <a:pt x="11150" y="20090"/>
                    <a:pt x="11150" y="20090"/>
                    <a:pt x="11150" y="20090"/>
                  </a:cubicBezTo>
                  <a:cubicBezTo>
                    <a:pt x="11150" y="19878"/>
                    <a:pt x="10989" y="19727"/>
                    <a:pt x="10800" y="19727"/>
                  </a:cubicBezTo>
                  <a:cubicBezTo>
                    <a:pt x="10611" y="19727"/>
                    <a:pt x="10450" y="19878"/>
                    <a:pt x="10450" y="20090"/>
                  </a:cubicBezTo>
                  <a:cubicBezTo>
                    <a:pt x="10450" y="20875"/>
                    <a:pt x="10450" y="20875"/>
                    <a:pt x="10450" y="20875"/>
                  </a:cubicBezTo>
                  <a:cubicBezTo>
                    <a:pt x="8045" y="20694"/>
                    <a:pt x="6107" y="18685"/>
                    <a:pt x="5932" y="16192"/>
                  </a:cubicBezTo>
                  <a:cubicBezTo>
                    <a:pt x="6690" y="16192"/>
                    <a:pt x="6690" y="16192"/>
                    <a:pt x="6690" y="16192"/>
                  </a:cubicBezTo>
                  <a:cubicBezTo>
                    <a:pt x="6879" y="16192"/>
                    <a:pt x="7040" y="16026"/>
                    <a:pt x="7040" y="15830"/>
                  </a:cubicBezTo>
                  <a:cubicBezTo>
                    <a:pt x="7040" y="15634"/>
                    <a:pt x="6879" y="15467"/>
                    <a:pt x="6690" y="15467"/>
                  </a:cubicBezTo>
                  <a:cubicBezTo>
                    <a:pt x="5932" y="15467"/>
                    <a:pt x="5932" y="15467"/>
                    <a:pt x="5932" y="15467"/>
                  </a:cubicBezTo>
                  <a:cubicBezTo>
                    <a:pt x="6107" y="12975"/>
                    <a:pt x="8045" y="10966"/>
                    <a:pt x="10450" y="10785"/>
                  </a:cubicBezTo>
                  <a:cubicBezTo>
                    <a:pt x="10450" y="11570"/>
                    <a:pt x="10450" y="11570"/>
                    <a:pt x="10450" y="11570"/>
                  </a:cubicBezTo>
                  <a:cubicBezTo>
                    <a:pt x="10450" y="11782"/>
                    <a:pt x="10611" y="11933"/>
                    <a:pt x="10800" y="11933"/>
                  </a:cubicBezTo>
                  <a:cubicBezTo>
                    <a:pt x="10989" y="11933"/>
                    <a:pt x="11150" y="11782"/>
                    <a:pt x="11150" y="11570"/>
                  </a:cubicBezTo>
                  <a:cubicBezTo>
                    <a:pt x="11150" y="10785"/>
                    <a:pt x="11150" y="10785"/>
                    <a:pt x="11150" y="10785"/>
                  </a:cubicBezTo>
                  <a:cubicBezTo>
                    <a:pt x="13555" y="10966"/>
                    <a:pt x="15493" y="12975"/>
                    <a:pt x="15653" y="15467"/>
                  </a:cubicBezTo>
                  <a:cubicBezTo>
                    <a:pt x="15653" y="15467"/>
                    <a:pt x="15653" y="15467"/>
                    <a:pt x="15653" y="15467"/>
                  </a:cubicBezTo>
                  <a:cubicBezTo>
                    <a:pt x="14896" y="15467"/>
                    <a:pt x="14896" y="15467"/>
                    <a:pt x="14896" y="15467"/>
                  </a:cubicBezTo>
                  <a:cubicBezTo>
                    <a:pt x="14706" y="15467"/>
                    <a:pt x="14546" y="15634"/>
                    <a:pt x="14546" y="15830"/>
                  </a:cubicBezTo>
                  <a:cubicBezTo>
                    <a:pt x="14546" y="16026"/>
                    <a:pt x="14706" y="16192"/>
                    <a:pt x="14896" y="16192"/>
                  </a:cubicBezTo>
                  <a:cubicBezTo>
                    <a:pt x="15653" y="16192"/>
                    <a:pt x="15653" y="16192"/>
                    <a:pt x="15653" y="16192"/>
                  </a:cubicBezTo>
                  <a:cubicBezTo>
                    <a:pt x="15653" y="16192"/>
                    <a:pt x="15653" y="16192"/>
                    <a:pt x="15653" y="16192"/>
                  </a:cubicBezTo>
                  <a:cubicBezTo>
                    <a:pt x="15493" y="18685"/>
                    <a:pt x="13555" y="20694"/>
                    <a:pt x="11150" y="20875"/>
                  </a:cubicBezTo>
                  <a:close/>
                  <a:moveTo>
                    <a:pt x="19749" y="17794"/>
                  </a:moveTo>
                  <a:cubicBezTo>
                    <a:pt x="16047" y="17794"/>
                    <a:pt x="16047" y="17794"/>
                    <a:pt x="16047" y="17794"/>
                  </a:cubicBezTo>
                  <a:cubicBezTo>
                    <a:pt x="16251" y="17174"/>
                    <a:pt x="16368" y="16510"/>
                    <a:pt x="16368" y="15830"/>
                  </a:cubicBezTo>
                  <a:cubicBezTo>
                    <a:pt x="16368" y="14848"/>
                    <a:pt x="16134" y="13912"/>
                    <a:pt x="15712" y="13096"/>
                  </a:cubicBezTo>
                  <a:cubicBezTo>
                    <a:pt x="16018" y="13096"/>
                    <a:pt x="16018" y="13096"/>
                    <a:pt x="16018" y="13096"/>
                  </a:cubicBezTo>
                  <a:cubicBezTo>
                    <a:pt x="16207" y="13096"/>
                    <a:pt x="16368" y="12930"/>
                    <a:pt x="16368" y="12733"/>
                  </a:cubicBezTo>
                  <a:cubicBezTo>
                    <a:pt x="16368" y="12537"/>
                    <a:pt x="16207" y="12371"/>
                    <a:pt x="16018" y="12371"/>
                  </a:cubicBezTo>
                  <a:cubicBezTo>
                    <a:pt x="15274" y="12371"/>
                    <a:pt x="15274" y="12371"/>
                    <a:pt x="15274" y="12371"/>
                  </a:cubicBezTo>
                  <a:cubicBezTo>
                    <a:pt x="15274" y="12371"/>
                    <a:pt x="15260" y="12371"/>
                    <a:pt x="15260" y="12371"/>
                  </a:cubicBezTo>
                  <a:cubicBezTo>
                    <a:pt x="14240" y="10966"/>
                    <a:pt x="12622" y="10060"/>
                    <a:pt x="10800" y="10060"/>
                  </a:cubicBezTo>
                  <a:cubicBezTo>
                    <a:pt x="8978" y="10060"/>
                    <a:pt x="7346" y="10966"/>
                    <a:pt x="6340" y="12371"/>
                  </a:cubicBezTo>
                  <a:cubicBezTo>
                    <a:pt x="6326" y="12371"/>
                    <a:pt x="6326" y="12371"/>
                    <a:pt x="6326" y="12371"/>
                  </a:cubicBezTo>
                  <a:cubicBezTo>
                    <a:pt x="5568" y="12371"/>
                    <a:pt x="5568" y="12371"/>
                    <a:pt x="5568" y="12371"/>
                  </a:cubicBezTo>
                  <a:cubicBezTo>
                    <a:pt x="5378" y="12371"/>
                    <a:pt x="5218" y="12537"/>
                    <a:pt x="5218" y="12733"/>
                  </a:cubicBezTo>
                  <a:cubicBezTo>
                    <a:pt x="5218" y="12930"/>
                    <a:pt x="5378" y="13096"/>
                    <a:pt x="5568" y="13096"/>
                  </a:cubicBezTo>
                  <a:cubicBezTo>
                    <a:pt x="5888" y="13096"/>
                    <a:pt x="5888" y="13096"/>
                    <a:pt x="5888" y="13096"/>
                  </a:cubicBezTo>
                  <a:cubicBezTo>
                    <a:pt x="5466" y="13912"/>
                    <a:pt x="5218" y="14848"/>
                    <a:pt x="5218" y="15830"/>
                  </a:cubicBezTo>
                  <a:cubicBezTo>
                    <a:pt x="5218" y="16510"/>
                    <a:pt x="5334" y="17174"/>
                    <a:pt x="5553" y="17794"/>
                  </a:cubicBezTo>
                  <a:cubicBezTo>
                    <a:pt x="1836" y="17794"/>
                    <a:pt x="1836" y="17794"/>
                    <a:pt x="1836" y="17794"/>
                  </a:cubicBezTo>
                  <a:cubicBezTo>
                    <a:pt x="1210" y="17794"/>
                    <a:pt x="700" y="17250"/>
                    <a:pt x="700" y="16600"/>
                  </a:cubicBezTo>
                  <a:cubicBezTo>
                    <a:pt x="700" y="3822"/>
                    <a:pt x="700" y="3822"/>
                    <a:pt x="700" y="3822"/>
                  </a:cubicBezTo>
                  <a:cubicBezTo>
                    <a:pt x="20900" y="3822"/>
                    <a:pt x="20900" y="3822"/>
                    <a:pt x="20900" y="3822"/>
                  </a:cubicBezTo>
                  <a:cubicBezTo>
                    <a:pt x="20900" y="16600"/>
                    <a:pt x="20900" y="16600"/>
                    <a:pt x="20900" y="16600"/>
                  </a:cubicBezTo>
                  <a:cubicBezTo>
                    <a:pt x="20900" y="17250"/>
                    <a:pt x="20376" y="17794"/>
                    <a:pt x="19749" y="17794"/>
                  </a:cubicBezTo>
                  <a:close/>
                  <a:moveTo>
                    <a:pt x="19749" y="17794"/>
                  </a:moveTo>
                  <a:cubicBezTo>
                    <a:pt x="19749" y="17794"/>
                    <a:pt x="19749" y="17794"/>
                    <a:pt x="19749" y="17794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20" name="Freeform 42"/>
            <p:cNvSpPr/>
            <p:nvPr/>
          </p:nvSpPr>
          <p:spPr>
            <a:xfrm>
              <a:off x="205485" y="319273"/>
              <a:ext cx="86642" cy="288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7" y="0"/>
                  </a:moveTo>
                  <a:cubicBezTo>
                    <a:pt x="3433" y="0"/>
                    <a:pt x="3433" y="0"/>
                    <a:pt x="3433" y="0"/>
                  </a:cubicBezTo>
                  <a:cubicBezTo>
                    <a:pt x="1574" y="0"/>
                    <a:pt x="0" y="4950"/>
                    <a:pt x="0" y="10800"/>
                  </a:cubicBezTo>
                  <a:cubicBezTo>
                    <a:pt x="0" y="16650"/>
                    <a:pt x="1574" y="21600"/>
                    <a:pt x="3433" y="21600"/>
                  </a:cubicBezTo>
                  <a:cubicBezTo>
                    <a:pt x="18167" y="21600"/>
                    <a:pt x="18167" y="21600"/>
                    <a:pt x="18167" y="21600"/>
                  </a:cubicBezTo>
                  <a:cubicBezTo>
                    <a:pt x="20026" y="21600"/>
                    <a:pt x="21600" y="16650"/>
                    <a:pt x="21600" y="10800"/>
                  </a:cubicBezTo>
                  <a:cubicBezTo>
                    <a:pt x="21600" y="4950"/>
                    <a:pt x="20026" y="0"/>
                    <a:pt x="18167" y="0"/>
                  </a:cubicBezTo>
                  <a:close/>
                  <a:moveTo>
                    <a:pt x="18167" y="0"/>
                  </a:moveTo>
                  <a:cubicBezTo>
                    <a:pt x="18167" y="0"/>
                    <a:pt x="18167" y="0"/>
                    <a:pt x="18167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21" name="Freeform 43"/>
            <p:cNvSpPr/>
            <p:nvPr/>
          </p:nvSpPr>
          <p:spPr>
            <a:xfrm>
              <a:off x="88509" y="319273"/>
              <a:ext cx="86018" cy="288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440" y="0"/>
                    <a:pt x="0" y="4950"/>
                    <a:pt x="0" y="10800"/>
                  </a:cubicBezTo>
                  <a:cubicBezTo>
                    <a:pt x="0" y="16650"/>
                    <a:pt x="1440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22" name="Freeform 44"/>
            <p:cNvSpPr/>
            <p:nvPr/>
          </p:nvSpPr>
          <p:spPr>
            <a:xfrm>
              <a:off x="323084" y="319273"/>
              <a:ext cx="86641" cy="288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7" y="0"/>
                  </a:moveTo>
                  <a:cubicBezTo>
                    <a:pt x="3433" y="0"/>
                    <a:pt x="3433" y="0"/>
                    <a:pt x="3433" y="0"/>
                  </a:cubicBezTo>
                  <a:cubicBezTo>
                    <a:pt x="1574" y="0"/>
                    <a:pt x="0" y="4950"/>
                    <a:pt x="0" y="10800"/>
                  </a:cubicBezTo>
                  <a:cubicBezTo>
                    <a:pt x="0" y="16650"/>
                    <a:pt x="1574" y="21600"/>
                    <a:pt x="3433" y="21600"/>
                  </a:cubicBezTo>
                  <a:cubicBezTo>
                    <a:pt x="18167" y="21600"/>
                    <a:pt x="18167" y="21600"/>
                    <a:pt x="18167" y="21600"/>
                  </a:cubicBezTo>
                  <a:cubicBezTo>
                    <a:pt x="20026" y="21600"/>
                    <a:pt x="21600" y="16650"/>
                    <a:pt x="21600" y="10800"/>
                  </a:cubicBezTo>
                  <a:cubicBezTo>
                    <a:pt x="21600" y="4950"/>
                    <a:pt x="20026" y="0"/>
                    <a:pt x="18167" y="0"/>
                  </a:cubicBezTo>
                  <a:close/>
                  <a:moveTo>
                    <a:pt x="18167" y="0"/>
                  </a:moveTo>
                  <a:cubicBezTo>
                    <a:pt x="18167" y="0"/>
                    <a:pt x="18167" y="0"/>
                    <a:pt x="18167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23" name="Freeform 45"/>
            <p:cNvSpPr/>
            <p:nvPr/>
          </p:nvSpPr>
          <p:spPr>
            <a:xfrm>
              <a:off x="558486" y="319273"/>
              <a:ext cx="86019" cy="288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584" y="0"/>
                    <a:pt x="0" y="4950"/>
                    <a:pt x="0" y="10800"/>
                  </a:cubicBezTo>
                  <a:cubicBezTo>
                    <a:pt x="0" y="16650"/>
                    <a:pt x="1584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24" name="Freeform 46"/>
            <p:cNvSpPr/>
            <p:nvPr/>
          </p:nvSpPr>
          <p:spPr>
            <a:xfrm>
              <a:off x="676085" y="319273"/>
              <a:ext cx="86018" cy="288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440" y="0"/>
                    <a:pt x="0" y="4950"/>
                    <a:pt x="0" y="10800"/>
                  </a:cubicBezTo>
                  <a:cubicBezTo>
                    <a:pt x="0" y="16650"/>
                    <a:pt x="1440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25" name="Freeform 47"/>
            <p:cNvSpPr/>
            <p:nvPr/>
          </p:nvSpPr>
          <p:spPr>
            <a:xfrm>
              <a:off x="440682" y="319273"/>
              <a:ext cx="86226" cy="288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584" y="0"/>
                    <a:pt x="0" y="4950"/>
                    <a:pt x="0" y="10800"/>
                  </a:cubicBezTo>
                  <a:cubicBezTo>
                    <a:pt x="0" y="16650"/>
                    <a:pt x="1584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160" y="21600"/>
                    <a:pt x="21600" y="16650"/>
                    <a:pt x="21600" y="10800"/>
                  </a:cubicBezTo>
                  <a:cubicBezTo>
                    <a:pt x="21600" y="4950"/>
                    <a:pt x="20160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26" name="Freeform 48"/>
            <p:cNvSpPr/>
            <p:nvPr/>
          </p:nvSpPr>
          <p:spPr>
            <a:xfrm>
              <a:off x="205485" y="246448"/>
              <a:ext cx="86642" cy="28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7" y="0"/>
                  </a:moveTo>
                  <a:cubicBezTo>
                    <a:pt x="3433" y="0"/>
                    <a:pt x="3433" y="0"/>
                    <a:pt x="3433" y="0"/>
                  </a:cubicBezTo>
                  <a:cubicBezTo>
                    <a:pt x="1574" y="0"/>
                    <a:pt x="0" y="4950"/>
                    <a:pt x="0" y="10800"/>
                  </a:cubicBezTo>
                  <a:cubicBezTo>
                    <a:pt x="0" y="16650"/>
                    <a:pt x="1574" y="21600"/>
                    <a:pt x="3433" y="21600"/>
                  </a:cubicBezTo>
                  <a:cubicBezTo>
                    <a:pt x="18167" y="21600"/>
                    <a:pt x="18167" y="21600"/>
                    <a:pt x="18167" y="21600"/>
                  </a:cubicBezTo>
                  <a:cubicBezTo>
                    <a:pt x="20026" y="21600"/>
                    <a:pt x="21600" y="16650"/>
                    <a:pt x="21600" y="10800"/>
                  </a:cubicBezTo>
                  <a:cubicBezTo>
                    <a:pt x="21600" y="4950"/>
                    <a:pt x="20026" y="0"/>
                    <a:pt x="18167" y="0"/>
                  </a:cubicBezTo>
                  <a:close/>
                  <a:moveTo>
                    <a:pt x="18167" y="0"/>
                  </a:moveTo>
                  <a:cubicBezTo>
                    <a:pt x="18167" y="0"/>
                    <a:pt x="18167" y="0"/>
                    <a:pt x="18167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27" name="Freeform 49"/>
            <p:cNvSpPr/>
            <p:nvPr/>
          </p:nvSpPr>
          <p:spPr>
            <a:xfrm>
              <a:off x="88509" y="246448"/>
              <a:ext cx="86018" cy="28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440" y="0"/>
                    <a:pt x="0" y="4950"/>
                    <a:pt x="0" y="10800"/>
                  </a:cubicBezTo>
                  <a:cubicBezTo>
                    <a:pt x="0" y="16650"/>
                    <a:pt x="1440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28" name="Freeform 50"/>
            <p:cNvSpPr/>
            <p:nvPr/>
          </p:nvSpPr>
          <p:spPr>
            <a:xfrm>
              <a:off x="323084" y="246448"/>
              <a:ext cx="86641" cy="28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7" y="0"/>
                  </a:moveTo>
                  <a:cubicBezTo>
                    <a:pt x="3433" y="0"/>
                    <a:pt x="3433" y="0"/>
                    <a:pt x="3433" y="0"/>
                  </a:cubicBezTo>
                  <a:cubicBezTo>
                    <a:pt x="1574" y="0"/>
                    <a:pt x="0" y="4950"/>
                    <a:pt x="0" y="10800"/>
                  </a:cubicBezTo>
                  <a:cubicBezTo>
                    <a:pt x="0" y="16650"/>
                    <a:pt x="1574" y="21600"/>
                    <a:pt x="3433" y="21600"/>
                  </a:cubicBezTo>
                  <a:cubicBezTo>
                    <a:pt x="18167" y="21600"/>
                    <a:pt x="18167" y="21600"/>
                    <a:pt x="18167" y="21600"/>
                  </a:cubicBezTo>
                  <a:cubicBezTo>
                    <a:pt x="20026" y="21600"/>
                    <a:pt x="21600" y="16650"/>
                    <a:pt x="21600" y="10800"/>
                  </a:cubicBezTo>
                  <a:cubicBezTo>
                    <a:pt x="21600" y="4950"/>
                    <a:pt x="20026" y="0"/>
                    <a:pt x="18167" y="0"/>
                  </a:cubicBezTo>
                  <a:close/>
                  <a:moveTo>
                    <a:pt x="18167" y="0"/>
                  </a:moveTo>
                  <a:cubicBezTo>
                    <a:pt x="18167" y="0"/>
                    <a:pt x="18167" y="0"/>
                    <a:pt x="18167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29" name="Freeform 51"/>
            <p:cNvSpPr/>
            <p:nvPr/>
          </p:nvSpPr>
          <p:spPr>
            <a:xfrm>
              <a:off x="558486" y="246448"/>
              <a:ext cx="86019" cy="28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584" y="0"/>
                    <a:pt x="0" y="4950"/>
                    <a:pt x="0" y="10800"/>
                  </a:cubicBezTo>
                  <a:cubicBezTo>
                    <a:pt x="0" y="16650"/>
                    <a:pt x="1584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30" name="Freeform 52"/>
            <p:cNvSpPr/>
            <p:nvPr/>
          </p:nvSpPr>
          <p:spPr>
            <a:xfrm>
              <a:off x="676085" y="246448"/>
              <a:ext cx="86018" cy="28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440" y="0"/>
                    <a:pt x="0" y="4950"/>
                    <a:pt x="0" y="10800"/>
                  </a:cubicBezTo>
                  <a:cubicBezTo>
                    <a:pt x="0" y="16650"/>
                    <a:pt x="1440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31" name="Freeform 53"/>
            <p:cNvSpPr/>
            <p:nvPr/>
          </p:nvSpPr>
          <p:spPr>
            <a:xfrm>
              <a:off x="440682" y="246448"/>
              <a:ext cx="86226" cy="28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584" y="0"/>
                    <a:pt x="0" y="4950"/>
                    <a:pt x="0" y="10800"/>
                  </a:cubicBezTo>
                  <a:cubicBezTo>
                    <a:pt x="0" y="16650"/>
                    <a:pt x="1584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160" y="21600"/>
                    <a:pt x="21600" y="16650"/>
                    <a:pt x="21600" y="10800"/>
                  </a:cubicBezTo>
                  <a:cubicBezTo>
                    <a:pt x="21600" y="4950"/>
                    <a:pt x="20160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32" name="Freeform 54"/>
            <p:cNvSpPr/>
            <p:nvPr/>
          </p:nvSpPr>
          <p:spPr>
            <a:xfrm>
              <a:off x="205485" y="391992"/>
              <a:ext cx="86642" cy="28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67" y="0"/>
                  </a:moveTo>
                  <a:cubicBezTo>
                    <a:pt x="3433" y="0"/>
                    <a:pt x="3433" y="0"/>
                    <a:pt x="3433" y="0"/>
                  </a:cubicBezTo>
                  <a:cubicBezTo>
                    <a:pt x="1574" y="0"/>
                    <a:pt x="0" y="4950"/>
                    <a:pt x="0" y="10800"/>
                  </a:cubicBezTo>
                  <a:cubicBezTo>
                    <a:pt x="0" y="16650"/>
                    <a:pt x="1574" y="21600"/>
                    <a:pt x="3433" y="21600"/>
                  </a:cubicBezTo>
                  <a:cubicBezTo>
                    <a:pt x="18167" y="21600"/>
                    <a:pt x="18167" y="21600"/>
                    <a:pt x="18167" y="21600"/>
                  </a:cubicBezTo>
                  <a:cubicBezTo>
                    <a:pt x="20026" y="21600"/>
                    <a:pt x="21600" y="16650"/>
                    <a:pt x="21600" y="10800"/>
                  </a:cubicBezTo>
                  <a:cubicBezTo>
                    <a:pt x="21600" y="4950"/>
                    <a:pt x="20026" y="0"/>
                    <a:pt x="18167" y="0"/>
                  </a:cubicBezTo>
                  <a:close/>
                  <a:moveTo>
                    <a:pt x="18167" y="0"/>
                  </a:moveTo>
                  <a:cubicBezTo>
                    <a:pt x="18167" y="0"/>
                    <a:pt x="18167" y="0"/>
                    <a:pt x="18167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33" name="Freeform 55"/>
            <p:cNvSpPr/>
            <p:nvPr/>
          </p:nvSpPr>
          <p:spPr>
            <a:xfrm>
              <a:off x="88509" y="391992"/>
              <a:ext cx="86018" cy="28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440" y="0"/>
                    <a:pt x="0" y="4950"/>
                    <a:pt x="0" y="10800"/>
                  </a:cubicBezTo>
                  <a:cubicBezTo>
                    <a:pt x="0" y="16650"/>
                    <a:pt x="1440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34" name="Freeform 56"/>
            <p:cNvSpPr/>
            <p:nvPr/>
          </p:nvSpPr>
          <p:spPr>
            <a:xfrm>
              <a:off x="558486" y="391992"/>
              <a:ext cx="86019" cy="28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584" y="0"/>
                    <a:pt x="0" y="4950"/>
                    <a:pt x="0" y="10800"/>
                  </a:cubicBezTo>
                  <a:cubicBezTo>
                    <a:pt x="0" y="16650"/>
                    <a:pt x="1584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35" name="Freeform 57"/>
            <p:cNvSpPr/>
            <p:nvPr/>
          </p:nvSpPr>
          <p:spPr>
            <a:xfrm>
              <a:off x="676085" y="391992"/>
              <a:ext cx="86018" cy="28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440" y="0"/>
                    <a:pt x="0" y="4950"/>
                    <a:pt x="0" y="10800"/>
                  </a:cubicBezTo>
                  <a:cubicBezTo>
                    <a:pt x="0" y="16650"/>
                    <a:pt x="1440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36" name="Freeform 58"/>
            <p:cNvSpPr/>
            <p:nvPr/>
          </p:nvSpPr>
          <p:spPr>
            <a:xfrm>
              <a:off x="88509" y="464711"/>
              <a:ext cx="86018" cy="28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440" y="0"/>
                    <a:pt x="0" y="4950"/>
                    <a:pt x="0" y="10800"/>
                  </a:cubicBezTo>
                  <a:cubicBezTo>
                    <a:pt x="0" y="16650"/>
                    <a:pt x="1440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37" name="Freeform 59"/>
            <p:cNvSpPr/>
            <p:nvPr/>
          </p:nvSpPr>
          <p:spPr>
            <a:xfrm>
              <a:off x="676085" y="464711"/>
              <a:ext cx="86018" cy="288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440" y="0"/>
                    <a:pt x="0" y="4950"/>
                    <a:pt x="0" y="10800"/>
                  </a:cubicBezTo>
                  <a:cubicBezTo>
                    <a:pt x="0" y="16650"/>
                    <a:pt x="1440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38" name="Freeform 60"/>
            <p:cNvSpPr/>
            <p:nvPr/>
          </p:nvSpPr>
          <p:spPr>
            <a:xfrm>
              <a:off x="88509" y="537536"/>
              <a:ext cx="86018" cy="288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440" y="0"/>
                    <a:pt x="0" y="4950"/>
                    <a:pt x="0" y="10800"/>
                  </a:cubicBezTo>
                  <a:cubicBezTo>
                    <a:pt x="0" y="16650"/>
                    <a:pt x="1440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39" name="Freeform 61"/>
            <p:cNvSpPr/>
            <p:nvPr/>
          </p:nvSpPr>
          <p:spPr>
            <a:xfrm>
              <a:off x="676085" y="537536"/>
              <a:ext cx="86018" cy="288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44" y="0"/>
                  </a:moveTo>
                  <a:cubicBezTo>
                    <a:pt x="3456" y="0"/>
                    <a:pt x="3456" y="0"/>
                    <a:pt x="3456" y="0"/>
                  </a:cubicBezTo>
                  <a:cubicBezTo>
                    <a:pt x="1440" y="0"/>
                    <a:pt x="0" y="4950"/>
                    <a:pt x="0" y="10800"/>
                  </a:cubicBezTo>
                  <a:cubicBezTo>
                    <a:pt x="0" y="16650"/>
                    <a:pt x="1440" y="21600"/>
                    <a:pt x="3456" y="21600"/>
                  </a:cubicBezTo>
                  <a:cubicBezTo>
                    <a:pt x="18144" y="21600"/>
                    <a:pt x="18144" y="21600"/>
                    <a:pt x="18144" y="21600"/>
                  </a:cubicBezTo>
                  <a:cubicBezTo>
                    <a:pt x="20016" y="21600"/>
                    <a:pt x="21600" y="16650"/>
                    <a:pt x="21600" y="10800"/>
                  </a:cubicBezTo>
                  <a:cubicBezTo>
                    <a:pt x="21600" y="4950"/>
                    <a:pt x="20016" y="0"/>
                    <a:pt x="18144" y="0"/>
                  </a:cubicBezTo>
                  <a:close/>
                  <a:moveTo>
                    <a:pt x="18144" y="0"/>
                  </a:moveTo>
                  <a:cubicBezTo>
                    <a:pt x="18144" y="0"/>
                    <a:pt x="18144" y="0"/>
                    <a:pt x="18144" y="0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  <p:sp>
          <p:nvSpPr>
            <p:cNvPr id="240" name="Freeform 62"/>
            <p:cNvSpPr/>
            <p:nvPr/>
          </p:nvSpPr>
          <p:spPr>
            <a:xfrm>
              <a:off x="352378" y="479916"/>
              <a:ext cx="189379" cy="1816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70" h="21432" extrusionOk="0">
                  <a:moveTo>
                    <a:pt x="21014" y="2784"/>
                  </a:moveTo>
                  <a:cubicBezTo>
                    <a:pt x="21600" y="2113"/>
                    <a:pt x="21600" y="1107"/>
                    <a:pt x="21014" y="503"/>
                  </a:cubicBezTo>
                  <a:cubicBezTo>
                    <a:pt x="20429" y="-168"/>
                    <a:pt x="19388" y="-168"/>
                    <a:pt x="18802" y="503"/>
                  </a:cubicBezTo>
                  <a:cubicBezTo>
                    <a:pt x="10410" y="9156"/>
                    <a:pt x="10410" y="9156"/>
                    <a:pt x="10410" y="9156"/>
                  </a:cubicBezTo>
                  <a:cubicBezTo>
                    <a:pt x="9759" y="8821"/>
                    <a:pt x="9043" y="8620"/>
                    <a:pt x="8263" y="8620"/>
                  </a:cubicBezTo>
                  <a:cubicBezTo>
                    <a:pt x="6116" y="8620"/>
                    <a:pt x="4294" y="10028"/>
                    <a:pt x="3643" y="12041"/>
                  </a:cubicBezTo>
                  <a:cubicBezTo>
                    <a:pt x="1561" y="12041"/>
                    <a:pt x="1561" y="12041"/>
                    <a:pt x="1561" y="12041"/>
                  </a:cubicBezTo>
                  <a:cubicBezTo>
                    <a:pt x="716" y="12041"/>
                    <a:pt x="0" y="12779"/>
                    <a:pt x="0" y="13651"/>
                  </a:cubicBezTo>
                  <a:cubicBezTo>
                    <a:pt x="0" y="14523"/>
                    <a:pt x="716" y="15261"/>
                    <a:pt x="1561" y="15261"/>
                  </a:cubicBezTo>
                  <a:cubicBezTo>
                    <a:pt x="3643" y="15261"/>
                    <a:pt x="3643" y="15261"/>
                    <a:pt x="3643" y="15261"/>
                  </a:cubicBezTo>
                  <a:cubicBezTo>
                    <a:pt x="3708" y="15462"/>
                    <a:pt x="3773" y="15663"/>
                    <a:pt x="3839" y="15864"/>
                  </a:cubicBezTo>
                  <a:cubicBezTo>
                    <a:pt x="1171" y="18682"/>
                    <a:pt x="1171" y="18682"/>
                    <a:pt x="1171" y="18682"/>
                  </a:cubicBezTo>
                  <a:cubicBezTo>
                    <a:pt x="520" y="19352"/>
                    <a:pt x="520" y="20359"/>
                    <a:pt x="1171" y="20962"/>
                  </a:cubicBezTo>
                  <a:cubicBezTo>
                    <a:pt x="1431" y="21298"/>
                    <a:pt x="1822" y="21432"/>
                    <a:pt x="2212" y="21432"/>
                  </a:cubicBezTo>
                  <a:cubicBezTo>
                    <a:pt x="2667" y="21432"/>
                    <a:pt x="3058" y="21298"/>
                    <a:pt x="3318" y="20962"/>
                  </a:cubicBezTo>
                  <a:cubicBezTo>
                    <a:pt x="6051" y="18145"/>
                    <a:pt x="6051" y="18145"/>
                    <a:pt x="6051" y="18145"/>
                  </a:cubicBezTo>
                  <a:cubicBezTo>
                    <a:pt x="6701" y="18480"/>
                    <a:pt x="7482" y="18682"/>
                    <a:pt x="8263" y="18682"/>
                  </a:cubicBezTo>
                  <a:cubicBezTo>
                    <a:pt x="10410" y="18682"/>
                    <a:pt x="12231" y="17273"/>
                    <a:pt x="12882" y="15261"/>
                  </a:cubicBezTo>
                  <a:cubicBezTo>
                    <a:pt x="19908" y="15261"/>
                    <a:pt x="19908" y="15261"/>
                    <a:pt x="19908" y="15261"/>
                  </a:cubicBezTo>
                  <a:cubicBezTo>
                    <a:pt x="20754" y="15261"/>
                    <a:pt x="21470" y="14523"/>
                    <a:pt x="21470" y="13651"/>
                  </a:cubicBezTo>
                  <a:cubicBezTo>
                    <a:pt x="21470" y="12779"/>
                    <a:pt x="20754" y="12041"/>
                    <a:pt x="19908" y="12041"/>
                  </a:cubicBezTo>
                  <a:cubicBezTo>
                    <a:pt x="12882" y="12041"/>
                    <a:pt x="12882" y="12041"/>
                    <a:pt x="12882" y="12041"/>
                  </a:cubicBezTo>
                  <a:cubicBezTo>
                    <a:pt x="12817" y="11839"/>
                    <a:pt x="12752" y="11638"/>
                    <a:pt x="12622" y="11437"/>
                  </a:cubicBezTo>
                  <a:lnTo>
                    <a:pt x="21014" y="2784"/>
                  </a:lnTo>
                  <a:close/>
                  <a:moveTo>
                    <a:pt x="8263" y="15462"/>
                  </a:moveTo>
                  <a:cubicBezTo>
                    <a:pt x="7287" y="15462"/>
                    <a:pt x="6506" y="14657"/>
                    <a:pt x="6506" y="13651"/>
                  </a:cubicBezTo>
                  <a:cubicBezTo>
                    <a:pt x="6506" y="12644"/>
                    <a:pt x="7287" y="11839"/>
                    <a:pt x="8263" y="11839"/>
                  </a:cubicBezTo>
                  <a:cubicBezTo>
                    <a:pt x="9239" y="11839"/>
                    <a:pt x="10019" y="12644"/>
                    <a:pt x="10019" y="13651"/>
                  </a:cubicBezTo>
                  <a:cubicBezTo>
                    <a:pt x="10019" y="14657"/>
                    <a:pt x="9239" y="15462"/>
                    <a:pt x="8263" y="15462"/>
                  </a:cubicBezTo>
                  <a:close/>
                  <a:moveTo>
                    <a:pt x="8263" y="15462"/>
                  </a:moveTo>
                  <a:cubicBezTo>
                    <a:pt x="8263" y="15462"/>
                    <a:pt x="8263" y="15462"/>
                    <a:pt x="8263" y="15462"/>
                  </a:cubicBezTo>
                </a:path>
              </a:pathLst>
            </a:custGeom>
            <a:solidFill>
              <a:srgbClr val="053674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t">
              <a:noAutofit/>
            </a:bodyPr>
            <a:lstStyle/>
            <a:p>
              <a:pPr algn="l" defTabSz="609470">
                <a:defRPr sz="2400" b="0">
                  <a:latin typeface="Montserrat Regular"/>
                  <a:ea typeface="Montserrat Regular"/>
                  <a:cs typeface="Montserrat Regular"/>
                  <a:sym typeface="Montserrat Regular"/>
                </a:defRPr>
              </a:pPr>
              <a:endParaRPr>
                <a:latin typeface="VTB Group Book" panose="020B0503040504020204" pitchFamily="34" charset="-52"/>
              </a:endParaRPr>
            </a:p>
          </p:txBody>
        </p:sp>
      </p:grpSp>
      <p:sp>
        <p:nvSpPr>
          <p:cNvPr id="242" name="Freeform 30"/>
          <p:cNvSpPr/>
          <p:nvPr/>
        </p:nvSpPr>
        <p:spPr>
          <a:xfrm>
            <a:off x="2326138" y="9754764"/>
            <a:ext cx="760174" cy="700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006" y="3603"/>
                </a:moveTo>
                <a:cubicBezTo>
                  <a:pt x="14881" y="3603"/>
                  <a:pt x="14881" y="3603"/>
                  <a:pt x="14881" y="3603"/>
                </a:cubicBezTo>
                <a:cubicBezTo>
                  <a:pt x="14881" y="1974"/>
                  <a:pt x="14881" y="1974"/>
                  <a:pt x="14881" y="1974"/>
                </a:cubicBezTo>
                <a:cubicBezTo>
                  <a:pt x="14881" y="893"/>
                  <a:pt x="14050" y="0"/>
                  <a:pt x="13030" y="0"/>
                </a:cubicBezTo>
                <a:cubicBezTo>
                  <a:pt x="8555" y="0"/>
                  <a:pt x="8555" y="0"/>
                  <a:pt x="8555" y="0"/>
                </a:cubicBezTo>
                <a:cubicBezTo>
                  <a:pt x="7550" y="0"/>
                  <a:pt x="6719" y="893"/>
                  <a:pt x="6719" y="1974"/>
                </a:cubicBezTo>
                <a:cubicBezTo>
                  <a:pt x="6719" y="3603"/>
                  <a:pt x="6719" y="3603"/>
                  <a:pt x="6719" y="3603"/>
                </a:cubicBezTo>
                <a:cubicBezTo>
                  <a:pt x="2594" y="3603"/>
                  <a:pt x="2594" y="3603"/>
                  <a:pt x="2594" y="3603"/>
                </a:cubicBezTo>
                <a:cubicBezTo>
                  <a:pt x="1166" y="3603"/>
                  <a:pt x="0" y="4856"/>
                  <a:pt x="0" y="6391"/>
                </a:cubicBezTo>
                <a:cubicBezTo>
                  <a:pt x="0" y="12813"/>
                  <a:pt x="0" y="12813"/>
                  <a:pt x="0" y="12813"/>
                </a:cubicBezTo>
                <a:cubicBezTo>
                  <a:pt x="0" y="13455"/>
                  <a:pt x="291" y="14035"/>
                  <a:pt x="743" y="14395"/>
                </a:cubicBezTo>
                <a:cubicBezTo>
                  <a:pt x="743" y="14395"/>
                  <a:pt x="743" y="14410"/>
                  <a:pt x="743" y="14410"/>
                </a:cubicBezTo>
                <a:cubicBezTo>
                  <a:pt x="743" y="18828"/>
                  <a:pt x="743" y="18828"/>
                  <a:pt x="743" y="18828"/>
                </a:cubicBezTo>
                <a:cubicBezTo>
                  <a:pt x="743" y="20363"/>
                  <a:pt x="1909" y="21600"/>
                  <a:pt x="3338" y="21600"/>
                </a:cubicBezTo>
                <a:cubicBezTo>
                  <a:pt x="18262" y="21600"/>
                  <a:pt x="18262" y="21600"/>
                  <a:pt x="18262" y="21600"/>
                </a:cubicBezTo>
                <a:cubicBezTo>
                  <a:pt x="19691" y="21600"/>
                  <a:pt x="20842" y="20363"/>
                  <a:pt x="20842" y="18828"/>
                </a:cubicBezTo>
                <a:cubicBezTo>
                  <a:pt x="20842" y="14410"/>
                  <a:pt x="20842" y="14410"/>
                  <a:pt x="20842" y="14410"/>
                </a:cubicBezTo>
                <a:cubicBezTo>
                  <a:pt x="20842" y="14410"/>
                  <a:pt x="20842" y="14395"/>
                  <a:pt x="20842" y="14395"/>
                </a:cubicBezTo>
                <a:cubicBezTo>
                  <a:pt x="21294" y="14035"/>
                  <a:pt x="21600" y="13455"/>
                  <a:pt x="21600" y="12813"/>
                </a:cubicBezTo>
                <a:cubicBezTo>
                  <a:pt x="21600" y="6391"/>
                  <a:pt x="21600" y="6391"/>
                  <a:pt x="21600" y="6391"/>
                </a:cubicBezTo>
                <a:cubicBezTo>
                  <a:pt x="21600" y="4856"/>
                  <a:pt x="20434" y="3603"/>
                  <a:pt x="19006" y="3603"/>
                </a:cubicBezTo>
                <a:close/>
                <a:moveTo>
                  <a:pt x="7419" y="1974"/>
                </a:moveTo>
                <a:cubicBezTo>
                  <a:pt x="7419" y="1300"/>
                  <a:pt x="7929" y="752"/>
                  <a:pt x="8555" y="752"/>
                </a:cubicBezTo>
                <a:cubicBezTo>
                  <a:pt x="13030" y="752"/>
                  <a:pt x="13030" y="752"/>
                  <a:pt x="13030" y="752"/>
                </a:cubicBezTo>
                <a:cubicBezTo>
                  <a:pt x="13671" y="752"/>
                  <a:pt x="14181" y="1300"/>
                  <a:pt x="14181" y="1974"/>
                </a:cubicBezTo>
                <a:cubicBezTo>
                  <a:pt x="14181" y="3603"/>
                  <a:pt x="14181" y="3603"/>
                  <a:pt x="14181" y="3603"/>
                </a:cubicBezTo>
                <a:cubicBezTo>
                  <a:pt x="13380" y="3603"/>
                  <a:pt x="13380" y="3603"/>
                  <a:pt x="13380" y="3603"/>
                </a:cubicBezTo>
                <a:cubicBezTo>
                  <a:pt x="13380" y="1974"/>
                  <a:pt x="13380" y="1974"/>
                  <a:pt x="13380" y="1974"/>
                </a:cubicBezTo>
                <a:cubicBezTo>
                  <a:pt x="13380" y="1770"/>
                  <a:pt x="13234" y="1598"/>
                  <a:pt x="13030" y="1598"/>
                </a:cubicBezTo>
                <a:cubicBezTo>
                  <a:pt x="8555" y="1598"/>
                  <a:pt x="8555" y="1598"/>
                  <a:pt x="8555" y="1598"/>
                </a:cubicBezTo>
                <a:cubicBezTo>
                  <a:pt x="8366" y="1598"/>
                  <a:pt x="8206" y="1770"/>
                  <a:pt x="8206" y="1974"/>
                </a:cubicBezTo>
                <a:cubicBezTo>
                  <a:pt x="8206" y="3603"/>
                  <a:pt x="8206" y="3603"/>
                  <a:pt x="8206" y="3603"/>
                </a:cubicBezTo>
                <a:cubicBezTo>
                  <a:pt x="7419" y="3603"/>
                  <a:pt x="7419" y="3603"/>
                  <a:pt x="7419" y="3603"/>
                </a:cubicBezTo>
                <a:lnTo>
                  <a:pt x="7419" y="1974"/>
                </a:lnTo>
                <a:close/>
                <a:moveTo>
                  <a:pt x="8905" y="3603"/>
                </a:moveTo>
                <a:cubicBezTo>
                  <a:pt x="8905" y="2350"/>
                  <a:pt x="8905" y="2350"/>
                  <a:pt x="8905" y="2350"/>
                </a:cubicBezTo>
                <a:cubicBezTo>
                  <a:pt x="12680" y="2350"/>
                  <a:pt x="12680" y="2350"/>
                  <a:pt x="12680" y="2350"/>
                </a:cubicBezTo>
                <a:cubicBezTo>
                  <a:pt x="12680" y="3603"/>
                  <a:pt x="12680" y="3603"/>
                  <a:pt x="12680" y="3603"/>
                </a:cubicBezTo>
                <a:lnTo>
                  <a:pt x="8905" y="3603"/>
                </a:lnTo>
                <a:close/>
                <a:moveTo>
                  <a:pt x="20143" y="18828"/>
                </a:moveTo>
                <a:cubicBezTo>
                  <a:pt x="20143" y="19940"/>
                  <a:pt x="19297" y="20848"/>
                  <a:pt x="18262" y="20848"/>
                </a:cubicBezTo>
                <a:cubicBezTo>
                  <a:pt x="3338" y="20848"/>
                  <a:pt x="3338" y="20848"/>
                  <a:pt x="3338" y="20848"/>
                </a:cubicBezTo>
                <a:cubicBezTo>
                  <a:pt x="2288" y="20848"/>
                  <a:pt x="1443" y="19940"/>
                  <a:pt x="1443" y="18828"/>
                </a:cubicBezTo>
                <a:cubicBezTo>
                  <a:pt x="1443" y="14739"/>
                  <a:pt x="1443" y="14739"/>
                  <a:pt x="1443" y="14739"/>
                </a:cubicBezTo>
                <a:cubicBezTo>
                  <a:pt x="1574" y="14771"/>
                  <a:pt x="1705" y="14786"/>
                  <a:pt x="1836" y="14786"/>
                </a:cubicBezTo>
                <a:cubicBezTo>
                  <a:pt x="3731" y="14786"/>
                  <a:pt x="3731" y="14786"/>
                  <a:pt x="3731" y="14786"/>
                </a:cubicBezTo>
                <a:cubicBezTo>
                  <a:pt x="3731" y="15209"/>
                  <a:pt x="3731" y="15209"/>
                  <a:pt x="3731" y="15209"/>
                </a:cubicBezTo>
                <a:cubicBezTo>
                  <a:pt x="3731" y="15867"/>
                  <a:pt x="4227" y="16384"/>
                  <a:pt x="4824" y="16384"/>
                </a:cubicBezTo>
                <a:cubicBezTo>
                  <a:pt x="5568" y="16384"/>
                  <a:pt x="5568" y="16384"/>
                  <a:pt x="5568" y="16384"/>
                </a:cubicBezTo>
                <a:cubicBezTo>
                  <a:pt x="6180" y="16384"/>
                  <a:pt x="6675" y="15867"/>
                  <a:pt x="6675" y="15209"/>
                </a:cubicBezTo>
                <a:cubicBezTo>
                  <a:pt x="6675" y="14786"/>
                  <a:pt x="6675" y="14786"/>
                  <a:pt x="6675" y="14786"/>
                </a:cubicBezTo>
                <a:cubicBezTo>
                  <a:pt x="14925" y="14786"/>
                  <a:pt x="14925" y="14786"/>
                  <a:pt x="14925" y="14786"/>
                </a:cubicBezTo>
                <a:cubicBezTo>
                  <a:pt x="14925" y="15209"/>
                  <a:pt x="14925" y="15209"/>
                  <a:pt x="14925" y="15209"/>
                </a:cubicBezTo>
                <a:cubicBezTo>
                  <a:pt x="14925" y="15867"/>
                  <a:pt x="15420" y="16384"/>
                  <a:pt x="16018" y="16384"/>
                </a:cubicBezTo>
                <a:cubicBezTo>
                  <a:pt x="16761" y="16384"/>
                  <a:pt x="16761" y="16384"/>
                  <a:pt x="16761" y="16384"/>
                </a:cubicBezTo>
                <a:cubicBezTo>
                  <a:pt x="17373" y="16384"/>
                  <a:pt x="17869" y="15867"/>
                  <a:pt x="17869" y="15209"/>
                </a:cubicBezTo>
                <a:cubicBezTo>
                  <a:pt x="17869" y="14786"/>
                  <a:pt x="17869" y="14786"/>
                  <a:pt x="17869" y="14786"/>
                </a:cubicBezTo>
                <a:cubicBezTo>
                  <a:pt x="19749" y="14786"/>
                  <a:pt x="19749" y="14786"/>
                  <a:pt x="19749" y="14786"/>
                </a:cubicBezTo>
                <a:cubicBezTo>
                  <a:pt x="19895" y="14786"/>
                  <a:pt x="20026" y="14771"/>
                  <a:pt x="20143" y="14739"/>
                </a:cubicBezTo>
                <a:lnTo>
                  <a:pt x="20143" y="18828"/>
                </a:lnTo>
                <a:close/>
                <a:moveTo>
                  <a:pt x="5976" y="14035"/>
                </a:moveTo>
                <a:cubicBezTo>
                  <a:pt x="4431" y="14035"/>
                  <a:pt x="4431" y="14035"/>
                  <a:pt x="4431" y="14035"/>
                </a:cubicBezTo>
                <a:cubicBezTo>
                  <a:pt x="4431" y="13612"/>
                  <a:pt x="4431" y="13612"/>
                  <a:pt x="4431" y="13612"/>
                </a:cubicBezTo>
                <a:cubicBezTo>
                  <a:pt x="4431" y="13377"/>
                  <a:pt x="4606" y="13189"/>
                  <a:pt x="4824" y="13189"/>
                </a:cubicBezTo>
                <a:cubicBezTo>
                  <a:pt x="5568" y="13189"/>
                  <a:pt x="5568" y="13189"/>
                  <a:pt x="5568" y="13189"/>
                </a:cubicBezTo>
                <a:cubicBezTo>
                  <a:pt x="5786" y="13189"/>
                  <a:pt x="5976" y="13377"/>
                  <a:pt x="5976" y="13612"/>
                </a:cubicBezTo>
                <a:lnTo>
                  <a:pt x="5976" y="14035"/>
                </a:lnTo>
                <a:close/>
                <a:moveTo>
                  <a:pt x="5976" y="14786"/>
                </a:moveTo>
                <a:cubicBezTo>
                  <a:pt x="5976" y="15209"/>
                  <a:pt x="5976" y="15209"/>
                  <a:pt x="5976" y="15209"/>
                </a:cubicBezTo>
                <a:cubicBezTo>
                  <a:pt x="5976" y="15444"/>
                  <a:pt x="5786" y="15632"/>
                  <a:pt x="5568" y="15632"/>
                </a:cubicBezTo>
                <a:cubicBezTo>
                  <a:pt x="4824" y="15632"/>
                  <a:pt x="4824" y="15632"/>
                  <a:pt x="4824" y="15632"/>
                </a:cubicBezTo>
                <a:cubicBezTo>
                  <a:pt x="4606" y="15632"/>
                  <a:pt x="4431" y="15444"/>
                  <a:pt x="4431" y="15209"/>
                </a:cubicBezTo>
                <a:cubicBezTo>
                  <a:pt x="4431" y="14786"/>
                  <a:pt x="4431" y="14786"/>
                  <a:pt x="4431" y="14786"/>
                </a:cubicBezTo>
                <a:lnTo>
                  <a:pt x="5976" y="14786"/>
                </a:lnTo>
                <a:close/>
                <a:moveTo>
                  <a:pt x="17169" y="14035"/>
                </a:moveTo>
                <a:cubicBezTo>
                  <a:pt x="15624" y="14035"/>
                  <a:pt x="15624" y="14035"/>
                  <a:pt x="15624" y="14035"/>
                </a:cubicBezTo>
                <a:cubicBezTo>
                  <a:pt x="15624" y="13612"/>
                  <a:pt x="15624" y="13612"/>
                  <a:pt x="15624" y="13612"/>
                </a:cubicBezTo>
                <a:cubicBezTo>
                  <a:pt x="15624" y="13377"/>
                  <a:pt x="15799" y="13189"/>
                  <a:pt x="16018" y="13189"/>
                </a:cubicBezTo>
                <a:cubicBezTo>
                  <a:pt x="16761" y="13189"/>
                  <a:pt x="16761" y="13189"/>
                  <a:pt x="16761" y="13189"/>
                </a:cubicBezTo>
                <a:cubicBezTo>
                  <a:pt x="16980" y="13189"/>
                  <a:pt x="17169" y="13377"/>
                  <a:pt x="17169" y="13612"/>
                </a:cubicBezTo>
                <a:lnTo>
                  <a:pt x="17169" y="14035"/>
                </a:lnTo>
                <a:close/>
                <a:moveTo>
                  <a:pt x="17169" y="14786"/>
                </a:moveTo>
                <a:cubicBezTo>
                  <a:pt x="17169" y="15209"/>
                  <a:pt x="17169" y="15209"/>
                  <a:pt x="17169" y="15209"/>
                </a:cubicBezTo>
                <a:cubicBezTo>
                  <a:pt x="17169" y="15444"/>
                  <a:pt x="16980" y="15632"/>
                  <a:pt x="16761" y="15632"/>
                </a:cubicBezTo>
                <a:cubicBezTo>
                  <a:pt x="16018" y="15632"/>
                  <a:pt x="16018" y="15632"/>
                  <a:pt x="16018" y="15632"/>
                </a:cubicBezTo>
                <a:cubicBezTo>
                  <a:pt x="15799" y="15632"/>
                  <a:pt x="15624" y="15444"/>
                  <a:pt x="15624" y="15209"/>
                </a:cubicBezTo>
                <a:cubicBezTo>
                  <a:pt x="15624" y="14786"/>
                  <a:pt x="15624" y="14786"/>
                  <a:pt x="15624" y="14786"/>
                </a:cubicBezTo>
                <a:lnTo>
                  <a:pt x="17169" y="14786"/>
                </a:lnTo>
                <a:close/>
                <a:moveTo>
                  <a:pt x="20900" y="12813"/>
                </a:moveTo>
                <a:cubicBezTo>
                  <a:pt x="20900" y="13486"/>
                  <a:pt x="20376" y="14035"/>
                  <a:pt x="19749" y="14035"/>
                </a:cubicBezTo>
                <a:cubicBezTo>
                  <a:pt x="17869" y="14035"/>
                  <a:pt x="17869" y="14035"/>
                  <a:pt x="17869" y="14035"/>
                </a:cubicBezTo>
                <a:cubicBezTo>
                  <a:pt x="17869" y="13612"/>
                  <a:pt x="17869" y="13612"/>
                  <a:pt x="17869" y="13612"/>
                </a:cubicBezTo>
                <a:cubicBezTo>
                  <a:pt x="17869" y="12954"/>
                  <a:pt x="17373" y="12437"/>
                  <a:pt x="16761" y="12437"/>
                </a:cubicBezTo>
                <a:cubicBezTo>
                  <a:pt x="16018" y="12437"/>
                  <a:pt x="16018" y="12437"/>
                  <a:pt x="16018" y="12437"/>
                </a:cubicBezTo>
                <a:cubicBezTo>
                  <a:pt x="15420" y="12437"/>
                  <a:pt x="14925" y="12954"/>
                  <a:pt x="14925" y="13612"/>
                </a:cubicBezTo>
                <a:cubicBezTo>
                  <a:pt x="14925" y="14035"/>
                  <a:pt x="14925" y="14035"/>
                  <a:pt x="14925" y="14035"/>
                </a:cubicBezTo>
                <a:cubicBezTo>
                  <a:pt x="6675" y="14035"/>
                  <a:pt x="6675" y="14035"/>
                  <a:pt x="6675" y="14035"/>
                </a:cubicBezTo>
                <a:cubicBezTo>
                  <a:pt x="6675" y="13612"/>
                  <a:pt x="6675" y="13612"/>
                  <a:pt x="6675" y="13612"/>
                </a:cubicBezTo>
                <a:cubicBezTo>
                  <a:pt x="6675" y="12954"/>
                  <a:pt x="6180" y="12437"/>
                  <a:pt x="5568" y="12437"/>
                </a:cubicBezTo>
                <a:cubicBezTo>
                  <a:pt x="4824" y="12437"/>
                  <a:pt x="4824" y="12437"/>
                  <a:pt x="4824" y="12437"/>
                </a:cubicBezTo>
                <a:cubicBezTo>
                  <a:pt x="4227" y="12437"/>
                  <a:pt x="3731" y="12954"/>
                  <a:pt x="3731" y="13612"/>
                </a:cubicBezTo>
                <a:cubicBezTo>
                  <a:pt x="3731" y="14035"/>
                  <a:pt x="3731" y="14035"/>
                  <a:pt x="3731" y="14035"/>
                </a:cubicBezTo>
                <a:cubicBezTo>
                  <a:pt x="1836" y="14035"/>
                  <a:pt x="1836" y="14035"/>
                  <a:pt x="1836" y="14035"/>
                </a:cubicBezTo>
                <a:cubicBezTo>
                  <a:pt x="1210" y="14035"/>
                  <a:pt x="700" y="13486"/>
                  <a:pt x="700" y="12813"/>
                </a:cubicBezTo>
                <a:cubicBezTo>
                  <a:pt x="700" y="6391"/>
                  <a:pt x="700" y="6391"/>
                  <a:pt x="700" y="6391"/>
                </a:cubicBezTo>
                <a:cubicBezTo>
                  <a:pt x="700" y="5279"/>
                  <a:pt x="1545" y="4354"/>
                  <a:pt x="2594" y="4354"/>
                </a:cubicBezTo>
                <a:cubicBezTo>
                  <a:pt x="19006" y="4354"/>
                  <a:pt x="19006" y="4354"/>
                  <a:pt x="19006" y="4354"/>
                </a:cubicBezTo>
                <a:cubicBezTo>
                  <a:pt x="20040" y="4354"/>
                  <a:pt x="20900" y="5279"/>
                  <a:pt x="20900" y="6391"/>
                </a:cubicBezTo>
                <a:lnTo>
                  <a:pt x="20900" y="12813"/>
                </a:lnTo>
                <a:close/>
                <a:moveTo>
                  <a:pt x="20900" y="12813"/>
                </a:moveTo>
                <a:cubicBezTo>
                  <a:pt x="20900" y="12813"/>
                  <a:pt x="20900" y="12813"/>
                  <a:pt x="20900" y="12813"/>
                </a:cubicBezTo>
              </a:path>
            </a:pathLst>
          </a:custGeom>
          <a:solidFill>
            <a:srgbClr val="053674"/>
          </a:solidFill>
          <a:ln w="3175">
            <a:solidFill>
              <a:srgbClr val="053674"/>
            </a:solidFill>
            <a:miter lim="400000"/>
          </a:ln>
        </p:spPr>
        <p:txBody>
          <a:bodyPr lIns="60947" tIns="60947" rIns="60947" bIns="60947"/>
          <a:lstStyle/>
          <a:p>
            <a:pPr algn="l" defTabSz="609470">
              <a:defRPr sz="2400" b="0">
                <a:latin typeface="Montserrat Regular"/>
                <a:ea typeface="Montserrat Regular"/>
                <a:cs typeface="Montserrat Regular"/>
                <a:sym typeface="Montserrat Regular"/>
              </a:defRPr>
            </a:pPr>
            <a:endParaRPr>
              <a:latin typeface="VTB Group Book" panose="020B0503040504020204" pitchFamily="34" charset="-52"/>
            </a:endParaRPr>
          </a:p>
        </p:txBody>
      </p:sp>
      <p:pic>
        <p:nvPicPr>
          <p:cNvPr id="243" name="Изображение" descr="Изображе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38593" y="9696980"/>
            <a:ext cx="760172" cy="816482"/>
          </a:xfrm>
          <a:prstGeom prst="rect">
            <a:avLst/>
          </a:prstGeom>
          <a:ln w="12700">
            <a:miter lim="400000"/>
          </a:ln>
        </p:spPr>
      </p:pic>
      <p:sp>
        <p:nvSpPr>
          <p:cNvPr id="245" name="TextBox 3"/>
          <p:cNvSpPr txBox="1"/>
          <p:nvPr/>
        </p:nvSpPr>
        <p:spPr>
          <a:xfrm>
            <a:off x="1577165" y="910958"/>
            <a:ext cx="21229672" cy="17419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algn="l" defTabSz="1650650">
              <a:lnSpc>
                <a:spcPct val="200000"/>
              </a:lnSpc>
              <a:defRPr sz="59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6600" cap="all" dirty="0" err="1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Даты</a:t>
            </a:r>
            <a:r>
              <a:rPr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 и </a:t>
            </a:r>
            <a:r>
              <a:rPr sz="6600" cap="all" dirty="0" err="1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длительность</a:t>
            </a:r>
            <a:r>
              <a:rPr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 </a:t>
            </a:r>
            <a:r>
              <a:rPr sz="6600" cap="all" dirty="0" err="1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стажировки</a:t>
            </a:r>
            <a:endParaRPr sz="6600" cap="all" dirty="0">
              <a:solidFill>
                <a:srgbClr val="053674"/>
              </a:solidFill>
              <a:latin typeface="VTB Group Demi Bold" panose="020B0703050504020204" pitchFamily="34" charset="-52"/>
              <a:ea typeface="Arial"/>
              <a:cs typeface="Arial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" name="Group 256">
            <a:extLst>
              <a:ext uri="{FF2B5EF4-FFF2-40B4-BE49-F238E27FC236}">
                <a16:creationId xmlns:a16="http://schemas.microsoft.com/office/drawing/2014/main" id="{3CD81495-9A1A-494C-B682-DFE7ABE6FB11}"/>
              </a:ext>
            </a:extLst>
          </p:cNvPr>
          <p:cNvGrpSpPr>
            <a:grpSpLocks noChangeAspect="1"/>
          </p:cNvGrpSpPr>
          <p:nvPr/>
        </p:nvGrpSpPr>
        <p:grpSpPr>
          <a:xfrm>
            <a:off x="867815" y="1394686"/>
            <a:ext cx="22479865" cy="12147229"/>
            <a:chOff x="1133475" y="938213"/>
            <a:chExt cx="8102600" cy="4378325"/>
          </a:xfrm>
          <a:solidFill>
            <a:schemeClr val="bg1">
              <a:lumMod val="85000"/>
            </a:schemeClr>
          </a:solidFill>
        </p:grpSpPr>
        <p:sp>
          <p:nvSpPr>
            <p:cNvPr id="165" name="Freeform 1">
              <a:extLst>
                <a:ext uri="{FF2B5EF4-FFF2-40B4-BE49-F238E27FC236}">
                  <a16:creationId xmlns:a16="http://schemas.microsoft.com/office/drawing/2014/main" id="{69AEA181-0C1D-2049-9974-CB80A9330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6213" y="4405313"/>
              <a:ext cx="34925" cy="120650"/>
            </a:xfrm>
            <a:custGeom>
              <a:avLst/>
              <a:gdLst>
                <a:gd name="T0" fmla="*/ 50 w 95"/>
                <a:gd name="T1" fmla="*/ 259 h 337"/>
                <a:gd name="T2" fmla="*/ 48 w 95"/>
                <a:gd name="T3" fmla="*/ 274 h 337"/>
                <a:gd name="T4" fmla="*/ 55 w 95"/>
                <a:gd name="T5" fmla="*/ 290 h 337"/>
                <a:gd name="T6" fmla="*/ 63 w 95"/>
                <a:gd name="T7" fmla="*/ 302 h 337"/>
                <a:gd name="T8" fmla="*/ 60 w 95"/>
                <a:gd name="T9" fmla="*/ 311 h 337"/>
                <a:gd name="T10" fmla="*/ 38 w 95"/>
                <a:gd name="T11" fmla="*/ 320 h 337"/>
                <a:gd name="T12" fmla="*/ 30 w 95"/>
                <a:gd name="T13" fmla="*/ 336 h 337"/>
                <a:gd name="T14" fmla="*/ 22 w 95"/>
                <a:gd name="T15" fmla="*/ 328 h 337"/>
                <a:gd name="T16" fmla="*/ 22 w 95"/>
                <a:gd name="T17" fmla="*/ 315 h 337"/>
                <a:gd name="T18" fmla="*/ 17 w 95"/>
                <a:gd name="T19" fmla="*/ 298 h 337"/>
                <a:gd name="T20" fmla="*/ 9 w 95"/>
                <a:gd name="T21" fmla="*/ 278 h 337"/>
                <a:gd name="T22" fmla="*/ 13 w 95"/>
                <a:gd name="T23" fmla="*/ 265 h 337"/>
                <a:gd name="T24" fmla="*/ 27 w 95"/>
                <a:gd name="T25" fmla="*/ 222 h 337"/>
                <a:gd name="T26" fmla="*/ 27 w 95"/>
                <a:gd name="T27" fmla="*/ 221 h 337"/>
                <a:gd name="T28" fmla="*/ 23 w 95"/>
                <a:gd name="T29" fmla="*/ 211 h 337"/>
                <a:gd name="T30" fmla="*/ 15 w 95"/>
                <a:gd name="T31" fmla="*/ 198 h 337"/>
                <a:gd name="T32" fmla="*/ 22 w 95"/>
                <a:gd name="T33" fmla="*/ 163 h 337"/>
                <a:gd name="T34" fmla="*/ 23 w 95"/>
                <a:gd name="T35" fmla="*/ 155 h 337"/>
                <a:gd name="T36" fmla="*/ 20 w 95"/>
                <a:gd name="T37" fmla="*/ 129 h 337"/>
                <a:gd name="T38" fmla="*/ 13 w 95"/>
                <a:gd name="T39" fmla="*/ 124 h 337"/>
                <a:gd name="T40" fmla="*/ 15 w 95"/>
                <a:gd name="T41" fmla="*/ 104 h 337"/>
                <a:gd name="T42" fmla="*/ 12 w 95"/>
                <a:gd name="T43" fmla="*/ 94 h 337"/>
                <a:gd name="T44" fmla="*/ 4 w 95"/>
                <a:gd name="T45" fmla="*/ 82 h 337"/>
                <a:gd name="T46" fmla="*/ 12 w 95"/>
                <a:gd name="T47" fmla="*/ 51 h 337"/>
                <a:gd name="T48" fmla="*/ 33 w 95"/>
                <a:gd name="T49" fmla="*/ 31 h 337"/>
                <a:gd name="T50" fmla="*/ 60 w 95"/>
                <a:gd name="T51" fmla="*/ 30 h 337"/>
                <a:gd name="T52" fmla="*/ 69 w 95"/>
                <a:gd name="T53" fmla="*/ 17 h 337"/>
                <a:gd name="T54" fmla="*/ 79 w 95"/>
                <a:gd name="T55" fmla="*/ 3 h 337"/>
                <a:gd name="T56" fmla="*/ 93 w 95"/>
                <a:gd name="T57" fmla="*/ 7 h 337"/>
                <a:gd name="T58" fmla="*/ 93 w 95"/>
                <a:gd name="T59" fmla="*/ 12 h 337"/>
                <a:gd name="T60" fmla="*/ 83 w 95"/>
                <a:gd name="T61" fmla="*/ 28 h 337"/>
                <a:gd name="T62" fmla="*/ 79 w 95"/>
                <a:gd name="T63" fmla="*/ 31 h 337"/>
                <a:gd name="T64" fmla="*/ 79 w 95"/>
                <a:gd name="T65" fmla="*/ 40 h 337"/>
                <a:gd name="T66" fmla="*/ 91 w 95"/>
                <a:gd name="T67" fmla="*/ 54 h 337"/>
                <a:gd name="T68" fmla="*/ 69 w 95"/>
                <a:gd name="T69" fmla="*/ 78 h 337"/>
                <a:gd name="T70" fmla="*/ 73 w 95"/>
                <a:gd name="T71" fmla="*/ 114 h 337"/>
                <a:gd name="T72" fmla="*/ 73 w 95"/>
                <a:gd name="T73" fmla="*/ 115 h 337"/>
                <a:gd name="T74" fmla="*/ 66 w 95"/>
                <a:gd name="T75" fmla="*/ 170 h 337"/>
                <a:gd name="T76" fmla="*/ 63 w 95"/>
                <a:gd name="T77" fmla="*/ 191 h 337"/>
                <a:gd name="T78" fmla="*/ 68 w 95"/>
                <a:gd name="T79" fmla="*/ 216 h 337"/>
                <a:gd name="T80" fmla="*/ 73 w 95"/>
                <a:gd name="T81" fmla="*/ 226 h 337"/>
                <a:gd name="T82" fmla="*/ 71 w 95"/>
                <a:gd name="T83" fmla="*/ 237 h 337"/>
                <a:gd name="T84" fmla="*/ 63 w 95"/>
                <a:gd name="T85" fmla="*/ 250 h 337"/>
                <a:gd name="T86" fmla="*/ 56 w 95"/>
                <a:gd name="T87" fmla="*/ 250 h 337"/>
                <a:gd name="T88" fmla="*/ 50 w 95"/>
                <a:gd name="T89" fmla="*/ 259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5" h="337">
                  <a:moveTo>
                    <a:pt x="50" y="259"/>
                  </a:moveTo>
                  <a:cubicBezTo>
                    <a:pt x="48" y="264"/>
                    <a:pt x="48" y="269"/>
                    <a:pt x="48" y="274"/>
                  </a:cubicBezTo>
                  <a:cubicBezTo>
                    <a:pt x="48" y="280"/>
                    <a:pt x="51" y="285"/>
                    <a:pt x="55" y="290"/>
                  </a:cubicBezTo>
                  <a:cubicBezTo>
                    <a:pt x="58" y="295"/>
                    <a:pt x="61" y="297"/>
                    <a:pt x="63" y="302"/>
                  </a:cubicBezTo>
                  <a:cubicBezTo>
                    <a:pt x="65" y="305"/>
                    <a:pt x="65" y="310"/>
                    <a:pt x="60" y="311"/>
                  </a:cubicBezTo>
                  <a:cubicBezTo>
                    <a:pt x="53" y="306"/>
                    <a:pt x="40" y="311"/>
                    <a:pt x="38" y="320"/>
                  </a:cubicBezTo>
                  <a:cubicBezTo>
                    <a:pt x="35" y="326"/>
                    <a:pt x="37" y="334"/>
                    <a:pt x="30" y="336"/>
                  </a:cubicBezTo>
                  <a:cubicBezTo>
                    <a:pt x="27" y="336"/>
                    <a:pt x="23" y="333"/>
                    <a:pt x="22" y="328"/>
                  </a:cubicBezTo>
                  <a:cubicBezTo>
                    <a:pt x="22" y="323"/>
                    <a:pt x="23" y="320"/>
                    <a:pt x="22" y="315"/>
                  </a:cubicBezTo>
                  <a:cubicBezTo>
                    <a:pt x="22" y="308"/>
                    <a:pt x="20" y="303"/>
                    <a:pt x="17" y="298"/>
                  </a:cubicBezTo>
                  <a:cubicBezTo>
                    <a:pt x="13" y="292"/>
                    <a:pt x="9" y="285"/>
                    <a:pt x="9" y="278"/>
                  </a:cubicBezTo>
                  <a:cubicBezTo>
                    <a:pt x="9" y="274"/>
                    <a:pt x="12" y="269"/>
                    <a:pt x="13" y="265"/>
                  </a:cubicBezTo>
                  <a:cubicBezTo>
                    <a:pt x="20" y="250"/>
                    <a:pt x="28" y="236"/>
                    <a:pt x="27" y="222"/>
                  </a:cubicBezTo>
                  <a:lnTo>
                    <a:pt x="27" y="221"/>
                  </a:lnTo>
                  <a:cubicBezTo>
                    <a:pt x="27" y="218"/>
                    <a:pt x="25" y="214"/>
                    <a:pt x="23" y="211"/>
                  </a:cubicBezTo>
                  <a:cubicBezTo>
                    <a:pt x="22" y="206"/>
                    <a:pt x="17" y="203"/>
                    <a:pt x="15" y="198"/>
                  </a:cubicBezTo>
                  <a:cubicBezTo>
                    <a:pt x="12" y="186"/>
                    <a:pt x="17" y="175"/>
                    <a:pt x="22" y="163"/>
                  </a:cubicBezTo>
                  <a:lnTo>
                    <a:pt x="23" y="155"/>
                  </a:lnTo>
                  <a:cubicBezTo>
                    <a:pt x="25" y="145"/>
                    <a:pt x="25" y="135"/>
                    <a:pt x="20" y="129"/>
                  </a:cubicBezTo>
                  <a:cubicBezTo>
                    <a:pt x="17" y="127"/>
                    <a:pt x="15" y="127"/>
                    <a:pt x="13" y="124"/>
                  </a:cubicBezTo>
                  <a:cubicBezTo>
                    <a:pt x="10" y="119"/>
                    <a:pt x="15" y="110"/>
                    <a:pt x="15" y="104"/>
                  </a:cubicBezTo>
                  <a:cubicBezTo>
                    <a:pt x="15" y="101"/>
                    <a:pt x="13" y="97"/>
                    <a:pt x="12" y="94"/>
                  </a:cubicBezTo>
                  <a:cubicBezTo>
                    <a:pt x="9" y="91"/>
                    <a:pt x="5" y="87"/>
                    <a:pt x="4" y="82"/>
                  </a:cubicBezTo>
                  <a:cubicBezTo>
                    <a:pt x="0" y="71"/>
                    <a:pt x="7" y="59"/>
                    <a:pt x="12" y="51"/>
                  </a:cubicBezTo>
                  <a:cubicBezTo>
                    <a:pt x="17" y="41"/>
                    <a:pt x="23" y="33"/>
                    <a:pt x="33" y="31"/>
                  </a:cubicBezTo>
                  <a:cubicBezTo>
                    <a:pt x="41" y="30"/>
                    <a:pt x="51" y="35"/>
                    <a:pt x="60" y="30"/>
                  </a:cubicBezTo>
                  <a:cubicBezTo>
                    <a:pt x="65" y="28"/>
                    <a:pt x="68" y="21"/>
                    <a:pt x="69" y="17"/>
                  </a:cubicBezTo>
                  <a:cubicBezTo>
                    <a:pt x="71" y="12"/>
                    <a:pt x="74" y="7"/>
                    <a:pt x="79" y="3"/>
                  </a:cubicBezTo>
                  <a:cubicBezTo>
                    <a:pt x="84" y="0"/>
                    <a:pt x="91" y="2"/>
                    <a:pt x="93" y="7"/>
                  </a:cubicBezTo>
                  <a:cubicBezTo>
                    <a:pt x="94" y="8"/>
                    <a:pt x="93" y="10"/>
                    <a:pt x="93" y="12"/>
                  </a:cubicBezTo>
                  <a:cubicBezTo>
                    <a:pt x="91" y="18"/>
                    <a:pt x="88" y="23"/>
                    <a:pt x="83" y="28"/>
                  </a:cubicBezTo>
                  <a:cubicBezTo>
                    <a:pt x="83" y="30"/>
                    <a:pt x="81" y="31"/>
                    <a:pt x="79" y="31"/>
                  </a:cubicBezTo>
                  <a:cubicBezTo>
                    <a:pt x="78" y="35"/>
                    <a:pt x="79" y="36"/>
                    <a:pt x="79" y="40"/>
                  </a:cubicBezTo>
                  <a:cubicBezTo>
                    <a:pt x="83" y="45"/>
                    <a:pt x="91" y="49"/>
                    <a:pt x="91" y="54"/>
                  </a:cubicBezTo>
                  <a:cubicBezTo>
                    <a:pt x="93" y="68"/>
                    <a:pt x="74" y="68"/>
                    <a:pt x="69" y="78"/>
                  </a:cubicBezTo>
                  <a:cubicBezTo>
                    <a:pt x="66" y="89"/>
                    <a:pt x="71" y="104"/>
                    <a:pt x="73" y="114"/>
                  </a:cubicBezTo>
                  <a:lnTo>
                    <a:pt x="73" y="115"/>
                  </a:lnTo>
                  <a:cubicBezTo>
                    <a:pt x="74" y="135"/>
                    <a:pt x="71" y="150"/>
                    <a:pt x="66" y="170"/>
                  </a:cubicBezTo>
                  <a:cubicBezTo>
                    <a:pt x="65" y="176"/>
                    <a:pt x="63" y="185"/>
                    <a:pt x="63" y="191"/>
                  </a:cubicBezTo>
                  <a:cubicBezTo>
                    <a:pt x="63" y="199"/>
                    <a:pt x="65" y="208"/>
                    <a:pt x="68" y="216"/>
                  </a:cubicBezTo>
                  <a:cubicBezTo>
                    <a:pt x="69" y="218"/>
                    <a:pt x="72" y="222"/>
                    <a:pt x="73" y="226"/>
                  </a:cubicBezTo>
                  <a:cubicBezTo>
                    <a:pt x="74" y="230"/>
                    <a:pt x="73" y="234"/>
                    <a:pt x="71" y="237"/>
                  </a:cubicBezTo>
                  <a:cubicBezTo>
                    <a:pt x="69" y="242"/>
                    <a:pt x="68" y="247"/>
                    <a:pt x="63" y="250"/>
                  </a:cubicBezTo>
                  <a:cubicBezTo>
                    <a:pt x="61" y="250"/>
                    <a:pt x="58" y="250"/>
                    <a:pt x="56" y="250"/>
                  </a:cubicBezTo>
                  <a:cubicBezTo>
                    <a:pt x="53" y="252"/>
                    <a:pt x="51" y="257"/>
                    <a:pt x="50" y="259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66" name="Freeform 2">
              <a:extLst>
                <a:ext uri="{FF2B5EF4-FFF2-40B4-BE49-F238E27FC236}">
                  <a16:creationId xmlns:a16="http://schemas.microsoft.com/office/drawing/2014/main" id="{56F01ED9-C820-C34F-8FEA-29FA8974EF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4000" y="4435475"/>
              <a:ext cx="20638" cy="28575"/>
            </a:xfrm>
            <a:custGeom>
              <a:avLst/>
              <a:gdLst>
                <a:gd name="T0" fmla="*/ 56 w 57"/>
                <a:gd name="T1" fmla="*/ 36 h 79"/>
                <a:gd name="T2" fmla="*/ 26 w 57"/>
                <a:gd name="T3" fmla="*/ 69 h 79"/>
                <a:gd name="T4" fmla="*/ 28 w 57"/>
                <a:gd name="T5" fmla="*/ 50 h 79"/>
                <a:gd name="T6" fmla="*/ 31 w 57"/>
                <a:gd name="T7" fmla="*/ 48 h 79"/>
                <a:gd name="T8" fmla="*/ 31 w 57"/>
                <a:gd name="T9" fmla="*/ 45 h 79"/>
                <a:gd name="T10" fmla="*/ 26 w 57"/>
                <a:gd name="T11" fmla="*/ 35 h 79"/>
                <a:gd name="T12" fmla="*/ 23 w 57"/>
                <a:gd name="T13" fmla="*/ 30 h 79"/>
                <a:gd name="T14" fmla="*/ 8 w 57"/>
                <a:gd name="T15" fmla="*/ 22 h 79"/>
                <a:gd name="T16" fmla="*/ 3 w 57"/>
                <a:gd name="T17" fmla="*/ 13 h 79"/>
                <a:gd name="T18" fmla="*/ 0 w 57"/>
                <a:gd name="T19" fmla="*/ 7 h 79"/>
                <a:gd name="T20" fmla="*/ 6 w 57"/>
                <a:gd name="T21" fmla="*/ 0 h 79"/>
                <a:gd name="T22" fmla="*/ 16 w 57"/>
                <a:gd name="T23" fmla="*/ 3 h 79"/>
                <a:gd name="T24" fmla="*/ 28 w 57"/>
                <a:gd name="T25" fmla="*/ 10 h 79"/>
                <a:gd name="T26" fmla="*/ 33 w 57"/>
                <a:gd name="T27" fmla="*/ 8 h 79"/>
                <a:gd name="T28" fmla="*/ 48 w 57"/>
                <a:gd name="T29" fmla="*/ 10 h 79"/>
                <a:gd name="T30" fmla="*/ 53 w 57"/>
                <a:gd name="T31" fmla="*/ 13 h 79"/>
                <a:gd name="T32" fmla="*/ 53 w 57"/>
                <a:gd name="T33" fmla="*/ 13 h 79"/>
                <a:gd name="T34" fmla="*/ 54 w 57"/>
                <a:gd name="T35" fmla="*/ 18 h 79"/>
                <a:gd name="T36" fmla="*/ 56 w 57"/>
                <a:gd name="T37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7" h="79">
                  <a:moveTo>
                    <a:pt x="56" y="36"/>
                  </a:moveTo>
                  <a:cubicBezTo>
                    <a:pt x="56" y="53"/>
                    <a:pt x="41" y="63"/>
                    <a:pt x="26" y="69"/>
                  </a:cubicBezTo>
                  <a:cubicBezTo>
                    <a:pt x="11" y="78"/>
                    <a:pt x="18" y="54"/>
                    <a:pt x="28" y="50"/>
                  </a:cubicBezTo>
                  <a:cubicBezTo>
                    <a:pt x="28" y="50"/>
                    <a:pt x="29" y="48"/>
                    <a:pt x="31" y="48"/>
                  </a:cubicBezTo>
                  <a:cubicBezTo>
                    <a:pt x="31" y="46"/>
                    <a:pt x="31" y="46"/>
                    <a:pt x="31" y="45"/>
                  </a:cubicBezTo>
                  <a:cubicBezTo>
                    <a:pt x="31" y="40"/>
                    <a:pt x="29" y="36"/>
                    <a:pt x="26" y="35"/>
                  </a:cubicBezTo>
                  <a:cubicBezTo>
                    <a:pt x="26" y="33"/>
                    <a:pt x="25" y="31"/>
                    <a:pt x="23" y="30"/>
                  </a:cubicBezTo>
                  <a:cubicBezTo>
                    <a:pt x="18" y="28"/>
                    <a:pt x="13" y="25"/>
                    <a:pt x="8" y="22"/>
                  </a:cubicBezTo>
                  <a:cubicBezTo>
                    <a:pt x="6" y="20"/>
                    <a:pt x="5" y="17"/>
                    <a:pt x="3" y="13"/>
                  </a:cubicBezTo>
                  <a:cubicBezTo>
                    <a:pt x="1" y="12"/>
                    <a:pt x="0" y="10"/>
                    <a:pt x="0" y="7"/>
                  </a:cubicBezTo>
                  <a:cubicBezTo>
                    <a:pt x="1" y="3"/>
                    <a:pt x="3" y="0"/>
                    <a:pt x="6" y="0"/>
                  </a:cubicBezTo>
                  <a:cubicBezTo>
                    <a:pt x="11" y="0"/>
                    <a:pt x="13" y="0"/>
                    <a:pt x="16" y="3"/>
                  </a:cubicBezTo>
                  <a:cubicBezTo>
                    <a:pt x="20" y="7"/>
                    <a:pt x="23" y="12"/>
                    <a:pt x="28" y="10"/>
                  </a:cubicBezTo>
                  <a:cubicBezTo>
                    <a:pt x="29" y="10"/>
                    <a:pt x="31" y="8"/>
                    <a:pt x="33" y="8"/>
                  </a:cubicBezTo>
                  <a:cubicBezTo>
                    <a:pt x="38" y="7"/>
                    <a:pt x="43" y="7"/>
                    <a:pt x="48" y="10"/>
                  </a:cubicBezTo>
                  <a:cubicBezTo>
                    <a:pt x="49" y="10"/>
                    <a:pt x="51" y="12"/>
                    <a:pt x="53" y="13"/>
                  </a:cubicBezTo>
                  <a:lnTo>
                    <a:pt x="53" y="13"/>
                  </a:lnTo>
                  <a:cubicBezTo>
                    <a:pt x="53" y="15"/>
                    <a:pt x="54" y="17"/>
                    <a:pt x="54" y="18"/>
                  </a:cubicBezTo>
                  <a:cubicBezTo>
                    <a:pt x="56" y="25"/>
                    <a:pt x="56" y="30"/>
                    <a:pt x="56" y="3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67" name="Freeform 3">
              <a:extLst>
                <a:ext uri="{FF2B5EF4-FFF2-40B4-BE49-F238E27FC236}">
                  <a16:creationId xmlns:a16="http://schemas.microsoft.com/office/drawing/2014/main" id="{2A75D707-B0B5-B348-BA91-DCB1D53177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0663" y="4200525"/>
              <a:ext cx="58737" cy="188913"/>
            </a:xfrm>
            <a:custGeom>
              <a:avLst/>
              <a:gdLst>
                <a:gd name="T0" fmla="*/ 161 w 162"/>
                <a:gd name="T1" fmla="*/ 36 h 523"/>
                <a:gd name="T2" fmla="*/ 153 w 162"/>
                <a:gd name="T3" fmla="*/ 53 h 523"/>
                <a:gd name="T4" fmla="*/ 107 w 162"/>
                <a:gd name="T5" fmla="*/ 142 h 523"/>
                <a:gd name="T6" fmla="*/ 107 w 162"/>
                <a:gd name="T7" fmla="*/ 143 h 523"/>
                <a:gd name="T8" fmla="*/ 98 w 162"/>
                <a:gd name="T9" fmla="*/ 176 h 523"/>
                <a:gd name="T10" fmla="*/ 98 w 162"/>
                <a:gd name="T11" fmla="*/ 219 h 523"/>
                <a:gd name="T12" fmla="*/ 98 w 162"/>
                <a:gd name="T13" fmla="*/ 219 h 523"/>
                <a:gd name="T14" fmla="*/ 82 w 162"/>
                <a:gd name="T15" fmla="*/ 264 h 523"/>
                <a:gd name="T16" fmla="*/ 64 w 162"/>
                <a:gd name="T17" fmla="*/ 277 h 523"/>
                <a:gd name="T18" fmla="*/ 56 w 162"/>
                <a:gd name="T19" fmla="*/ 282 h 523"/>
                <a:gd name="T20" fmla="*/ 42 w 162"/>
                <a:gd name="T21" fmla="*/ 283 h 523"/>
                <a:gd name="T22" fmla="*/ 33 w 162"/>
                <a:gd name="T23" fmla="*/ 288 h 523"/>
                <a:gd name="T24" fmla="*/ 33 w 162"/>
                <a:gd name="T25" fmla="*/ 300 h 523"/>
                <a:gd name="T26" fmla="*/ 42 w 162"/>
                <a:gd name="T27" fmla="*/ 306 h 523"/>
                <a:gd name="T28" fmla="*/ 52 w 162"/>
                <a:gd name="T29" fmla="*/ 311 h 523"/>
                <a:gd name="T30" fmla="*/ 62 w 162"/>
                <a:gd name="T31" fmla="*/ 316 h 523"/>
                <a:gd name="T32" fmla="*/ 69 w 162"/>
                <a:gd name="T33" fmla="*/ 325 h 523"/>
                <a:gd name="T34" fmla="*/ 70 w 162"/>
                <a:gd name="T35" fmla="*/ 348 h 523"/>
                <a:gd name="T36" fmla="*/ 56 w 162"/>
                <a:gd name="T37" fmla="*/ 384 h 523"/>
                <a:gd name="T38" fmla="*/ 56 w 162"/>
                <a:gd name="T39" fmla="*/ 392 h 523"/>
                <a:gd name="T40" fmla="*/ 61 w 162"/>
                <a:gd name="T41" fmla="*/ 417 h 523"/>
                <a:gd name="T42" fmla="*/ 64 w 162"/>
                <a:gd name="T43" fmla="*/ 437 h 523"/>
                <a:gd name="T44" fmla="*/ 56 w 162"/>
                <a:gd name="T45" fmla="*/ 448 h 523"/>
                <a:gd name="T46" fmla="*/ 51 w 162"/>
                <a:gd name="T47" fmla="*/ 466 h 523"/>
                <a:gd name="T48" fmla="*/ 51 w 162"/>
                <a:gd name="T49" fmla="*/ 468 h 523"/>
                <a:gd name="T50" fmla="*/ 44 w 162"/>
                <a:gd name="T51" fmla="*/ 504 h 523"/>
                <a:gd name="T52" fmla="*/ 26 w 162"/>
                <a:gd name="T53" fmla="*/ 517 h 523"/>
                <a:gd name="T54" fmla="*/ 21 w 162"/>
                <a:gd name="T55" fmla="*/ 511 h 523"/>
                <a:gd name="T56" fmla="*/ 21 w 162"/>
                <a:gd name="T57" fmla="*/ 489 h 523"/>
                <a:gd name="T58" fmla="*/ 26 w 162"/>
                <a:gd name="T59" fmla="*/ 451 h 523"/>
                <a:gd name="T60" fmla="*/ 14 w 162"/>
                <a:gd name="T61" fmla="*/ 425 h 523"/>
                <a:gd name="T62" fmla="*/ 1 w 162"/>
                <a:gd name="T63" fmla="*/ 397 h 523"/>
                <a:gd name="T64" fmla="*/ 3 w 162"/>
                <a:gd name="T65" fmla="*/ 366 h 523"/>
                <a:gd name="T66" fmla="*/ 3 w 162"/>
                <a:gd name="T67" fmla="*/ 366 h 523"/>
                <a:gd name="T68" fmla="*/ 14 w 162"/>
                <a:gd name="T69" fmla="*/ 287 h 523"/>
                <a:gd name="T70" fmla="*/ 14 w 162"/>
                <a:gd name="T71" fmla="*/ 287 h 523"/>
                <a:gd name="T72" fmla="*/ 21 w 162"/>
                <a:gd name="T73" fmla="*/ 237 h 523"/>
                <a:gd name="T74" fmla="*/ 24 w 162"/>
                <a:gd name="T75" fmla="*/ 209 h 523"/>
                <a:gd name="T76" fmla="*/ 18 w 162"/>
                <a:gd name="T77" fmla="*/ 190 h 523"/>
                <a:gd name="T78" fmla="*/ 5 w 162"/>
                <a:gd name="T79" fmla="*/ 171 h 523"/>
                <a:gd name="T80" fmla="*/ 5 w 162"/>
                <a:gd name="T81" fmla="*/ 155 h 523"/>
                <a:gd name="T82" fmla="*/ 9 w 162"/>
                <a:gd name="T83" fmla="*/ 150 h 523"/>
                <a:gd name="T84" fmla="*/ 41 w 162"/>
                <a:gd name="T85" fmla="*/ 168 h 523"/>
                <a:gd name="T86" fmla="*/ 61 w 162"/>
                <a:gd name="T87" fmla="*/ 160 h 523"/>
                <a:gd name="T88" fmla="*/ 90 w 162"/>
                <a:gd name="T89" fmla="*/ 132 h 523"/>
                <a:gd name="T90" fmla="*/ 102 w 162"/>
                <a:gd name="T91" fmla="*/ 120 h 523"/>
                <a:gd name="T92" fmla="*/ 95 w 162"/>
                <a:gd name="T93" fmla="*/ 82 h 523"/>
                <a:gd name="T94" fmla="*/ 92 w 162"/>
                <a:gd name="T95" fmla="*/ 74 h 523"/>
                <a:gd name="T96" fmla="*/ 121 w 162"/>
                <a:gd name="T97" fmla="*/ 5 h 523"/>
                <a:gd name="T98" fmla="*/ 151 w 162"/>
                <a:gd name="T99" fmla="*/ 8 h 523"/>
                <a:gd name="T100" fmla="*/ 161 w 162"/>
                <a:gd name="T101" fmla="*/ 28 h 523"/>
                <a:gd name="T102" fmla="*/ 161 w 162"/>
                <a:gd name="T103" fmla="*/ 36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2" h="523">
                  <a:moveTo>
                    <a:pt x="161" y="36"/>
                  </a:moveTo>
                  <a:cubicBezTo>
                    <a:pt x="159" y="43"/>
                    <a:pt x="156" y="48"/>
                    <a:pt x="153" y="53"/>
                  </a:cubicBezTo>
                  <a:cubicBezTo>
                    <a:pt x="136" y="79"/>
                    <a:pt x="117" y="110"/>
                    <a:pt x="107" y="142"/>
                  </a:cubicBezTo>
                  <a:lnTo>
                    <a:pt x="107" y="143"/>
                  </a:lnTo>
                  <a:cubicBezTo>
                    <a:pt x="103" y="153"/>
                    <a:pt x="100" y="165"/>
                    <a:pt x="98" y="176"/>
                  </a:cubicBezTo>
                  <a:cubicBezTo>
                    <a:pt x="98" y="190"/>
                    <a:pt x="98" y="204"/>
                    <a:pt x="98" y="219"/>
                  </a:cubicBezTo>
                  <a:lnTo>
                    <a:pt x="98" y="219"/>
                  </a:lnTo>
                  <a:cubicBezTo>
                    <a:pt x="97" y="236"/>
                    <a:pt x="93" y="252"/>
                    <a:pt x="82" y="264"/>
                  </a:cubicBezTo>
                  <a:cubicBezTo>
                    <a:pt x="77" y="269"/>
                    <a:pt x="70" y="272"/>
                    <a:pt x="64" y="277"/>
                  </a:cubicBezTo>
                  <a:cubicBezTo>
                    <a:pt x="61" y="280"/>
                    <a:pt x="59" y="282"/>
                    <a:pt x="56" y="282"/>
                  </a:cubicBezTo>
                  <a:cubicBezTo>
                    <a:pt x="51" y="283"/>
                    <a:pt x="46" y="283"/>
                    <a:pt x="42" y="283"/>
                  </a:cubicBezTo>
                  <a:cubicBezTo>
                    <a:pt x="39" y="285"/>
                    <a:pt x="36" y="285"/>
                    <a:pt x="33" y="288"/>
                  </a:cubicBezTo>
                  <a:cubicBezTo>
                    <a:pt x="31" y="292"/>
                    <a:pt x="31" y="297"/>
                    <a:pt x="33" y="300"/>
                  </a:cubicBezTo>
                  <a:cubicBezTo>
                    <a:pt x="34" y="303"/>
                    <a:pt x="37" y="305"/>
                    <a:pt x="42" y="306"/>
                  </a:cubicBezTo>
                  <a:cubicBezTo>
                    <a:pt x="46" y="308"/>
                    <a:pt x="49" y="310"/>
                    <a:pt x="52" y="311"/>
                  </a:cubicBezTo>
                  <a:cubicBezTo>
                    <a:pt x="56" y="313"/>
                    <a:pt x="59" y="315"/>
                    <a:pt x="62" y="316"/>
                  </a:cubicBezTo>
                  <a:cubicBezTo>
                    <a:pt x="64" y="320"/>
                    <a:pt x="67" y="323"/>
                    <a:pt x="69" y="325"/>
                  </a:cubicBezTo>
                  <a:cubicBezTo>
                    <a:pt x="72" y="333"/>
                    <a:pt x="72" y="341"/>
                    <a:pt x="70" y="348"/>
                  </a:cubicBezTo>
                  <a:cubicBezTo>
                    <a:pt x="67" y="361"/>
                    <a:pt x="59" y="371"/>
                    <a:pt x="56" y="384"/>
                  </a:cubicBezTo>
                  <a:cubicBezTo>
                    <a:pt x="56" y="386"/>
                    <a:pt x="56" y="389"/>
                    <a:pt x="56" y="392"/>
                  </a:cubicBezTo>
                  <a:cubicBezTo>
                    <a:pt x="56" y="400"/>
                    <a:pt x="59" y="409"/>
                    <a:pt x="61" y="417"/>
                  </a:cubicBezTo>
                  <a:cubicBezTo>
                    <a:pt x="62" y="423"/>
                    <a:pt x="65" y="430"/>
                    <a:pt x="64" y="437"/>
                  </a:cubicBezTo>
                  <a:cubicBezTo>
                    <a:pt x="62" y="442"/>
                    <a:pt x="57" y="443"/>
                    <a:pt x="56" y="448"/>
                  </a:cubicBezTo>
                  <a:cubicBezTo>
                    <a:pt x="52" y="453"/>
                    <a:pt x="52" y="460"/>
                    <a:pt x="51" y="466"/>
                  </a:cubicBezTo>
                  <a:lnTo>
                    <a:pt x="51" y="468"/>
                  </a:lnTo>
                  <a:cubicBezTo>
                    <a:pt x="49" y="479"/>
                    <a:pt x="47" y="493"/>
                    <a:pt x="44" y="504"/>
                  </a:cubicBezTo>
                  <a:cubicBezTo>
                    <a:pt x="41" y="512"/>
                    <a:pt x="33" y="522"/>
                    <a:pt x="26" y="517"/>
                  </a:cubicBezTo>
                  <a:cubicBezTo>
                    <a:pt x="23" y="516"/>
                    <a:pt x="21" y="512"/>
                    <a:pt x="21" y="511"/>
                  </a:cubicBezTo>
                  <a:cubicBezTo>
                    <a:pt x="19" y="503"/>
                    <a:pt x="19" y="496"/>
                    <a:pt x="21" y="489"/>
                  </a:cubicBezTo>
                  <a:cubicBezTo>
                    <a:pt x="23" y="478"/>
                    <a:pt x="28" y="465"/>
                    <a:pt x="26" y="451"/>
                  </a:cubicBezTo>
                  <a:cubicBezTo>
                    <a:pt x="24" y="442"/>
                    <a:pt x="19" y="433"/>
                    <a:pt x="14" y="425"/>
                  </a:cubicBezTo>
                  <a:cubicBezTo>
                    <a:pt x="9" y="417"/>
                    <a:pt x="3" y="407"/>
                    <a:pt x="1" y="397"/>
                  </a:cubicBezTo>
                  <a:cubicBezTo>
                    <a:pt x="0" y="387"/>
                    <a:pt x="1" y="376"/>
                    <a:pt x="3" y="366"/>
                  </a:cubicBezTo>
                  <a:lnTo>
                    <a:pt x="3" y="366"/>
                  </a:lnTo>
                  <a:cubicBezTo>
                    <a:pt x="6" y="339"/>
                    <a:pt x="9" y="313"/>
                    <a:pt x="14" y="287"/>
                  </a:cubicBezTo>
                  <a:lnTo>
                    <a:pt x="14" y="287"/>
                  </a:lnTo>
                  <a:cubicBezTo>
                    <a:pt x="16" y="270"/>
                    <a:pt x="19" y="254"/>
                    <a:pt x="21" y="237"/>
                  </a:cubicBezTo>
                  <a:cubicBezTo>
                    <a:pt x="23" y="227"/>
                    <a:pt x="24" y="218"/>
                    <a:pt x="24" y="209"/>
                  </a:cubicBezTo>
                  <a:cubicBezTo>
                    <a:pt x="23" y="203"/>
                    <a:pt x="21" y="196"/>
                    <a:pt x="18" y="190"/>
                  </a:cubicBezTo>
                  <a:cubicBezTo>
                    <a:pt x="13" y="183"/>
                    <a:pt x="8" y="178"/>
                    <a:pt x="5" y="171"/>
                  </a:cubicBezTo>
                  <a:cubicBezTo>
                    <a:pt x="1" y="165"/>
                    <a:pt x="1" y="158"/>
                    <a:pt x="5" y="155"/>
                  </a:cubicBezTo>
                  <a:lnTo>
                    <a:pt x="9" y="150"/>
                  </a:lnTo>
                  <a:cubicBezTo>
                    <a:pt x="23" y="147"/>
                    <a:pt x="29" y="166"/>
                    <a:pt x="41" y="168"/>
                  </a:cubicBezTo>
                  <a:cubicBezTo>
                    <a:pt x="49" y="170"/>
                    <a:pt x="56" y="165"/>
                    <a:pt x="61" y="160"/>
                  </a:cubicBezTo>
                  <a:cubicBezTo>
                    <a:pt x="70" y="150"/>
                    <a:pt x="80" y="142"/>
                    <a:pt x="90" y="132"/>
                  </a:cubicBezTo>
                  <a:cubicBezTo>
                    <a:pt x="95" y="129"/>
                    <a:pt x="98" y="125"/>
                    <a:pt x="102" y="120"/>
                  </a:cubicBezTo>
                  <a:cubicBezTo>
                    <a:pt x="107" y="109"/>
                    <a:pt x="100" y="96"/>
                    <a:pt x="95" y="82"/>
                  </a:cubicBezTo>
                  <a:cubicBezTo>
                    <a:pt x="93" y="79"/>
                    <a:pt x="93" y="77"/>
                    <a:pt x="92" y="74"/>
                  </a:cubicBezTo>
                  <a:cubicBezTo>
                    <a:pt x="87" y="49"/>
                    <a:pt x="105" y="25"/>
                    <a:pt x="121" y="5"/>
                  </a:cubicBezTo>
                  <a:cubicBezTo>
                    <a:pt x="130" y="0"/>
                    <a:pt x="143" y="2"/>
                    <a:pt x="151" y="8"/>
                  </a:cubicBezTo>
                  <a:cubicBezTo>
                    <a:pt x="156" y="13"/>
                    <a:pt x="161" y="21"/>
                    <a:pt x="161" y="28"/>
                  </a:cubicBezTo>
                  <a:cubicBezTo>
                    <a:pt x="161" y="31"/>
                    <a:pt x="161" y="35"/>
                    <a:pt x="161" y="3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68" name="Freeform 4">
              <a:extLst>
                <a:ext uri="{FF2B5EF4-FFF2-40B4-BE49-F238E27FC236}">
                  <a16:creationId xmlns:a16="http://schemas.microsoft.com/office/drawing/2014/main" id="{7054F3BB-EC07-AB41-A0D0-E58C337A14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08763" y="2409825"/>
              <a:ext cx="31750" cy="26988"/>
            </a:xfrm>
            <a:custGeom>
              <a:avLst/>
              <a:gdLst>
                <a:gd name="T0" fmla="*/ 23 w 88"/>
                <a:gd name="T1" fmla="*/ 21 h 75"/>
                <a:gd name="T2" fmla="*/ 36 w 88"/>
                <a:gd name="T3" fmla="*/ 28 h 75"/>
                <a:gd name="T4" fmla="*/ 39 w 88"/>
                <a:gd name="T5" fmla="*/ 34 h 75"/>
                <a:gd name="T6" fmla="*/ 46 w 88"/>
                <a:gd name="T7" fmla="*/ 41 h 75"/>
                <a:gd name="T8" fmla="*/ 49 w 88"/>
                <a:gd name="T9" fmla="*/ 54 h 75"/>
                <a:gd name="T10" fmla="*/ 56 w 88"/>
                <a:gd name="T11" fmla="*/ 67 h 75"/>
                <a:gd name="T12" fmla="*/ 69 w 88"/>
                <a:gd name="T13" fmla="*/ 72 h 75"/>
                <a:gd name="T14" fmla="*/ 76 w 88"/>
                <a:gd name="T15" fmla="*/ 72 h 75"/>
                <a:gd name="T16" fmla="*/ 81 w 88"/>
                <a:gd name="T17" fmla="*/ 74 h 75"/>
                <a:gd name="T18" fmla="*/ 87 w 88"/>
                <a:gd name="T19" fmla="*/ 67 h 75"/>
                <a:gd name="T20" fmla="*/ 87 w 88"/>
                <a:gd name="T21" fmla="*/ 57 h 75"/>
                <a:gd name="T22" fmla="*/ 84 w 88"/>
                <a:gd name="T23" fmla="*/ 52 h 75"/>
                <a:gd name="T24" fmla="*/ 79 w 88"/>
                <a:gd name="T25" fmla="*/ 52 h 75"/>
                <a:gd name="T26" fmla="*/ 67 w 88"/>
                <a:gd name="T27" fmla="*/ 47 h 75"/>
                <a:gd name="T28" fmla="*/ 61 w 88"/>
                <a:gd name="T29" fmla="*/ 36 h 75"/>
                <a:gd name="T30" fmla="*/ 59 w 88"/>
                <a:gd name="T31" fmla="*/ 31 h 75"/>
                <a:gd name="T32" fmla="*/ 57 w 88"/>
                <a:gd name="T33" fmla="*/ 28 h 75"/>
                <a:gd name="T34" fmla="*/ 52 w 88"/>
                <a:gd name="T35" fmla="*/ 24 h 75"/>
                <a:gd name="T36" fmla="*/ 49 w 88"/>
                <a:gd name="T37" fmla="*/ 23 h 75"/>
                <a:gd name="T38" fmla="*/ 29 w 88"/>
                <a:gd name="T39" fmla="*/ 11 h 75"/>
                <a:gd name="T40" fmla="*/ 23 w 88"/>
                <a:gd name="T41" fmla="*/ 3 h 75"/>
                <a:gd name="T42" fmla="*/ 13 w 88"/>
                <a:gd name="T43" fmla="*/ 1 h 75"/>
                <a:gd name="T44" fmla="*/ 23 w 88"/>
                <a:gd name="T45" fmla="*/ 2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8" h="75">
                  <a:moveTo>
                    <a:pt x="23" y="21"/>
                  </a:moveTo>
                  <a:cubicBezTo>
                    <a:pt x="28" y="23"/>
                    <a:pt x="33" y="23"/>
                    <a:pt x="36" y="28"/>
                  </a:cubicBezTo>
                  <a:cubicBezTo>
                    <a:pt x="38" y="29"/>
                    <a:pt x="38" y="32"/>
                    <a:pt x="39" y="34"/>
                  </a:cubicBezTo>
                  <a:cubicBezTo>
                    <a:pt x="41" y="37"/>
                    <a:pt x="44" y="39"/>
                    <a:pt x="46" y="41"/>
                  </a:cubicBezTo>
                  <a:cubicBezTo>
                    <a:pt x="49" y="44"/>
                    <a:pt x="49" y="49"/>
                    <a:pt x="49" y="54"/>
                  </a:cubicBezTo>
                  <a:cubicBezTo>
                    <a:pt x="51" y="59"/>
                    <a:pt x="52" y="64"/>
                    <a:pt x="56" y="67"/>
                  </a:cubicBezTo>
                  <a:cubicBezTo>
                    <a:pt x="59" y="70"/>
                    <a:pt x="64" y="70"/>
                    <a:pt x="69" y="72"/>
                  </a:cubicBezTo>
                  <a:cubicBezTo>
                    <a:pt x="71" y="72"/>
                    <a:pt x="72" y="72"/>
                    <a:pt x="76" y="72"/>
                  </a:cubicBezTo>
                  <a:cubicBezTo>
                    <a:pt x="77" y="74"/>
                    <a:pt x="79" y="74"/>
                    <a:pt x="81" y="74"/>
                  </a:cubicBezTo>
                  <a:cubicBezTo>
                    <a:pt x="84" y="72"/>
                    <a:pt x="85" y="70"/>
                    <a:pt x="87" y="67"/>
                  </a:cubicBezTo>
                  <a:cubicBezTo>
                    <a:pt x="87" y="64"/>
                    <a:pt x="87" y="60"/>
                    <a:pt x="87" y="57"/>
                  </a:cubicBezTo>
                  <a:cubicBezTo>
                    <a:pt x="85" y="56"/>
                    <a:pt x="85" y="54"/>
                    <a:pt x="84" y="52"/>
                  </a:cubicBezTo>
                  <a:cubicBezTo>
                    <a:pt x="82" y="52"/>
                    <a:pt x="81" y="52"/>
                    <a:pt x="79" y="52"/>
                  </a:cubicBezTo>
                  <a:cubicBezTo>
                    <a:pt x="74" y="52"/>
                    <a:pt x="71" y="51"/>
                    <a:pt x="67" y="47"/>
                  </a:cubicBezTo>
                  <a:cubicBezTo>
                    <a:pt x="63" y="44"/>
                    <a:pt x="61" y="41"/>
                    <a:pt x="61" y="36"/>
                  </a:cubicBezTo>
                  <a:cubicBezTo>
                    <a:pt x="61" y="34"/>
                    <a:pt x="61" y="32"/>
                    <a:pt x="59" y="31"/>
                  </a:cubicBezTo>
                  <a:cubicBezTo>
                    <a:pt x="59" y="29"/>
                    <a:pt x="57" y="29"/>
                    <a:pt x="57" y="28"/>
                  </a:cubicBezTo>
                  <a:cubicBezTo>
                    <a:pt x="56" y="28"/>
                    <a:pt x="54" y="26"/>
                    <a:pt x="52" y="24"/>
                  </a:cubicBezTo>
                  <a:cubicBezTo>
                    <a:pt x="52" y="24"/>
                    <a:pt x="51" y="24"/>
                    <a:pt x="49" y="23"/>
                  </a:cubicBezTo>
                  <a:cubicBezTo>
                    <a:pt x="43" y="21"/>
                    <a:pt x="36" y="16"/>
                    <a:pt x="29" y="11"/>
                  </a:cubicBezTo>
                  <a:cubicBezTo>
                    <a:pt x="28" y="8"/>
                    <a:pt x="26" y="4"/>
                    <a:pt x="23" y="3"/>
                  </a:cubicBezTo>
                  <a:cubicBezTo>
                    <a:pt x="20" y="1"/>
                    <a:pt x="16" y="0"/>
                    <a:pt x="13" y="1"/>
                  </a:cubicBezTo>
                  <a:cubicBezTo>
                    <a:pt x="0" y="6"/>
                    <a:pt x="16" y="19"/>
                    <a:pt x="23" y="2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69" name="Freeform 5">
              <a:extLst>
                <a:ext uri="{FF2B5EF4-FFF2-40B4-BE49-F238E27FC236}">
                  <a16:creationId xmlns:a16="http://schemas.microsoft.com/office/drawing/2014/main" id="{F627FE69-1C72-8C46-B081-284E6E26C2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3513" y="4029075"/>
              <a:ext cx="147637" cy="146050"/>
            </a:xfrm>
            <a:custGeom>
              <a:avLst/>
              <a:gdLst>
                <a:gd name="T0" fmla="*/ 210 w 408"/>
                <a:gd name="T1" fmla="*/ 379 h 404"/>
                <a:gd name="T2" fmla="*/ 178 w 408"/>
                <a:gd name="T3" fmla="*/ 403 h 404"/>
                <a:gd name="T4" fmla="*/ 162 w 408"/>
                <a:gd name="T5" fmla="*/ 387 h 404"/>
                <a:gd name="T6" fmla="*/ 129 w 408"/>
                <a:gd name="T7" fmla="*/ 354 h 404"/>
                <a:gd name="T8" fmla="*/ 80 w 408"/>
                <a:gd name="T9" fmla="*/ 257 h 404"/>
                <a:gd name="T10" fmla="*/ 61 w 408"/>
                <a:gd name="T11" fmla="*/ 209 h 404"/>
                <a:gd name="T12" fmla="*/ 0 w 408"/>
                <a:gd name="T13" fmla="*/ 77 h 404"/>
                <a:gd name="T14" fmla="*/ 9 w 408"/>
                <a:gd name="T15" fmla="*/ 69 h 404"/>
                <a:gd name="T16" fmla="*/ 65 w 408"/>
                <a:gd name="T17" fmla="*/ 31 h 404"/>
                <a:gd name="T18" fmla="*/ 86 w 408"/>
                <a:gd name="T19" fmla="*/ 28 h 404"/>
                <a:gd name="T20" fmla="*/ 129 w 408"/>
                <a:gd name="T21" fmla="*/ 14 h 404"/>
                <a:gd name="T22" fmla="*/ 134 w 408"/>
                <a:gd name="T23" fmla="*/ 11 h 404"/>
                <a:gd name="T24" fmla="*/ 152 w 408"/>
                <a:gd name="T25" fmla="*/ 3 h 404"/>
                <a:gd name="T26" fmla="*/ 154 w 408"/>
                <a:gd name="T27" fmla="*/ 6 h 404"/>
                <a:gd name="T28" fmla="*/ 159 w 408"/>
                <a:gd name="T29" fmla="*/ 28 h 404"/>
                <a:gd name="T30" fmla="*/ 170 w 408"/>
                <a:gd name="T31" fmla="*/ 42 h 404"/>
                <a:gd name="T32" fmla="*/ 178 w 408"/>
                <a:gd name="T33" fmla="*/ 51 h 404"/>
                <a:gd name="T34" fmla="*/ 185 w 408"/>
                <a:gd name="T35" fmla="*/ 70 h 404"/>
                <a:gd name="T36" fmla="*/ 203 w 408"/>
                <a:gd name="T37" fmla="*/ 108 h 404"/>
                <a:gd name="T38" fmla="*/ 279 w 408"/>
                <a:gd name="T39" fmla="*/ 103 h 404"/>
                <a:gd name="T40" fmla="*/ 310 w 408"/>
                <a:gd name="T41" fmla="*/ 74 h 404"/>
                <a:gd name="T42" fmla="*/ 323 w 408"/>
                <a:gd name="T43" fmla="*/ 57 h 404"/>
                <a:gd name="T44" fmla="*/ 340 w 408"/>
                <a:gd name="T45" fmla="*/ 52 h 404"/>
                <a:gd name="T46" fmla="*/ 363 w 408"/>
                <a:gd name="T47" fmla="*/ 59 h 404"/>
                <a:gd name="T48" fmla="*/ 365 w 408"/>
                <a:gd name="T49" fmla="*/ 67 h 404"/>
                <a:gd name="T50" fmla="*/ 365 w 408"/>
                <a:gd name="T51" fmla="*/ 69 h 404"/>
                <a:gd name="T52" fmla="*/ 363 w 408"/>
                <a:gd name="T53" fmla="*/ 79 h 404"/>
                <a:gd name="T54" fmla="*/ 363 w 408"/>
                <a:gd name="T55" fmla="*/ 103 h 404"/>
                <a:gd name="T56" fmla="*/ 383 w 408"/>
                <a:gd name="T57" fmla="*/ 135 h 404"/>
                <a:gd name="T58" fmla="*/ 396 w 408"/>
                <a:gd name="T59" fmla="*/ 154 h 404"/>
                <a:gd name="T60" fmla="*/ 398 w 408"/>
                <a:gd name="T61" fmla="*/ 166 h 404"/>
                <a:gd name="T62" fmla="*/ 398 w 408"/>
                <a:gd name="T63" fmla="*/ 184 h 404"/>
                <a:gd name="T64" fmla="*/ 402 w 408"/>
                <a:gd name="T65" fmla="*/ 197 h 404"/>
                <a:gd name="T66" fmla="*/ 407 w 408"/>
                <a:gd name="T67" fmla="*/ 201 h 404"/>
                <a:gd name="T68" fmla="*/ 399 w 408"/>
                <a:gd name="T69" fmla="*/ 199 h 404"/>
                <a:gd name="T70" fmla="*/ 366 w 408"/>
                <a:gd name="T71" fmla="*/ 199 h 404"/>
                <a:gd name="T72" fmla="*/ 341 w 408"/>
                <a:gd name="T73" fmla="*/ 225 h 404"/>
                <a:gd name="T74" fmla="*/ 345 w 408"/>
                <a:gd name="T75" fmla="*/ 266 h 404"/>
                <a:gd name="T76" fmla="*/ 358 w 408"/>
                <a:gd name="T77" fmla="*/ 283 h 404"/>
                <a:gd name="T78" fmla="*/ 363 w 408"/>
                <a:gd name="T79" fmla="*/ 309 h 404"/>
                <a:gd name="T80" fmla="*/ 358 w 408"/>
                <a:gd name="T81" fmla="*/ 327 h 404"/>
                <a:gd name="T82" fmla="*/ 355 w 408"/>
                <a:gd name="T83" fmla="*/ 342 h 404"/>
                <a:gd name="T84" fmla="*/ 338 w 408"/>
                <a:gd name="T85" fmla="*/ 341 h 404"/>
                <a:gd name="T86" fmla="*/ 277 w 408"/>
                <a:gd name="T87" fmla="*/ 344 h 404"/>
                <a:gd name="T88" fmla="*/ 210 w 408"/>
                <a:gd name="T89" fmla="*/ 379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8" h="404">
                  <a:moveTo>
                    <a:pt x="210" y="379"/>
                  </a:moveTo>
                  <a:cubicBezTo>
                    <a:pt x="198" y="385"/>
                    <a:pt x="187" y="395"/>
                    <a:pt x="178" y="403"/>
                  </a:cubicBezTo>
                  <a:cubicBezTo>
                    <a:pt x="172" y="398"/>
                    <a:pt x="167" y="392"/>
                    <a:pt x="162" y="387"/>
                  </a:cubicBezTo>
                  <a:cubicBezTo>
                    <a:pt x="150" y="377"/>
                    <a:pt x="141" y="365"/>
                    <a:pt x="129" y="354"/>
                  </a:cubicBezTo>
                  <a:cubicBezTo>
                    <a:pt x="104" y="326"/>
                    <a:pt x="93" y="293"/>
                    <a:pt x="80" y="257"/>
                  </a:cubicBezTo>
                  <a:cubicBezTo>
                    <a:pt x="75" y="240"/>
                    <a:pt x="68" y="225"/>
                    <a:pt x="61" y="209"/>
                  </a:cubicBezTo>
                  <a:cubicBezTo>
                    <a:pt x="42" y="164"/>
                    <a:pt x="22" y="120"/>
                    <a:pt x="0" y="77"/>
                  </a:cubicBezTo>
                  <a:cubicBezTo>
                    <a:pt x="2" y="74"/>
                    <a:pt x="5" y="70"/>
                    <a:pt x="9" y="69"/>
                  </a:cubicBezTo>
                  <a:cubicBezTo>
                    <a:pt x="25" y="52"/>
                    <a:pt x="43" y="38"/>
                    <a:pt x="65" y="31"/>
                  </a:cubicBezTo>
                  <a:cubicBezTo>
                    <a:pt x="71" y="29"/>
                    <a:pt x="78" y="29"/>
                    <a:pt x="86" y="28"/>
                  </a:cubicBezTo>
                  <a:cubicBezTo>
                    <a:pt x="99" y="26"/>
                    <a:pt x="116" y="26"/>
                    <a:pt x="129" y="14"/>
                  </a:cubicBezTo>
                  <a:lnTo>
                    <a:pt x="134" y="11"/>
                  </a:lnTo>
                  <a:cubicBezTo>
                    <a:pt x="144" y="1"/>
                    <a:pt x="149" y="0"/>
                    <a:pt x="152" y="3"/>
                  </a:cubicBezTo>
                  <a:lnTo>
                    <a:pt x="154" y="6"/>
                  </a:lnTo>
                  <a:cubicBezTo>
                    <a:pt x="154" y="13"/>
                    <a:pt x="155" y="21"/>
                    <a:pt x="159" y="28"/>
                  </a:cubicBezTo>
                  <a:cubicBezTo>
                    <a:pt x="162" y="33"/>
                    <a:pt x="165" y="38"/>
                    <a:pt x="170" y="42"/>
                  </a:cubicBezTo>
                  <a:cubicBezTo>
                    <a:pt x="173" y="44"/>
                    <a:pt x="175" y="47"/>
                    <a:pt x="178" y="51"/>
                  </a:cubicBezTo>
                  <a:cubicBezTo>
                    <a:pt x="182" y="56"/>
                    <a:pt x="183" y="62"/>
                    <a:pt x="185" y="70"/>
                  </a:cubicBezTo>
                  <a:cubicBezTo>
                    <a:pt x="188" y="84"/>
                    <a:pt x="192" y="98"/>
                    <a:pt x="203" y="108"/>
                  </a:cubicBezTo>
                  <a:cubicBezTo>
                    <a:pt x="218" y="118"/>
                    <a:pt x="243" y="117"/>
                    <a:pt x="279" y="103"/>
                  </a:cubicBezTo>
                  <a:cubicBezTo>
                    <a:pt x="299" y="95"/>
                    <a:pt x="305" y="84"/>
                    <a:pt x="310" y="74"/>
                  </a:cubicBezTo>
                  <a:cubicBezTo>
                    <a:pt x="313" y="67"/>
                    <a:pt x="317" y="62"/>
                    <a:pt x="323" y="57"/>
                  </a:cubicBezTo>
                  <a:cubicBezTo>
                    <a:pt x="327" y="54"/>
                    <a:pt x="335" y="52"/>
                    <a:pt x="340" y="52"/>
                  </a:cubicBezTo>
                  <a:cubicBezTo>
                    <a:pt x="350" y="52"/>
                    <a:pt x="358" y="54"/>
                    <a:pt x="363" y="59"/>
                  </a:cubicBezTo>
                  <a:cubicBezTo>
                    <a:pt x="365" y="62"/>
                    <a:pt x="365" y="64"/>
                    <a:pt x="365" y="67"/>
                  </a:cubicBezTo>
                  <a:cubicBezTo>
                    <a:pt x="365" y="69"/>
                    <a:pt x="365" y="69"/>
                    <a:pt x="365" y="69"/>
                  </a:cubicBezTo>
                  <a:cubicBezTo>
                    <a:pt x="365" y="70"/>
                    <a:pt x="365" y="74"/>
                    <a:pt x="363" y="79"/>
                  </a:cubicBezTo>
                  <a:cubicBezTo>
                    <a:pt x="363" y="85"/>
                    <a:pt x="361" y="94"/>
                    <a:pt x="363" y="103"/>
                  </a:cubicBezTo>
                  <a:cubicBezTo>
                    <a:pt x="366" y="118"/>
                    <a:pt x="376" y="128"/>
                    <a:pt x="383" y="135"/>
                  </a:cubicBezTo>
                  <a:cubicBezTo>
                    <a:pt x="389" y="141"/>
                    <a:pt x="394" y="146"/>
                    <a:pt x="396" y="154"/>
                  </a:cubicBezTo>
                  <a:cubicBezTo>
                    <a:pt x="398" y="158"/>
                    <a:pt x="398" y="161"/>
                    <a:pt x="398" y="166"/>
                  </a:cubicBezTo>
                  <a:cubicBezTo>
                    <a:pt x="398" y="173"/>
                    <a:pt x="396" y="178"/>
                    <a:pt x="398" y="184"/>
                  </a:cubicBezTo>
                  <a:cubicBezTo>
                    <a:pt x="398" y="189"/>
                    <a:pt x="401" y="194"/>
                    <a:pt x="402" y="197"/>
                  </a:cubicBezTo>
                  <a:cubicBezTo>
                    <a:pt x="404" y="199"/>
                    <a:pt x="406" y="199"/>
                    <a:pt x="407" y="201"/>
                  </a:cubicBezTo>
                  <a:cubicBezTo>
                    <a:pt x="406" y="201"/>
                    <a:pt x="401" y="201"/>
                    <a:pt x="399" y="199"/>
                  </a:cubicBezTo>
                  <a:cubicBezTo>
                    <a:pt x="389" y="197"/>
                    <a:pt x="378" y="194"/>
                    <a:pt x="366" y="199"/>
                  </a:cubicBezTo>
                  <a:cubicBezTo>
                    <a:pt x="355" y="204"/>
                    <a:pt x="346" y="214"/>
                    <a:pt x="341" y="225"/>
                  </a:cubicBezTo>
                  <a:cubicBezTo>
                    <a:pt x="337" y="238"/>
                    <a:pt x="338" y="253"/>
                    <a:pt x="345" y="266"/>
                  </a:cubicBezTo>
                  <a:cubicBezTo>
                    <a:pt x="350" y="273"/>
                    <a:pt x="353" y="280"/>
                    <a:pt x="358" y="283"/>
                  </a:cubicBezTo>
                  <a:cubicBezTo>
                    <a:pt x="365" y="293"/>
                    <a:pt x="366" y="295"/>
                    <a:pt x="363" y="309"/>
                  </a:cubicBezTo>
                  <a:lnTo>
                    <a:pt x="358" y="327"/>
                  </a:lnTo>
                  <a:cubicBezTo>
                    <a:pt x="356" y="332"/>
                    <a:pt x="356" y="337"/>
                    <a:pt x="355" y="342"/>
                  </a:cubicBezTo>
                  <a:cubicBezTo>
                    <a:pt x="348" y="341"/>
                    <a:pt x="343" y="341"/>
                    <a:pt x="338" y="341"/>
                  </a:cubicBezTo>
                  <a:cubicBezTo>
                    <a:pt x="320" y="341"/>
                    <a:pt x="299" y="341"/>
                    <a:pt x="277" y="344"/>
                  </a:cubicBezTo>
                  <a:cubicBezTo>
                    <a:pt x="249" y="351"/>
                    <a:pt x="225" y="367"/>
                    <a:pt x="210" y="379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70" name="Freeform 6">
              <a:extLst>
                <a:ext uri="{FF2B5EF4-FFF2-40B4-BE49-F238E27FC236}">
                  <a16:creationId xmlns:a16="http://schemas.microsoft.com/office/drawing/2014/main" id="{000E8D23-4DD2-FD48-96E0-A49584A70D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4463" y="3836988"/>
              <a:ext cx="114300" cy="173037"/>
            </a:xfrm>
            <a:custGeom>
              <a:avLst/>
              <a:gdLst>
                <a:gd name="T0" fmla="*/ 293 w 317"/>
                <a:gd name="T1" fmla="*/ 193 h 482"/>
                <a:gd name="T2" fmla="*/ 305 w 317"/>
                <a:gd name="T3" fmla="*/ 282 h 482"/>
                <a:gd name="T4" fmla="*/ 301 w 317"/>
                <a:gd name="T5" fmla="*/ 308 h 482"/>
                <a:gd name="T6" fmla="*/ 280 w 317"/>
                <a:gd name="T7" fmla="*/ 387 h 482"/>
                <a:gd name="T8" fmla="*/ 258 w 317"/>
                <a:gd name="T9" fmla="*/ 413 h 482"/>
                <a:gd name="T10" fmla="*/ 258 w 317"/>
                <a:gd name="T11" fmla="*/ 400 h 482"/>
                <a:gd name="T12" fmla="*/ 270 w 317"/>
                <a:gd name="T13" fmla="*/ 375 h 482"/>
                <a:gd name="T14" fmla="*/ 281 w 317"/>
                <a:gd name="T15" fmla="*/ 319 h 482"/>
                <a:gd name="T16" fmla="*/ 252 w 317"/>
                <a:gd name="T17" fmla="*/ 296 h 482"/>
                <a:gd name="T18" fmla="*/ 201 w 317"/>
                <a:gd name="T19" fmla="*/ 341 h 482"/>
                <a:gd name="T20" fmla="*/ 197 w 317"/>
                <a:gd name="T21" fmla="*/ 346 h 482"/>
                <a:gd name="T22" fmla="*/ 133 w 317"/>
                <a:gd name="T23" fmla="*/ 405 h 482"/>
                <a:gd name="T24" fmla="*/ 120 w 317"/>
                <a:gd name="T25" fmla="*/ 412 h 482"/>
                <a:gd name="T26" fmla="*/ 94 w 317"/>
                <a:gd name="T27" fmla="*/ 430 h 482"/>
                <a:gd name="T28" fmla="*/ 84 w 317"/>
                <a:gd name="T29" fmla="*/ 451 h 482"/>
                <a:gd name="T30" fmla="*/ 77 w 317"/>
                <a:gd name="T31" fmla="*/ 464 h 482"/>
                <a:gd name="T32" fmla="*/ 48 w 317"/>
                <a:gd name="T33" fmla="*/ 479 h 482"/>
                <a:gd name="T34" fmla="*/ 31 w 317"/>
                <a:gd name="T35" fmla="*/ 473 h 482"/>
                <a:gd name="T36" fmla="*/ 1 w 317"/>
                <a:gd name="T37" fmla="*/ 387 h 482"/>
                <a:gd name="T38" fmla="*/ 11 w 317"/>
                <a:gd name="T39" fmla="*/ 372 h 482"/>
                <a:gd name="T40" fmla="*/ 18 w 317"/>
                <a:gd name="T41" fmla="*/ 372 h 482"/>
                <a:gd name="T42" fmla="*/ 36 w 317"/>
                <a:gd name="T43" fmla="*/ 384 h 482"/>
                <a:gd name="T44" fmla="*/ 92 w 317"/>
                <a:gd name="T45" fmla="*/ 397 h 482"/>
                <a:gd name="T46" fmla="*/ 141 w 317"/>
                <a:gd name="T47" fmla="*/ 366 h 482"/>
                <a:gd name="T48" fmla="*/ 132 w 317"/>
                <a:gd name="T49" fmla="*/ 324 h 482"/>
                <a:gd name="T50" fmla="*/ 125 w 317"/>
                <a:gd name="T51" fmla="*/ 310 h 482"/>
                <a:gd name="T52" fmla="*/ 140 w 317"/>
                <a:gd name="T53" fmla="*/ 277 h 482"/>
                <a:gd name="T54" fmla="*/ 183 w 317"/>
                <a:gd name="T55" fmla="*/ 252 h 482"/>
                <a:gd name="T56" fmla="*/ 225 w 317"/>
                <a:gd name="T57" fmla="*/ 232 h 482"/>
                <a:gd name="T58" fmla="*/ 247 w 317"/>
                <a:gd name="T59" fmla="*/ 173 h 482"/>
                <a:gd name="T60" fmla="*/ 206 w 317"/>
                <a:gd name="T61" fmla="*/ 145 h 482"/>
                <a:gd name="T62" fmla="*/ 191 w 317"/>
                <a:gd name="T63" fmla="*/ 145 h 482"/>
                <a:gd name="T64" fmla="*/ 148 w 317"/>
                <a:gd name="T65" fmla="*/ 133 h 482"/>
                <a:gd name="T66" fmla="*/ 136 w 317"/>
                <a:gd name="T67" fmla="*/ 118 h 482"/>
                <a:gd name="T68" fmla="*/ 123 w 317"/>
                <a:gd name="T69" fmla="*/ 102 h 482"/>
                <a:gd name="T70" fmla="*/ 115 w 317"/>
                <a:gd name="T71" fmla="*/ 94 h 482"/>
                <a:gd name="T72" fmla="*/ 72 w 317"/>
                <a:gd name="T73" fmla="*/ 21 h 482"/>
                <a:gd name="T74" fmla="*/ 80 w 317"/>
                <a:gd name="T75" fmla="*/ 2 h 482"/>
                <a:gd name="T76" fmla="*/ 102 w 317"/>
                <a:gd name="T77" fmla="*/ 18 h 482"/>
                <a:gd name="T78" fmla="*/ 110 w 317"/>
                <a:gd name="T79" fmla="*/ 39 h 482"/>
                <a:gd name="T80" fmla="*/ 151 w 317"/>
                <a:gd name="T81" fmla="*/ 84 h 482"/>
                <a:gd name="T82" fmla="*/ 189 w 317"/>
                <a:gd name="T83" fmla="*/ 87 h 482"/>
                <a:gd name="T84" fmla="*/ 245 w 317"/>
                <a:gd name="T85" fmla="*/ 107 h 482"/>
                <a:gd name="T86" fmla="*/ 249 w 317"/>
                <a:gd name="T87" fmla="*/ 125 h 482"/>
                <a:gd name="T88" fmla="*/ 257 w 317"/>
                <a:gd name="T89" fmla="*/ 155 h 482"/>
                <a:gd name="T90" fmla="*/ 280 w 317"/>
                <a:gd name="T91" fmla="*/ 181 h 482"/>
                <a:gd name="T92" fmla="*/ 293 w 317"/>
                <a:gd name="T93" fmla="*/ 193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7" h="482">
                  <a:moveTo>
                    <a:pt x="293" y="193"/>
                  </a:moveTo>
                  <a:cubicBezTo>
                    <a:pt x="316" y="221"/>
                    <a:pt x="314" y="242"/>
                    <a:pt x="305" y="282"/>
                  </a:cubicBezTo>
                  <a:cubicBezTo>
                    <a:pt x="305" y="291"/>
                    <a:pt x="303" y="300"/>
                    <a:pt x="301" y="308"/>
                  </a:cubicBezTo>
                  <a:cubicBezTo>
                    <a:pt x="296" y="334"/>
                    <a:pt x="291" y="361"/>
                    <a:pt x="280" y="387"/>
                  </a:cubicBezTo>
                  <a:cubicBezTo>
                    <a:pt x="275" y="399"/>
                    <a:pt x="265" y="410"/>
                    <a:pt x="258" y="413"/>
                  </a:cubicBezTo>
                  <a:cubicBezTo>
                    <a:pt x="258" y="410"/>
                    <a:pt x="257" y="407"/>
                    <a:pt x="258" y="400"/>
                  </a:cubicBezTo>
                  <a:cubicBezTo>
                    <a:pt x="258" y="394"/>
                    <a:pt x="263" y="384"/>
                    <a:pt x="270" y="375"/>
                  </a:cubicBezTo>
                  <a:cubicBezTo>
                    <a:pt x="280" y="359"/>
                    <a:pt x="291" y="339"/>
                    <a:pt x="281" y="319"/>
                  </a:cubicBezTo>
                  <a:cubicBezTo>
                    <a:pt x="273" y="305"/>
                    <a:pt x="263" y="298"/>
                    <a:pt x="252" y="296"/>
                  </a:cubicBezTo>
                  <a:cubicBezTo>
                    <a:pt x="229" y="296"/>
                    <a:pt x="211" y="324"/>
                    <a:pt x="201" y="341"/>
                  </a:cubicBezTo>
                  <a:lnTo>
                    <a:pt x="197" y="346"/>
                  </a:lnTo>
                  <a:cubicBezTo>
                    <a:pt x="183" y="367"/>
                    <a:pt x="151" y="392"/>
                    <a:pt x="133" y="405"/>
                  </a:cubicBezTo>
                  <a:cubicBezTo>
                    <a:pt x="128" y="407"/>
                    <a:pt x="125" y="410"/>
                    <a:pt x="120" y="412"/>
                  </a:cubicBezTo>
                  <a:cubicBezTo>
                    <a:pt x="112" y="417"/>
                    <a:pt x="102" y="422"/>
                    <a:pt x="94" y="430"/>
                  </a:cubicBezTo>
                  <a:cubicBezTo>
                    <a:pt x="87" y="438"/>
                    <a:pt x="85" y="445"/>
                    <a:pt x="84" y="451"/>
                  </a:cubicBezTo>
                  <a:cubicBezTo>
                    <a:pt x="82" y="458"/>
                    <a:pt x="79" y="463"/>
                    <a:pt x="77" y="464"/>
                  </a:cubicBezTo>
                  <a:cubicBezTo>
                    <a:pt x="74" y="468"/>
                    <a:pt x="51" y="478"/>
                    <a:pt x="48" y="479"/>
                  </a:cubicBezTo>
                  <a:cubicBezTo>
                    <a:pt x="36" y="481"/>
                    <a:pt x="36" y="481"/>
                    <a:pt x="31" y="473"/>
                  </a:cubicBezTo>
                  <a:cubicBezTo>
                    <a:pt x="18" y="456"/>
                    <a:pt x="0" y="403"/>
                    <a:pt x="1" y="387"/>
                  </a:cubicBezTo>
                  <a:cubicBezTo>
                    <a:pt x="3" y="380"/>
                    <a:pt x="5" y="374"/>
                    <a:pt x="11" y="372"/>
                  </a:cubicBezTo>
                  <a:cubicBezTo>
                    <a:pt x="13" y="372"/>
                    <a:pt x="15" y="372"/>
                    <a:pt x="18" y="372"/>
                  </a:cubicBezTo>
                  <a:cubicBezTo>
                    <a:pt x="23" y="372"/>
                    <a:pt x="29" y="375"/>
                    <a:pt x="36" y="384"/>
                  </a:cubicBezTo>
                  <a:cubicBezTo>
                    <a:pt x="48" y="399"/>
                    <a:pt x="72" y="400"/>
                    <a:pt x="92" y="397"/>
                  </a:cubicBezTo>
                  <a:cubicBezTo>
                    <a:pt x="117" y="394"/>
                    <a:pt x="135" y="382"/>
                    <a:pt x="141" y="366"/>
                  </a:cubicBezTo>
                  <a:cubicBezTo>
                    <a:pt x="148" y="349"/>
                    <a:pt x="138" y="334"/>
                    <a:pt x="132" y="324"/>
                  </a:cubicBezTo>
                  <a:cubicBezTo>
                    <a:pt x="128" y="319"/>
                    <a:pt x="125" y="313"/>
                    <a:pt x="125" y="310"/>
                  </a:cubicBezTo>
                  <a:cubicBezTo>
                    <a:pt x="125" y="305"/>
                    <a:pt x="133" y="283"/>
                    <a:pt x="140" y="277"/>
                  </a:cubicBezTo>
                  <a:cubicBezTo>
                    <a:pt x="148" y="263"/>
                    <a:pt x="166" y="258"/>
                    <a:pt x="183" y="252"/>
                  </a:cubicBezTo>
                  <a:cubicBezTo>
                    <a:pt x="197" y="247"/>
                    <a:pt x="212" y="242"/>
                    <a:pt x="225" y="232"/>
                  </a:cubicBezTo>
                  <a:cubicBezTo>
                    <a:pt x="245" y="216"/>
                    <a:pt x="253" y="194"/>
                    <a:pt x="247" y="173"/>
                  </a:cubicBezTo>
                  <a:cubicBezTo>
                    <a:pt x="240" y="145"/>
                    <a:pt x="221" y="145"/>
                    <a:pt x="206" y="145"/>
                  </a:cubicBezTo>
                  <a:lnTo>
                    <a:pt x="191" y="145"/>
                  </a:lnTo>
                  <a:cubicBezTo>
                    <a:pt x="173" y="145"/>
                    <a:pt x="160" y="145"/>
                    <a:pt x="148" y="133"/>
                  </a:cubicBezTo>
                  <a:cubicBezTo>
                    <a:pt x="143" y="130"/>
                    <a:pt x="140" y="125"/>
                    <a:pt x="136" y="118"/>
                  </a:cubicBezTo>
                  <a:cubicBezTo>
                    <a:pt x="132" y="114"/>
                    <a:pt x="128" y="107"/>
                    <a:pt x="123" y="102"/>
                  </a:cubicBezTo>
                  <a:lnTo>
                    <a:pt x="115" y="94"/>
                  </a:lnTo>
                  <a:cubicBezTo>
                    <a:pt x="94" y="71"/>
                    <a:pt x="74" y="53"/>
                    <a:pt x="72" y="21"/>
                  </a:cubicBezTo>
                  <a:cubicBezTo>
                    <a:pt x="72" y="11"/>
                    <a:pt x="74" y="3"/>
                    <a:pt x="80" y="2"/>
                  </a:cubicBezTo>
                  <a:cubicBezTo>
                    <a:pt x="85" y="0"/>
                    <a:pt x="95" y="5"/>
                    <a:pt x="102" y="18"/>
                  </a:cubicBezTo>
                  <a:cubicBezTo>
                    <a:pt x="105" y="25"/>
                    <a:pt x="107" y="31"/>
                    <a:pt x="110" y="39"/>
                  </a:cubicBezTo>
                  <a:cubicBezTo>
                    <a:pt x="115" y="58"/>
                    <a:pt x="122" y="77"/>
                    <a:pt x="151" y="84"/>
                  </a:cubicBezTo>
                  <a:cubicBezTo>
                    <a:pt x="163" y="87"/>
                    <a:pt x="176" y="87"/>
                    <a:pt x="189" y="87"/>
                  </a:cubicBezTo>
                  <a:cubicBezTo>
                    <a:pt x="219" y="87"/>
                    <a:pt x="237" y="89"/>
                    <a:pt x="245" y="107"/>
                  </a:cubicBezTo>
                  <a:cubicBezTo>
                    <a:pt x="249" y="112"/>
                    <a:pt x="249" y="118"/>
                    <a:pt x="249" y="125"/>
                  </a:cubicBezTo>
                  <a:cubicBezTo>
                    <a:pt x="250" y="133"/>
                    <a:pt x="250" y="143"/>
                    <a:pt x="257" y="155"/>
                  </a:cubicBezTo>
                  <a:cubicBezTo>
                    <a:pt x="262" y="165"/>
                    <a:pt x="272" y="173"/>
                    <a:pt x="280" y="181"/>
                  </a:cubicBezTo>
                  <a:cubicBezTo>
                    <a:pt x="285" y="186"/>
                    <a:pt x="290" y="189"/>
                    <a:pt x="293" y="19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71" name="Freeform 7">
              <a:extLst>
                <a:ext uri="{FF2B5EF4-FFF2-40B4-BE49-F238E27FC236}">
                  <a16:creationId xmlns:a16="http://schemas.microsoft.com/office/drawing/2014/main" id="{B1D117E1-3EFB-DC45-B01A-CCEA52978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1913" y="3656013"/>
              <a:ext cx="322262" cy="406400"/>
            </a:xfrm>
            <a:custGeom>
              <a:avLst/>
              <a:gdLst>
                <a:gd name="T0" fmla="*/ 867 w 893"/>
                <a:gd name="T1" fmla="*/ 550 h 1130"/>
                <a:gd name="T2" fmla="*/ 827 w 893"/>
                <a:gd name="T3" fmla="*/ 415 h 1130"/>
                <a:gd name="T4" fmla="*/ 878 w 893"/>
                <a:gd name="T5" fmla="*/ 320 h 1130"/>
                <a:gd name="T6" fmla="*/ 776 w 893"/>
                <a:gd name="T7" fmla="*/ 222 h 1130"/>
                <a:gd name="T8" fmla="*/ 687 w 893"/>
                <a:gd name="T9" fmla="*/ 161 h 1130"/>
                <a:gd name="T10" fmla="*/ 712 w 893"/>
                <a:gd name="T11" fmla="*/ 87 h 1130"/>
                <a:gd name="T12" fmla="*/ 691 w 893"/>
                <a:gd name="T13" fmla="*/ 71 h 1130"/>
                <a:gd name="T14" fmla="*/ 607 w 893"/>
                <a:gd name="T15" fmla="*/ 53 h 1130"/>
                <a:gd name="T16" fmla="*/ 519 w 893"/>
                <a:gd name="T17" fmla="*/ 20 h 1130"/>
                <a:gd name="T18" fmla="*/ 501 w 893"/>
                <a:gd name="T19" fmla="*/ 214 h 1130"/>
                <a:gd name="T20" fmla="*/ 412 w 893"/>
                <a:gd name="T21" fmla="*/ 150 h 1130"/>
                <a:gd name="T22" fmla="*/ 236 w 893"/>
                <a:gd name="T23" fmla="*/ 262 h 1130"/>
                <a:gd name="T24" fmla="*/ 140 w 893"/>
                <a:gd name="T25" fmla="*/ 102 h 1130"/>
                <a:gd name="T26" fmla="*/ 89 w 893"/>
                <a:gd name="T27" fmla="*/ 81 h 1130"/>
                <a:gd name="T28" fmla="*/ 23 w 893"/>
                <a:gd name="T29" fmla="*/ 102 h 1130"/>
                <a:gd name="T30" fmla="*/ 35 w 893"/>
                <a:gd name="T31" fmla="*/ 336 h 1130"/>
                <a:gd name="T32" fmla="*/ 79 w 893"/>
                <a:gd name="T33" fmla="*/ 526 h 1130"/>
                <a:gd name="T34" fmla="*/ 136 w 893"/>
                <a:gd name="T35" fmla="*/ 786 h 1130"/>
                <a:gd name="T36" fmla="*/ 119 w 893"/>
                <a:gd name="T37" fmla="*/ 1036 h 1130"/>
                <a:gd name="T38" fmla="*/ 264 w 893"/>
                <a:gd name="T39" fmla="*/ 1081 h 1130"/>
                <a:gd name="T40" fmla="*/ 271 w 893"/>
                <a:gd name="T41" fmla="*/ 1084 h 1130"/>
                <a:gd name="T42" fmla="*/ 393 w 893"/>
                <a:gd name="T43" fmla="*/ 1028 h 1130"/>
                <a:gd name="T44" fmla="*/ 460 w 893"/>
                <a:gd name="T45" fmla="*/ 1040 h 1130"/>
                <a:gd name="T46" fmla="*/ 480 w 893"/>
                <a:gd name="T47" fmla="*/ 1069 h 1130"/>
                <a:gd name="T48" fmla="*/ 549 w 893"/>
                <a:gd name="T49" fmla="*/ 1114 h 1130"/>
                <a:gd name="T50" fmla="*/ 620 w 893"/>
                <a:gd name="T51" fmla="*/ 1061 h 1130"/>
                <a:gd name="T52" fmla="*/ 631 w 893"/>
                <a:gd name="T53" fmla="*/ 992 h 1130"/>
                <a:gd name="T54" fmla="*/ 699 w 893"/>
                <a:gd name="T55" fmla="*/ 959 h 1130"/>
                <a:gd name="T56" fmla="*/ 715 w 893"/>
                <a:gd name="T57" fmla="*/ 944 h 1130"/>
                <a:gd name="T58" fmla="*/ 702 w 893"/>
                <a:gd name="T59" fmla="*/ 883 h 1130"/>
                <a:gd name="T60" fmla="*/ 719 w 893"/>
                <a:gd name="T61" fmla="*/ 848 h 1130"/>
                <a:gd name="T62" fmla="*/ 687 w 893"/>
                <a:gd name="T63" fmla="*/ 789 h 1130"/>
                <a:gd name="T64" fmla="*/ 715 w 893"/>
                <a:gd name="T65" fmla="*/ 750 h 1130"/>
                <a:gd name="T66" fmla="*/ 804 w 893"/>
                <a:gd name="T67" fmla="*/ 695 h 1130"/>
                <a:gd name="T68" fmla="*/ 859 w 893"/>
                <a:gd name="T69" fmla="*/ 689 h 1130"/>
                <a:gd name="T70" fmla="*/ 885 w 893"/>
                <a:gd name="T71" fmla="*/ 610 h 1130"/>
                <a:gd name="T72" fmla="*/ 559 w 893"/>
                <a:gd name="T73" fmla="*/ 789 h 1130"/>
                <a:gd name="T74" fmla="*/ 478 w 893"/>
                <a:gd name="T75" fmla="*/ 941 h 1130"/>
                <a:gd name="T76" fmla="*/ 485 w 893"/>
                <a:gd name="T77" fmla="*/ 832 h 1130"/>
                <a:gd name="T78" fmla="*/ 447 w 893"/>
                <a:gd name="T79" fmla="*/ 860 h 1130"/>
                <a:gd name="T80" fmla="*/ 341 w 893"/>
                <a:gd name="T81" fmla="*/ 947 h 1130"/>
                <a:gd name="T82" fmla="*/ 280 w 893"/>
                <a:gd name="T83" fmla="*/ 1007 h 1130"/>
                <a:gd name="T84" fmla="*/ 203 w 893"/>
                <a:gd name="T85" fmla="*/ 885 h 1130"/>
                <a:gd name="T86" fmla="*/ 299 w 893"/>
                <a:gd name="T87" fmla="*/ 873 h 1130"/>
                <a:gd name="T88" fmla="*/ 338 w 893"/>
                <a:gd name="T89" fmla="*/ 839 h 1130"/>
                <a:gd name="T90" fmla="*/ 402 w 893"/>
                <a:gd name="T91" fmla="*/ 728 h 1130"/>
                <a:gd name="T92" fmla="*/ 434 w 893"/>
                <a:gd name="T93" fmla="*/ 672 h 1130"/>
                <a:gd name="T94" fmla="*/ 341 w 893"/>
                <a:gd name="T95" fmla="*/ 634 h 1130"/>
                <a:gd name="T96" fmla="*/ 274 w 893"/>
                <a:gd name="T97" fmla="*/ 524 h 1130"/>
                <a:gd name="T98" fmla="*/ 363 w 893"/>
                <a:gd name="T99" fmla="*/ 532 h 1130"/>
                <a:gd name="T100" fmla="*/ 498 w 893"/>
                <a:gd name="T101" fmla="*/ 596 h 1130"/>
                <a:gd name="T102" fmla="*/ 526 w 893"/>
                <a:gd name="T103" fmla="*/ 662 h 1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93" h="1130">
                  <a:moveTo>
                    <a:pt x="890" y="572"/>
                  </a:moveTo>
                  <a:cubicBezTo>
                    <a:pt x="890" y="570"/>
                    <a:pt x="885" y="567"/>
                    <a:pt x="882" y="563"/>
                  </a:cubicBezTo>
                  <a:cubicBezTo>
                    <a:pt x="877" y="560"/>
                    <a:pt x="872" y="555"/>
                    <a:pt x="867" y="550"/>
                  </a:cubicBezTo>
                  <a:cubicBezTo>
                    <a:pt x="864" y="545"/>
                    <a:pt x="860" y="540"/>
                    <a:pt x="855" y="534"/>
                  </a:cubicBezTo>
                  <a:cubicBezTo>
                    <a:pt x="836" y="506"/>
                    <a:pt x="808" y="468"/>
                    <a:pt x="819" y="435"/>
                  </a:cubicBezTo>
                  <a:cubicBezTo>
                    <a:pt x="821" y="428"/>
                    <a:pt x="824" y="422"/>
                    <a:pt x="827" y="415"/>
                  </a:cubicBezTo>
                  <a:cubicBezTo>
                    <a:pt x="831" y="407"/>
                    <a:pt x="836" y="400"/>
                    <a:pt x="837" y="392"/>
                  </a:cubicBezTo>
                  <a:cubicBezTo>
                    <a:pt x="842" y="376"/>
                    <a:pt x="847" y="361"/>
                    <a:pt x="862" y="346"/>
                  </a:cubicBezTo>
                  <a:cubicBezTo>
                    <a:pt x="872" y="334"/>
                    <a:pt x="878" y="326"/>
                    <a:pt x="878" y="320"/>
                  </a:cubicBezTo>
                  <a:cubicBezTo>
                    <a:pt x="878" y="311"/>
                    <a:pt x="865" y="300"/>
                    <a:pt x="849" y="282"/>
                  </a:cubicBezTo>
                  <a:cubicBezTo>
                    <a:pt x="841" y="275"/>
                    <a:pt x="834" y="267"/>
                    <a:pt x="829" y="259"/>
                  </a:cubicBezTo>
                  <a:cubicBezTo>
                    <a:pt x="809" y="234"/>
                    <a:pt x="798" y="221"/>
                    <a:pt x="776" y="222"/>
                  </a:cubicBezTo>
                  <a:cubicBezTo>
                    <a:pt x="771" y="222"/>
                    <a:pt x="768" y="224"/>
                    <a:pt x="765" y="226"/>
                  </a:cubicBezTo>
                  <a:cubicBezTo>
                    <a:pt x="753" y="229"/>
                    <a:pt x="742" y="232"/>
                    <a:pt x="724" y="222"/>
                  </a:cubicBezTo>
                  <a:cubicBezTo>
                    <a:pt x="694" y="206"/>
                    <a:pt x="681" y="183"/>
                    <a:pt x="687" y="161"/>
                  </a:cubicBezTo>
                  <a:cubicBezTo>
                    <a:pt x="689" y="150"/>
                    <a:pt x="697" y="143"/>
                    <a:pt x="702" y="137"/>
                  </a:cubicBezTo>
                  <a:cubicBezTo>
                    <a:pt x="709" y="132"/>
                    <a:pt x="712" y="129"/>
                    <a:pt x="712" y="124"/>
                  </a:cubicBezTo>
                  <a:cubicBezTo>
                    <a:pt x="715" y="115"/>
                    <a:pt x="714" y="101"/>
                    <a:pt x="712" y="87"/>
                  </a:cubicBezTo>
                  <a:lnTo>
                    <a:pt x="712" y="86"/>
                  </a:lnTo>
                  <a:cubicBezTo>
                    <a:pt x="707" y="81"/>
                    <a:pt x="702" y="76"/>
                    <a:pt x="697" y="74"/>
                  </a:cubicBezTo>
                  <a:cubicBezTo>
                    <a:pt x="696" y="73"/>
                    <a:pt x="692" y="73"/>
                    <a:pt x="691" y="71"/>
                  </a:cubicBezTo>
                  <a:cubicBezTo>
                    <a:pt x="689" y="69"/>
                    <a:pt x="687" y="69"/>
                    <a:pt x="684" y="69"/>
                  </a:cubicBezTo>
                  <a:cubicBezTo>
                    <a:pt x="653" y="69"/>
                    <a:pt x="671" y="101"/>
                    <a:pt x="659" y="110"/>
                  </a:cubicBezTo>
                  <a:cubicBezTo>
                    <a:pt x="636" y="132"/>
                    <a:pt x="623" y="66"/>
                    <a:pt x="607" y="53"/>
                  </a:cubicBezTo>
                  <a:cubicBezTo>
                    <a:pt x="600" y="46"/>
                    <a:pt x="595" y="48"/>
                    <a:pt x="589" y="43"/>
                  </a:cubicBezTo>
                  <a:cubicBezTo>
                    <a:pt x="580" y="38"/>
                    <a:pt x="574" y="31"/>
                    <a:pt x="567" y="26"/>
                  </a:cubicBezTo>
                  <a:cubicBezTo>
                    <a:pt x="547" y="12"/>
                    <a:pt x="539" y="0"/>
                    <a:pt x="519" y="20"/>
                  </a:cubicBezTo>
                  <a:cubicBezTo>
                    <a:pt x="485" y="53"/>
                    <a:pt x="524" y="99"/>
                    <a:pt x="523" y="137"/>
                  </a:cubicBezTo>
                  <a:cubicBezTo>
                    <a:pt x="521" y="157"/>
                    <a:pt x="518" y="176"/>
                    <a:pt x="518" y="196"/>
                  </a:cubicBezTo>
                  <a:cubicBezTo>
                    <a:pt x="518" y="213"/>
                    <a:pt x="523" y="236"/>
                    <a:pt x="501" y="214"/>
                  </a:cubicBezTo>
                  <a:cubicBezTo>
                    <a:pt x="493" y="204"/>
                    <a:pt x="500" y="188"/>
                    <a:pt x="483" y="181"/>
                  </a:cubicBezTo>
                  <a:cubicBezTo>
                    <a:pt x="473" y="176"/>
                    <a:pt x="457" y="186"/>
                    <a:pt x="445" y="183"/>
                  </a:cubicBezTo>
                  <a:cubicBezTo>
                    <a:pt x="430" y="176"/>
                    <a:pt x="430" y="152"/>
                    <a:pt x="412" y="150"/>
                  </a:cubicBezTo>
                  <a:cubicBezTo>
                    <a:pt x="396" y="148"/>
                    <a:pt x="384" y="171"/>
                    <a:pt x="369" y="176"/>
                  </a:cubicBezTo>
                  <a:cubicBezTo>
                    <a:pt x="341" y="188"/>
                    <a:pt x="310" y="161"/>
                    <a:pt x="284" y="175"/>
                  </a:cubicBezTo>
                  <a:cubicBezTo>
                    <a:pt x="252" y="191"/>
                    <a:pt x="266" y="247"/>
                    <a:pt x="236" y="262"/>
                  </a:cubicBezTo>
                  <a:cubicBezTo>
                    <a:pt x="208" y="275"/>
                    <a:pt x="187" y="216"/>
                    <a:pt x="172" y="196"/>
                  </a:cubicBezTo>
                  <a:cubicBezTo>
                    <a:pt x="160" y="183"/>
                    <a:pt x="154" y="171"/>
                    <a:pt x="149" y="153"/>
                  </a:cubicBezTo>
                  <a:cubicBezTo>
                    <a:pt x="145" y="138"/>
                    <a:pt x="149" y="117"/>
                    <a:pt x="140" y="102"/>
                  </a:cubicBezTo>
                  <a:cubicBezTo>
                    <a:pt x="139" y="101"/>
                    <a:pt x="139" y="101"/>
                    <a:pt x="137" y="99"/>
                  </a:cubicBezTo>
                  <a:lnTo>
                    <a:pt x="134" y="94"/>
                  </a:lnTo>
                  <a:cubicBezTo>
                    <a:pt x="121" y="81"/>
                    <a:pt x="101" y="68"/>
                    <a:pt x="89" y="81"/>
                  </a:cubicBezTo>
                  <a:cubicBezTo>
                    <a:pt x="81" y="89"/>
                    <a:pt x="84" y="84"/>
                    <a:pt x="78" y="92"/>
                  </a:cubicBezTo>
                  <a:cubicBezTo>
                    <a:pt x="76" y="96"/>
                    <a:pt x="78" y="97"/>
                    <a:pt x="68" y="102"/>
                  </a:cubicBezTo>
                  <a:cubicBezTo>
                    <a:pt x="55" y="107"/>
                    <a:pt x="40" y="89"/>
                    <a:pt x="23" y="102"/>
                  </a:cubicBezTo>
                  <a:cubicBezTo>
                    <a:pt x="0" y="120"/>
                    <a:pt x="50" y="180"/>
                    <a:pt x="66" y="206"/>
                  </a:cubicBezTo>
                  <a:cubicBezTo>
                    <a:pt x="70" y="209"/>
                    <a:pt x="71" y="213"/>
                    <a:pt x="71" y="214"/>
                  </a:cubicBezTo>
                  <a:cubicBezTo>
                    <a:pt x="89" y="264"/>
                    <a:pt x="32" y="292"/>
                    <a:pt x="35" y="336"/>
                  </a:cubicBezTo>
                  <a:cubicBezTo>
                    <a:pt x="35" y="358"/>
                    <a:pt x="56" y="369"/>
                    <a:pt x="66" y="386"/>
                  </a:cubicBezTo>
                  <a:cubicBezTo>
                    <a:pt x="79" y="405"/>
                    <a:pt x="88" y="428"/>
                    <a:pt x="88" y="451"/>
                  </a:cubicBezTo>
                  <a:cubicBezTo>
                    <a:pt x="88" y="476"/>
                    <a:pt x="76" y="499"/>
                    <a:pt x="79" y="526"/>
                  </a:cubicBezTo>
                  <a:cubicBezTo>
                    <a:pt x="81" y="550"/>
                    <a:pt x="103" y="567"/>
                    <a:pt x="112" y="590"/>
                  </a:cubicBezTo>
                  <a:cubicBezTo>
                    <a:pt x="131" y="629"/>
                    <a:pt x="154" y="697"/>
                    <a:pt x="140" y="740"/>
                  </a:cubicBezTo>
                  <a:cubicBezTo>
                    <a:pt x="132" y="764"/>
                    <a:pt x="129" y="759"/>
                    <a:pt x="136" y="786"/>
                  </a:cubicBezTo>
                  <a:cubicBezTo>
                    <a:pt x="142" y="816"/>
                    <a:pt x="132" y="839"/>
                    <a:pt x="129" y="868"/>
                  </a:cubicBezTo>
                  <a:cubicBezTo>
                    <a:pt x="124" y="911"/>
                    <a:pt x="112" y="959"/>
                    <a:pt x="109" y="1003"/>
                  </a:cubicBezTo>
                  <a:cubicBezTo>
                    <a:pt x="109" y="1016"/>
                    <a:pt x="114" y="1026"/>
                    <a:pt x="119" y="1036"/>
                  </a:cubicBezTo>
                  <a:cubicBezTo>
                    <a:pt x="124" y="1033"/>
                    <a:pt x="127" y="1030"/>
                    <a:pt x="132" y="1026"/>
                  </a:cubicBezTo>
                  <a:cubicBezTo>
                    <a:pt x="142" y="1018"/>
                    <a:pt x="154" y="1010"/>
                    <a:pt x="168" y="1007"/>
                  </a:cubicBezTo>
                  <a:cubicBezTo>
                    <a:pt x="220" y="993"/>
                    <a:pt x="248" y="1048"/>
                    <a:pt x="264" y="1081"/>
                  </a:cubicBezTo>
                  <a:lnTo>
                    <a:pt x="267" y="1084"/>
                  </a:lnTo>
                  <a:cubicBezTo>
                    <a:pt x="267" y="1086"/>
                    <a:pt x="267" y="1086"/>
                    <a:pt x="267" y="1087"/>
                  </a:cubicBezTo>
                  <a:lnTo>
                    <a:pt x="271" y="1084"/>
                  </a:lnTo>
                  <a:cubicBezTo>
                    <a:pt x="290" y="1068"/>
                    <a:pt x="310" y="1049"/>
                    <a:pt x="336" y="1041"/>
                  </a:cubicBezTo>
                  <a:cubicBezTo>
                    <a:pt x="346" y="1038"/>
                    <a:pt x="355" y="1038"/>
                    <a:pt x="364" y="1036"/>
                  </a:cubicBezTo>
                  <a:cubicBezTo>
                    <a:pt x="376" y="1036"/>
                    <a:pt x="386" y="1035"/>
                    <a:pt x="393" y="1028"/>
                  </a:cubicBezTo>
                  <a:lnTo>
                    <a:pt x="397" y="1025"/>
                  </a:lnTo>
                  <a:cubicBezTo>
                    <a:pt x="409" y="1015"/>
                    <a:pt x="425" y="1002"/>
                    <a:pt x="449" y="1016"/>
                  </a:cubicBezTo>
                  <a:cubicBezTo>
                    <a:pt x="458" y="1021"/>
                    <a:pt x="458" y="1031"/>
                    <a:pt x="460" y="1040"/>
                  </a:cubicBezTo>
                  <a:cubicBezTo>
                    <a:pt x="460" y="1043"/>
                    <a:pt x="460" y="1048"/>
                    <a:pt x="460" y="1049"/>
                  </a:cubicBezTo>
                  <a:cubicBezTo>
                    <a:pt x="463" y="1053"/>
                    <a:pt x="467" y="1056"/>
                    <a:pt x="470" y="1059"/>
                  </a:cubicBezTo>
                  <a:cubicBezTo>
                    <a:pt x="473" y="1063"/>
                    <a:pt x="477" y="1066"/>
                    <a:pt x="480" y="1069"/>
                  </a:cubicBezTo>
                  <a:cubicBezTo>
                    <a:pt x="486" y="1079"/>
                    <a:pt x="488" y="1091"/>
                    <a:pt x="491" y="1101"/>
                  </a:cubicBezTo>
                  <a:cubicBezTo>
                    <a:pt x="493" y="1109"/>
                    <a:pt x="495" y="1119"/>
                    <a:pt x="500" y="1120"/>
                  </a:cubicBezTo>
                  <a:cubicBezTo>
                    <a:pt x="500" y="1122"/>
                    <a:pt x="511" y="1129"/>
                    <a:pt x="549" y="1114"/>
                  </a:cubicBezTo>
                  <a:cubicBezTo>
                    <a:pt x="561" y="1109"/>
                    <a:pt x="564" y="1104"/>
                    <a:pt x="569" y="1096"/>
                  </a:cubicBezTo>
                  <a:cubicBezTo>
                    <a:pt x="572" y="1087"/>
                    <a:pt x="577" y="1079"/>
                    <a:pt x="587" y="1071"/>
                  </a:cubicBezTo>
                  <a:cubicBezTo>
                    <a:pt x="595" y="1064"/>
                    <a:pt x="608" y="1061"/>
                    <a:pt x="620" y="1061"/>
                  </a:cubicBezTo>
                  <a:cubicBezTo>
                    <a:pt x="620" y="1058"/>
                    <a:pt x="618" y="1053"/>
                    <a:pt x="618" y="1049"/>
                  </a:cubicBezTo>
                  <a:cubicBezTo>
                    <a:pt x="618" y="1040"/>
                    <a:pt x="620" y="1030"/>
                    <a:pt x="621" y="1021"/>
                  </a:cubicBezTo>
                  <a:cubicBezTo>
                    <a:pt x="623" y="1012"/>
                    <a:pt x="626" y="1002"/>
                    <a:pt x="631" y="992"/>
                  </a:cubicBezTo>
                  <a:cubicBezTo>
                    <a:pt x="638" y="980"/>
                    <a:pt x="649" y="972"/>
                    <a:pt x="664" y="967"/>
                  </a:cubicBezTo>
                  <a:cubicBezTo>
                    <a:pt x="674" y="964"/>
                    <a:pt x="684" y="962"/>
                    <a:pt x="694" y="960"/>
                  </a:cubicBezTo>
                  <a:lnTo>
                    <a:pt x="699" y="959"/>
                  </a:lnTo>
                  <a:cubicBezTo>
                    <a:pt x="704" y="959"/>
                    <a:pt x="710" y="957"/>
                    <a:pt x="714" y="956"/>
                  </a:cubicBezTo>
                  <a:cubicBezTo>
                    <a:pt x="717" y="954"/>
                    <a:pt x="719" y="951"/>
                    <a:pt x="719" y="949"/>
                  </a:cubicBezTo>
                  <a:cubicBezTo>
                    <a:pt x="719" y="947"/>
                    <a:pt x="717" y="944"/>
                    <a:pt x="715" y="944"/>
                  </a:cubicBezTo>
                  <a:lnTo>
                    <a:pt x="712" y="937"/>
                  </a:lnTo>
                  <a:cubicBezTo>
                    <a:pt x="709" y="932"/>
                    <a:pt x="704" y="926"/>
                    <a:pt x="701" y="919"/>
                  </a:cubicBezTo>
                  <a:cubicBezTo>
                    <a:pt x="696" y="906"/>
                    <a:pt x="696" y="893"/>
                    <a:pt x="702" y="883"/>
                  </a:cubicBezTo>
                  <a:cubicBezTo>
                    <a:pt x="704" y="876"/>
                    <a:pt x="709" y="873"/>
                    <a:pt x="714" y="870"/>
                  </a:cubicBezTo>
                  <a:cubicBezTo>
                    <a:pt x="715" y="868"/>
                    <a:pt x="717" y="867"/>
                    <a:pt x="719" y="863"/>
                  </a:cubicBezTo>
                  <a:cubicBezTo>
                    <a:pt x="722" y="860"/>
                    <a:pt x="722" y="853"/>
                    <a:pt x="719" y="848"/>
                  </a:cubicBezTo>
                  <a:cubicBezTo>
                    <a:pt x="717" y="847"/>
                    <a:pt x="714" y="844"/>
                    <a:pt x="709" y="842"/>
                  </a:cubicBezTo>
                  <a:cubicBezTo>
                    <a:pt x="704" y="839"/>
                    <a:pt x="699" y="834"/>
                    <a:pt x="694" y="829"/>
                  </a:cubicBezTo>
                  <a:cubicBezTo>
                    <a:pt x="686" y="817"/>
                    <a:pt x="682" y="801"/>
                    <a:pt x="687" y="789"/>
                  </a:cubicBezTo>
                  <a:cubicBezTo>
                    <a:pt x="692" y="779"/>
                    <a:pt x="697" y="773"/>
                    <a:pt x="704" y="766"/>
                  </a:cubicBezTo>
                  <a:lnTo>
                    <a:pt x="707" y="763"/>
                  </a:lnTo>
                  <a:cubicBezTo>
                    <a:pt x="712" y="758"/>
                    <a:pt x="715" y="753"/>
                    <a:pt x="715" y="750"/>
                  </a:cubicBezTo>
                  <a:cubicBezTo>
                    <a:pt x="710" y="728"/>
                    <a:pt x="719" y="710"/>
                    <a:pt x="725" y="697"/>
                  </a:cubicBezTo>
                  <a:cubicBezTo>
                    <a:pt x="737" y="679"/>
                    <a:pt x="758" y="662"/>
                    <a:pt x="780" y="672"/>
                  </a:cubicBezTo>
                  <a:cubicBezTo>
                    <a:pt x="793" y="675"/>
                    <a:pt x="799" y="687"/>
                    <a:pt x="804" y="695"/>
                  </a:cubicBezTo>
                  <a:cubicBezTo>
                    <a:pt x="808" y="700"/>
                    <a:pt x="811" y="705"/>
                    <a:pt x="814" y="708"/>
                  </a:cubicBezTo>
                  <a:cubicBezTo>
                    <a:pt x="821" y="712"/>
                    <a:pt x="827" y="712"/>
                    <a:pt x="836" y="708"/>
                  </a:cubicBezTo>
                  <a:cubicBezTo>
                    <a:pt x="844" y="703"/>
                    <a:pt x="850" y="697"/>
                    <a:pt x="859" y="689"/>
                  </a:cubicBezTo>
                  <a:cubicBezTo>
                    <a:pt x="864" y="684"/>
                    <a:pt x="867" y="680"/>
                    <a:pt x="875" y="677"/>
                  </a:cubicBezTo>
                  <a:cubicBezTo>
                    <a:pt x="875" y="677"/>
                    <a:pt x="878" y="654"/>
                    <a:pt x="880" y="643"/>
                  </a:cubicBezTo>
                  <a:cubicBezTo>
                    <a:pt x="882" y="633"/>
                    <a:pt x="883" y="621"/>
                    <a:pt x="885" y="610"/>
                  </a:cubicBezTo>
                  <a:cubicBezTo>
                    <a:pt x="885" y="605"/>
                    <a:pt x="887" y="600"/>
                    <a:pt x="888" y="595"/>
                  </a:cubicBezTo>
                  <a:cubicBezTo>
                    <a:pt x="890" y="585"/>
                    <a:pt x="892" y="577"/>
                    <a:pt x="890" y="572"/>
                  </a:cubicBezTo>
                  <a:close/>
                  <a:moveTo>
                    <a:pt x="559" y="789"/>
                  </a:moveTo>
                  <a:cubicBezTo>
                    <a:pt x="557" y="797"/>
                    <a:pt x="556" y="806"/>
                    <a:pt x="556" y="814"/>
                  </a:cubicBezTo>
                  <a:cubicBezTo>
                    <a:pt x="549" y="842"/>
                    <a:pt x="544" y="868"/>
                    <a:pt x="533" y="898"/>
                  </a:cubicBezTo>
                  <a:cubicBezTo>
                    <a:pt x="523" y="919"/>
                    <a:pt x="500" y="946"/>
                    <a:pt x="478" y="941"/>
                  </a:cubicBezTo>
                  <a:cubicBezTo>
                    <a:pt x="468" y="937"/>
                    <a:pt x="457" y="929"/>
                    <a:pt x="460" y="900"/>
                  </a:cubicBezTo>
                  <a:cubicBezTo>
                    <a:pt x="460" y="886"/>
                    <a:pt x="468" y="875"/>
                    <a:pt x="475" y="863"/>
                  </a:cubicBezTo>
                  <a:cubicBezTo>
                    <a:pt x="481" y="852"/>
                    <a:pt x="490" y="839"/>
                    <a:pt x="485" y="832"/>
                  </a:cubicBezTo>
                  <a:cubicBezTo>
                    <a:pt x="481" y="825"/>
                    <a:pt x="478" y="825"/>
                    <a:pt x="478" y="825"/>
                  </a:cubicBezTo>
                  <a:cubicBezTo>
                    <a:pt x="475" y="824"/>
                    <a:pt x="468" y="829"/>
                    <a:pt x="450" y="857"/>
                  </a:cubicBezTo>
                  <a:lnTo>
                    <a:pt x="447" y="860"/>
                  </a:lnTo>
                  <a:cubicBezTo>
                    <a:pt x="432" y="885"/>
                    <a:pt x="399" y="909"/>
                    <a:pt x="376" y="928"/>
                  </a:cubicBezTo>
                  <a:cubicBezTo>
                    <a:pt x="371" y="931"/>
                    <a:pt x="366" y="934"/>
                    <a:pt x="360" y="936"/>
                  </a:cubicBezTo>
                  <a:cubicBezTo>
                    <a:pt x="353" y="941"/>
                    <a:pt x="346" y="944"/>
                    <a:pt x="341" y="947"/>
                  </a:cubicBezTo>
                  <a:cubicBezTo>
                    <a:pt x="340" y="951"/>
                    <a:pt x="338" y="956"/>
                    <a:pt x="336" y="960"/>
                  </a:cubicBezTo>
                  <a:cubicBezTo>
                    <a:pt x="333" y="969"/>
                    <a:pt x="330" y="979"/>
                    <a:pt x="322" y="987"/>
                  </a:cubicBezTo>
                  <a:cubicBezTo>
                    <a:pt x="318" y="990"/>
                    <a:pt x="285" y="1005"/>
                    <a:pt x="280" y="1007"/>
                  </a:cubicBezTo>
                  <a:cubicBezTo>
                    <a:pt x="272" y="1007"/>
                    <a:pt x="267" y="1008"/>
                    <a:pt x="262" y="1007"/>
                  </a:cubicBezTo>
                  <a:cubicBezTo>
                    <a:pt x="254" y="1007"/>
                    <a:pt x="246" y="1002"/>
                    <a:pt x="238" y="988"/>
                  </a:cubicBezTo>
                  <a:cubicBezTo>
                    <a:pt x="224" y="970"/>
                    <a:pt x="200" y="913"/>
                    <a:pt x="203" y="885"/>
                  </a:cubicBezTo>
                  <a:cubicBezTo>
                    <a:pt x="206" y="867"/>
                    <a:pt x="216" y="852"/>
                    <a:pt x="233" y="847"/>
                  </a:cubicBezTo>
                  <a:cubicBezTo>
                    <a:pt x="251" y="844"/>
                    <a:pt x="271" y="850"/>
                    <a:pt x="284" y="868"/>
                  </a:cubicBezTo>
                  <a:cubicBezTo>
                    <a:pt x="287" y="870"/>
                    <a:pt x="292" y="872"/>
                    <a:pt x="299" y="873"/>
                  </a:cubicBezTo>
                  <a:cubicBezTo>
                    <a:pt x="304" y="873"/>
                    <a:pt x="310" y="873"/>
                    <a:pt x="315" y="872"/>
                  </a:cubicBezTo>
                  <a:cubicBezTo>
                    <a:pt x="332" y="870"/>
                    <a:pt x="341" y="863"/>
                    <a:pt x="345" y="858"/>
                  </a:cubicBezTo>
                  <a:cubicBezTo>
                    <a:pt x="346" y="853"/>
                    <a:pt x="343" y="848"/>
                    <a:pt x="338" y="839"/>
                  </a:cubicBezTo>
                  <a:cubicBezTo>
                    <a:pt x="333" y="832"/>
                    <a:pt x="327" y="824"/>
                    <a:pt x="327" y="812"/>
                  </a:cubicBezTo>
                  <a:cubicBezTo>
                    <a:pt x="327" y="797"/>
                    <a:pt x="340" y="769"/>
                    <a:pt x="346" y="761"/>
                  </a:cubicBezTo>
                  <a:cubicBezTo>
                    <a:pt x="361" y="741"/>
                    <a:pt x="383" y="735"/>
                    <a:pt x="402" y="728"/>
                  </a:cubicBezTo>
                  <a:cubicBezTo>
                    <a:pt x="416" y="723"/>
                    <a:pt x="429" y="720"/>
                    <a:pt x="437" y="712"/>
                  </a:cubicBezTo>
                  <a:cubicBezTo>
                    <a:pt x="447" y="705"/>
                    <a:pt x="453" y="694"/>
                    <a:pt x="450" y="680"/>
                  </a:cubicBezTo>
                  <a:cubicBezTo>
                    <a:pt x="449" y="672"/>
                    <a:pt x="449" y="672"/>
                    <a:pt x="434" y="672"/>
                  </a:cubicBezTo>
                  <a:lnTo>
                    <a:pt x="419" y="672"/>
                  </a:lnTo>
                  <a:cubicBezTo>
                    <a:pt x="399" y="672"/>
                    <a:pt x="378" y="672"/>
                    <a:pt x="358" y="654"/>
                  </a:cubicBezTo>
                  <a:cubicBezTo>
                    <a:pt x="350" y="649"/>
                    <a:pt x="346" y="641"/>
                    <a:pt x="341" y="634"/>
                  </a:cubicBezTo>
                  <a:cubicBezTo>
                    <a:pt x="338" y="629"/>
                    <a:pt x="335" y="624"/>
                    <a:pt x="332" y="621"/>
                  </a:cubicBezTo>
                  <a:lnTo>
                    <a:pt x="323" y="613"/>
                  </a:lnTo>
                  <a:cubicBezTo>
                    <a:pt x="300" y="588"/>
                    <a:pt x="277" y="563"/>
                    <a:pt x="274" y="524"/>
                  </a:cubicBezTo>
                  <a:cubicBezTo>
                    <a:pt x="272" y="496"/>
                    <a:pt x="287" y="481"/>
                    <a:pt x="300" y="478"/>
                  </a:cubicBezTo>
                  <a:cubicBezTo>
                    <a:pt x="320" y="473"/>
                    <a:pt x="341" y="484"/>
                    <a:pt x="353" y="506"/>
                  </a:cubicBezTo>
                  <a:cubicBezTo>
                    <a:pt x="358" y="516"/>
                    <a:pt x="360" y="524"/>
                    <a:pt x="363" y="532"/>
                  </a:cubicBezTo>
                  <a:cubicBezTo>
                    <a:pt x="368" y="549"/>
                    <a:pt x="369" y="555"/>
                    <a:pt x="386" y="560"/>
                  </a:cubicBezTo>
                  <a:cubicBezTo>
                    <a:pt x="394" y="562"/>
                    <a:pt x="406" y="562"/>
                    <a:pt x="417" y="562"/>
                  </a:cubicBezTo>
                  <a:cubicBezTo>
                    <a:pt x="447" y="562"/>
                    <a:pt x="481" y="562"/>
                    <a:pt x="498" y="596"/>
                  </a:cubicBezTo>
                  <a:cubicBezTo>
                    <a:pt x="501" y="606"/>
                    <a:pt x="503" y="616"/>
                    <a:pt x="503" y="623"/>
                  </a:cubicBezTo>
                  <a:cubicBezTo>
                    <a:pt x="505" y="631"/>
                    <a:pt x="505" y="638"/>
                    <a:pt x="508" y="643"/>
                  </a:cubicBezTo>
                  <a:cubicBezTo>
                    <a:pt x="511" y="649"/>
                    <a:pt x="518" y="656"/>
                    <a:pt x="526" y="662"/>
                  </a:cubicBezTo>
                  <a:cubicBezTo>
                    <a:pt x="531" y="667"/>
                    <a:pt x="537" y="672"/>
                    <a:pt x="541" y="677"/>
                  </a:cubicBezTo>
                  <a:cubicBezTo>
                    <a:pt x="574" y="715"/>
                    <a:pt x="567" y="748"/>
                    <a:pt x="559" y="789"/>
                  </a:cubicBez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72" name="Freeform 8">
              <a:extLst>
                <a:ext uri="{FF2B5EF4-FFF2-40B4-BE49-F238E27FC236}">
                  <a16:creationId xmlns:a16="http://schemas.microsoft.com/office/drawing/2014/main" id="{C43F51A6-BEFD-7E4C-B932-4F5F6B5A46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3363" y="4160838"/>
              <a:ext cx="157162" cy="104775"/>
            </a:xfrm>
            <a:custGeom>
              <a:avLst/>
              <a:gdLst>
                <a:gd name="T0" fmla="*/ 138 w 437"/>
                <a:gd name="T1" fmla="*/ 277 h 291"/>
                <a:gd name="T2" fmla="*/ 98 w 437"/>
                <a:gd name="T3" fmla="*/ 282 h 291"/>
                <a:gd name="T4" fmla="*/ 79 w 437"/>
                <a:gd name="T5" fmla="*/ 231 h 291"/>
                <a:gd name="T6" fmla="*/ 32 w 437"/>
                <a:gd name="T7" fmla="*/ 100 h 291"/>
                <a:gd name="T8" fmla="*/ 0 w 437"/>
                <a:gd name="T9" fmla="*/ 56 h 291"/>
                <a:gd name="T10" fmla="*/ 28 w 437"/>
                <a:gd name="T11" fmla="*/ 33 h 291"/>
                <a:gd name="T12" fmla="*/ 85 w 437"/>
                <a:gd name="T13" fmla="*/ 3 h 291"/>
                <a:gd name="T14" fmla="*/ 141 w 437"/>
                <a:gd name="T15" fmla="*/ 0 h 291"/>
                <a:gd name="T16" fmla="*/ 153 w 437"/>
                <a:gd name="T17" fmla="*/ 0 h 291"/>
                <a:gd name="T18" fmla="*/ 179 w 437"/>
                <a:gd name="T19" fmla="*/ 3 h 291"/>
                <a:gd name="T20" fmla="*/ 179 w 437"/>
                <a:gd name="T21" fmla="*/ 3 h 291"/>
                <a:gd name="T22" fmla="*/ 247 w 437"/>
                <a:gd name="T23" fmla="*/ 26 h 291"/>
                <a:gd name="T24" fmla="*/ 253 w 437"/>
                <a:gd name="T25" fmla="*/ 31 h 291"/>
                <a:gd name="T26" fmla="*/ 255 w 437"/>
                <a:gd name="T27" fmla="*/ 46 h 291"/>
                <a:gd name="T28" fmla="*/ 265 w 437"/>
                <a:gd name="T29" fmla="*/ 79 h 291"/>
                <a:gd name="T30" fmla="*/ 286 w 437"/>
                <a:gd name="T31" fmla="*/ 91 h 291"/>
                <a:gd name="T32" fmla="*/ 296 w 437"/>
                <a:gd name="T33" fmla="*/ 94 h 291"/>
                <a:gd name="T34" fmla="*/ 309 w 437"/>
                <a:gd name="T35" fmla="*/ 110 h 291"/>
                <a:gd name="T36" fmla="*/ 342 w 437"/>
                <a:gd name="T37" fmla="*/ 137 h 291"/>
                <a:gd name="T38" fmla="*/ 373 w 437"/>
                <a:gd name="T39" fmla="*/ 133 h 291"/>
                <a:gd name="T40" fmla="*/ 392 w 437"/>
                <a:gd name="T41" fmla="*/ 132 h 291"/>
                <a:gd name="T42" fmla="*/ 398 w 437"/>
                <a:gd name="T43" fmla="*/ 143 h 291"/>
                <a:gd name="T44" fmla="*/ 401 w 437"/>
                <a:gd name="T45" fmla="*/ 150 h 291"/>
                <a:gd name="T46" fmla="*/ 423 w 437"/>
                <a:gd name="T47" fmla="*/ 176 h 291"/>
                <a:gd name="T48" fmla="*/ 428 w 437"/>
                <a:gd name="T49" fmla="*/ 180 h 291"/>
                <a:gd name="T50" fmla="*/ 434 w 437"/>
                <a:gd name="T51" fmla="*/ 184 h 291"/>
                <a:gd name="T52" fmla="*/ 428 w 437"/>
                <a:gd name="T53" fmla="*/ 198 h 291"/>
                <a:gd name="T54" fmla="*/ 428 w 437"/>
                <a:gd name="T55" fmla="*/ 198 h 291"/>
                <a:gd name="T56" fmla="*/ 425 w 437"/>
                <a:gd name="T57" fmla="*/ 199 h 291"/>
                <a:gd name="T58" fmla="*/ 421 w 437"/>
                <a:gd name="T59" fmla="*/ 203 h 291"/>
                <a:gd name="T60" fmla="*/ 405 w 437"/>
                <a:gd name="T61" fmla="*/ 214 h 291"/>
                <a:gd name="T62" fmla="*/ 390 w 437"/>
                <a:gd name="T63" fmla="*/ 229 h 291"/>
                <a:gd name="T64" fmla="*/ 369 w 437"/>
                <a:gd name="T65" fmla="*/ 288 h 291"/>
                <a:gd name="T66" fmla="*/ 313 w 437"/>
                <a:gd name="T67" fmla="*/ 285 h 291"/>
                <a:gd name="T68" fmla="*/ 303 w 437"/>
                <a:gd name="T69" fmla="*/ 287 h 291"/>
                <a:gd name="T70" fmla="*/ 248 w 437"/>
                <a:gd name="T71" fmla="*/ 270 h 291"/>
                <a:gd name="T72" fmla="*/ 164 w 437"/>
                <a:gd name="T73" fmla="*/ 267 h 291"/>
                <a:gd name="T74" fmla="*/ 138 w 437"/>
                <a:gd name="T75" fmla="*/ 277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37" h="291">
                  <a:moveTo>
                    <a:pt x="138" y="277"/>
                  </a:moveTo>
                  <a:cubicBezTo>
                    <a:pt x="125" y="280"/>
                    <a:pt x="112" y="282"/>
                    <a:pt x="98" y="282"/>
                  </a:cubicBezTo>
                  <a:cubicBezTo>
                    <a:pt x="88" y="265"/>
                    <a:pt x="80" y="247"/>
                    <a:pt x="79" y="231"/>
                  </a:cubicBezTo>
                  <a:cubicBezTo>
                    <a:pt x="70" y="181"/>
                    <a:pt x="64" y="147"/>
                    <a:pt x="32" y="100"/>
                  </a:cubicBezTo>
                  <a:cubicBezTo>
                    <a:pt x="23" y="84"/>
                    <a:pt x="11" y="69"/>
                    <a:pt x="0" y="56"/>
                  </a:cubicBezTo>
                  <a:cubicBezTo>
                    <a:pt x="8" y="48"/>
                    <a:pt x="18" y="40"/>
                    <a:pt x="28" y="33"/>
                  </a:cubicBezTo>
                  <a:cubicBezTo>
                    <a:pt x="51" y="16"/>
                    <a:pt x="67" y="7"/>
                    <a:pt x="85" y="3"/>
                  </a:cubicBezTo>
                  <a:cubicBezTo>
                    <a:pt x="103" y="0"/>
                    <a:pt x="123" y="0"/>
                    <a:pt x="141" y="0"/>
                  </a:cubicBezTo>
                  <a:cubicBezTo>
                    <a:pt x="144" y="0"/>
                    <a:pt x="148" y="0"/>
                    <a:pt x="153" y="0"/>
                  </a:cubicBezTo>
                  <a:cubicBezTo>
                    <a:pt x="161" y="2"/>
                    <a:pt x="169" y="2"/>
                    <a:pt x="179" y="3"/>
                  </a:cubicBezTo>
                  <a:lnTo>
                    <a:pt x="179" y="3"/>
                  </a:lnTo>
                  <a:cubicBezTo>
                    <a:pt x="204" y="7"/>
                    <a:pt x="225" y="16"/>
                    <a:pt x="247" y="26"/>
                  </a:cubicBezTo>
                  <a:cubicBezTo>
                    <a:pt x="248" y="28"/>
                    <a:pt x="252" y="30"/>
                    <a:pt x="253" y="31"/>
                  </a:cubicBezTo>
                  <a:cubicBezTo>
                    <a:pt x="255" y="33"/>
                    <a:pt x="255" y="40"/>
                    <a:pt x="255" y="46"/>
                  </a:cubicBezTo>
                  <a:cubicBezTo>
                    <a:pt x="257" y="56"/>
                    <a:pt x="257" y="69"/>
                    <a:pt x="265" y="79"/>
                  </a:cubicBezTo>
                  <a:cubicBezTo>
                    <a:pt x="271" y="86"/>
                    <a:pt x="280" y="89"/>
                    <a:pt x="286" y="91"/>
                  </a:cubicBezTo>
                  <a:cubicBezTo>
                    <a:pt x="289" y="92"/>
                    <a:pt x="293" y="92"/>
                    <a:pt x="296" y="94"/>
                  </a:cubicBezTo>
                  <a:cubicBezTo>
                    <a:pt x="301" y="97"/>
                    <a:pt x="304" y="104"/>
                    <a:pt x="309" y="110"/>
                  </a:cubicBezTo>
                  <a:cubicBezTo>
                    <a:pt x="317" y="122"/>
                    <a:pt x="326" y="133"/>
                    <a:pt x="342" y="137"/>
                  </a:cubicBezTo>
                  <a:cubicBezTo>
                    <a:pt x="354" y="140"/>
                    <a:pt x="364" y="137"/>
                    <a:pt x="373" y="133"/>
                  </a:cubicBezTo>
                  <a:cubicBezTo>
                    <a:pt x="383" y="130"/>
                    <a:pt x="388" y="128"/>
                    <a:pt x="392" y="132"/>
                  </a:cubicBezTo>
                  <a:cubicBezTo>
                    <a:pt x="393" y="133"/>
                    <a:pt x="397" y="138"/>
                    <a:pt x="398" y="143"/>
                  </a:cubicBezTo>
                  <a:cubicBezTo>
                    <a:pt x="400" y="147"/>
                    <a:pt x="401" y="148"/>
                    <a:pt x="401" y="150"/>
                  </a:cubicBezTo>
                  <a:cubicBezTo>
                    <a:pt x="406" y="161"/>
                    <a:pt x="415" y="170"/>
                    <a:pt x="423" y="176"/>
                  </a:cubicBezTo>
                  <a:lnTo>
                    <a:pt x="428" y="180"/>
                  </a:lnTo>
                  <a:cubicBezTo>
                    <a:pt x="431" y="181"/>
                    <a:pt x="433" y="183"/>
                    <a:pt x="434" y="184"/>
                  </a:cubicBezTo>
                  <a:cubicBezTo>
                    <a:pt x="436" y="188"/>
                    <a:pt x="433" y="193"/>
                    <a:pt x="428" y="198"/>
                  </a:cubicBezTo>
                  <a:lnTo>
                    <a:pt x="428" y="198"/>
                  </a:lnTo>
                  <a:cubicBezTo>
                    <a:pt x="426" y="199"/>
                    <a:pt x="426" y="199"/>
                    <a:pt x="425" y="199"/>
                  </a:cubicBezTo>
                  <a:lnTo>
                    <a:pt x="421" y="203"/>
                  </a:lnTo>
                  <a:cubicBezTo>
                    <a:pt x="415" y="206"/>
                    <a:pt x="410" y="209"/>
                    <a:pt x="405" y="214"/>
                  </a:cubicBezTo>
                  <a:cubicBezTo>
                    <a:pt x="400" y="217"/>
                    <a:pt x="395" y="222"/>
                    <a:pt x="390" y="229"/>
                  </a:cubicBezTo>
                  <a:cubicBezTo>
                    <a:pt x="377" y="249"/>
                    <a:pt x="372" y="267"/>
                    <a:pt x="369" y="288"/>
                  </a:cubicBezTo>
                  <a:cubicBezTo>
                    <a:pt x="350" y="283"/>
                    <a:pt x="332" y="283"/>
                    <a:pt x="313" y="285"/>
                  </a:cubicBezTo>
                  <a:lnTo>
                    <a:pt x="303" y="287"/>
                  </a:lnTo>
                  <a:cubicBezTo>
                    <a:pt x="273" y="288"/>
                    <a:pt x="270" y="290"/>
                    <a:pt x="248" y="270"/>
                  </a:cubicBezTo>
                  <a:cubicBezTo>
                    <a:pt x="220" y="245"/>
                    <a:pt x="189" y="257"/>
                    <a:pt x="164" y="267"/>
                  </a:cubicBezTo>
                  <a:cubicBezTo>
                    <a:pt x="156" y="270"/>
                    <a:pt x="148" y="273"/>
                    <a:pt x="138" y="27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73" name="Freeform 9">
              <a:extLst>
                <a:ext uri="{FF2B5EF4-FFF2-40B4-BE49-F238E27FC236}">
                  <a16:creationId xmlns:a16="http://schemas.microsoft.com/office/drawing/2014/main" id="{F5DCB37D-E51B-6D45-A0FA-68D6A883F0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6238" y="4246563"/>
              <a:ext cx="26987" cy="31750"/>
            </a:xfrm>
            <a:custGeom>
              <a:avLst/>
              <a:gdLst>
                <a:gd name="T0" fmla="*/ 74 w 77"/>
                <a:gd name="T1" fmla="*/ 42 h 88"/>
                <a:gd name="T2" fmla="*/ 76 w 77"/>
                <a:gd name="T3" fmla="*/ 51 h 88"/>
                <a:gd name="T4" fmla="*/ 72 w 77"/>
                <a:gd name="T5" fmla="*/ 87 h 88"/>
                <a:gd name="T6" fmla="*/ 28 w 77"/>
                <a:gd name="T7" fmla="*/ 70 h 88"/>
                <a:gd name="T8" fmla="*/ 0 w 77"/>
                <a:gd name="T9" fmla="*/ 57 h 88"/>
                <a:gd name="T10" fmla="*/ 18 w 77"/>
                <a:gd name="T11" fmla="*/ 8 h 88"/>
                <a:gd name="T12" fmla="*/ 25 w 77"/>
                <a:gd name="T13" fmla="*/ 0 h 88"/>
                <a:gd name="T14" fmla="*/ 33 w 77"/>
                <a:gd name="T15" fmla="*/ 8 h 88"/>
                <a:gd name="T16" fmla="*/ 69 w 77"/>
                <a:gd name="T17" fmla="*/ 37 h 88"/>
                <a:gd name="T18" fmla="*/ 74 w 77"/>
                <a:gd name="T19" fmla="*/ 4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88">
                  <a:moveTo>
                    <a:pt x="74" y="42"/>
                  </a:moveTo>
                  <a:cubicBezTo>
                    <a:pt x="76" y="44"/>
                    <a:pt x="74" y="49"/>
                    <a:pt x="76" y="51"/>
                  </a:cubicBezTo>
                  <a:cubicBezTo>
                    <a:pt x="74" y="62"/>
                    <a:pt x="74" y="75"/>
                    <a:pt x="72" y="87"/>
                  </a:cubicBezTo>
                  <a:cubicBezTo>
                    <a:pt x="58" y="84"/>
                    <a:pt x="44" y="77"/>
                    <a:pt x="28" y="70"/>
                  </a:cubicBezTo>
                  <a:cubicBezTo>
                    <a:pt x="20" y="64"/>
                    <a:pt x="10" y="61"/>
                    <a:pt x="0" y="57"/>
                  </a:cubicBezTo>
                  <a:cubicBezTo>
                    <a:pt x="3" y="39"/>
                    <a:pt x="6" y="24"/>
                    <a:pt x="18" y="8"/>
                  </a:cubicBezTo>
                  <a:cubicBezTo>
                    <a:pt x="20" y="5"/>
                    <a:pt x="21" y="3"/>
                    <a:pt x="25" y="0"/>
                  </a:cubicBezTo>
                  <a:cubicBezTo>
                    <a:pt x="28" y="3"/>
                    <a:pt x="30" y="6"/>
                    <a:pt x="33" y="8"/>
                  </a:cubicBezTo>
                  <a:lnTo>
                    <a:pt x="69" y="37"/>
                  </a:lnTo>
                  <a:cubicBezTo>
                    <a:pt x="71" y="39"/>
                    <a:pt x="74" y="41"/>
                    <a:pt x="74" y="4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74" name="Freeform 10">
              <a:extLst>
                <a:ext uri="{FF2B5EF4-FFF2-40B4-BE49-F238E27FC236}">
                  <a16:creationId xmlns:a16="http://schemas.microsoft.com/office/drawing/2014/main" id="{88ABA4CF-4402-4140-BAFF-94019A19FC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1163" y="3906838"/>
              <a:ext cx="98425" cy="90487"/>
            </a:xfrm>
            <a:custGeom>
              <a:avLst/>
              <a:gdLst>
                <a:gd name="T0" fmla="*/ 270 w 273"/>
                <a:gd name="T1" fmla="*/ 227 h 251"/>
                <a:gd name="T2" fmla="*/ 269 w 273"/>
                <a:gd name="T3" fmla="*/ 250 h 251"/>
                <a:gd name="T4" fmla="*/ 262 w 273"/>
                <a:gd name="T5" fmla="*/ 248 h 251"/>
                <a:gd name="T6" fmla="*/ 254 w 273"/>
                <a:gd name="T7" fmla="*/ 220 h 251"/>
                <a:gd name="T8" fmla="*/ 226 w 273"/>
                <a:gd name="T9" fmla="*/ 178 h 251"/>
                <a:gd name="T10" fmla="*/ 199 w 273"/>
                <a:gd name="T11" fmla="*/ 169 h 251"/>
                <a:gd name="T12" fmla="*/ 138 w 273"/>
                <a:gd name="T13" fmla="*/ 163 h 251"/>
                <a:gd name="T14" fmla="*/ 117 w 273"/>
                <a:gd name="T15" fmla="*/ 154 h 251"/>
                <a:gd name="T16" fmla="*/ 112 w 273"/>
                <a:gd name="T17" fmla="*/ 138 h 251"/>
                <a:gd name="T18" fmla="*/ 110 w 273"/>
                <a:gd name="T19" fmla="*/ 130 h 251"/>
                <a:gd name="T20" fmla="*/ 76 w 273"/>
                <a:gd name="T21" fmla="*/ 98 h 251"/>
                <a:gd name="T22" fmla="*/ 64 w 273"/>
                <a:gd name="T23" fmla="*/ 102 h 251"/>
                <a:gd name="T24" fmla="*/ 61 w 273"/>
                <a:gd name="T25" fmla="*/ 103 h 251"/>
                <a:gd name="T26" fmla="*/ 36 w 273"/>
                <a:gd name="T27" fmla="*/ 94 h 251"/>
                <a:gd name="T28" fmla="*/ 12 w 273"/>
                <a:gd name="T29" fmla="*/ 62 h 251"/>
                <a:gd name="T30" fmla="*/ 0 w 273"/>
                <a:gd name="T31" fmla="*/ 44 h 251"/>
                <a:gd name="T32" fmla="*/ 0 w 273"/>
                <a:gd name="T33" fmla="*/ 42 h 251"/>
                <a:gd name="T34" fmla="*/ 20 w 273"/>
                <a:gd name="T35" fmla="*/ 29 h 251"/>
                <a:gd name="T36" fmla="*/ 30 w 273"/>
                <a:gd name="T37" fmla="*/ 24 h 251"/>
                <a:gd name="T38" fmla="*/ 31 w 273"/>
                <a:gd name="T39" fmla="*/ 28 h 251"/>
                <a:gd name="T40" fmla="*/ 51 w 273"/>
                <a:gd name="T41" fmla="*/ 47 h 251"/>
                <a:gd name="T42" fmla="*/ 148 w 273"/>
                <a:gd name="T43" fmla="*/ 19 h 251"/>
                <a:gd name="T44" fmla="*/ 168 w 273"/>
                <a:gd name="T45" fmla="*/ 0 h 251"/>
                <a:gd name="T46" fmla="*/ 185 w 273"/>
                <a:gd name="T47" fmla="*/ 9 h 251"/>
                <a:gd name="T48" fmla="*/ 208 w 273"/>
                <a:gd name="T49" fmla="*/ 65 h 251"/>
                <a:gd name="T50" fmla="*/ 249 w 273"/>
                <a:gd name="T51" fmla="*/ 143 h 251"/>
                <a:gd name="T52" fmla="*/ 272 w 273"/>
                <a:gd name="T53" fmla="*/ 186 h 251"/>
                <a:gd name="T54" fmla="*/ 270 w 273"/>
                <a:gd name="T55" fmla="*/ 227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3" h="251">
                  <a:moveTo>
                    <a:pt x="270" y="227"/>
                  </a:moveTo>
                  <a:cubicBezTo>
                    <a:pt x="270" y="234"/>
                    <a:pt x="269" y="242"/>
                    <a:pt x="269" y="250"/>
                  </a:cubicBezTo>
                  <a:lnTo>
                    <a:pt x="262" y="248"/>
                  </a:lnTo>
                  <a:cubicBezTo>
                    <a:pt x="259" y="238"/>
                    <a:pt x="255" y="229"/>
                    <a:pt x="254" y="220"/>
                  </a:cubicBezTo>
                  <a:cubicBezTo>
                    <a:pt x="249" y="204"/>
                    <a:pt x="242" y="187"/>
                    <a:pt x="226" y="178"/>
                  </a:cubicBezTo>
                  <a:cubicBezTo>
                    <a:pt x="218" y="173"/>
                    <a:pt x="208" y="171"/>
                    <a:pt x="199" y="169"/>
                  </a:cubicBezTo>
                  <a:lnTo>
                    <a:pt x="138" y="163"/>
                  </a:lnTo>
                  <a:cubicBezTo>
                    <a:pt x="130" y="161"/>
                    <a:pt x="120" y="159"/>
                    <a:pt x="117" y="154"/>
                  </a:cubicBezTo>
                  <a:cubicBezTo>
                    <a:pt x="114" y="151"/>
                    <a:pt x="112" y="145"/>
                    <a:pt x="112" y="138"/>
                  </a:cubicBezTo>
                  <a:cubicBezTo>
                    <a:pt x="110" y="136"/>
                    <a:pt x="110" y="133"/>
                    <a:pt x="110" y="130"/>
                  </a:cubicBezTo>
                  <a:cubicBezTo>
                    <a:pt x="107" y="115"/>
                    <a:pt x="94" y="97"/>
                    <a:pt x="76" y="98"/>
                  </a:cubicBezTo>
                  <a:cubicBezTo>
                    <a:pt x="71" y="98"/>
                    <a:pt x="68" y="100"/>
                    <a:pt x="64" y="102"/>
                  </a:cubicBezTo>
                  <a:lnTo>
                    <a:pt x="61" y="103"/>
                  </a:lnTo>
                  <a:cubicBezTo>
                    <a:pt x="53" y="105"/>
                    <a:pt x="41" y="100"/>
                    <a:pt x="36" y="94"/>
                  </a:cubicBezTo>
                  <a:cubicBezTo>
                    <a:pt x="26" y="85"/>
                    <a:pt x="20" y="74"/>
                    <a:pt x="12" y="62"/>
                  </a:cubicBezTo>
                  <a:cubicBezTo>
                    <a:pt x="8" y="56"/>
                    <a:pt x="5" y="49"/>
                    <a:pt x="0" y="4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7" y="37"/>
                    <a:pt x="13" y="33"/>
                    <a:pt x="20" y="29"/>
                  </a:cubicBezTo>
                  <a:cubicBezTo>
                    <a:pt x="25" y="26"/>
                    <a:pt x="28" y="24"/>
                    <a:pt x="30" y="24"/>
                  </a:cubicBezTo>
                  <a:cubicBezTo>
                    <a:pt x="30" y="24"/>
                    <a:pt x="30" y="26"/>
                    <a:pt x="31" y="28"/>
                  </a:cubicBezTo>
                  <a:cubicBezTo>
                    <a:pt x="35" y="33"/>
                    <a:pt x="40" y="41"/>
                    <a:pt x="51" y="47"/>
                  </a:cubicBezTo>
                  <a:cubicBezTo>
                    <a:pt x="86" y="65"/>
                    <a:pt x="129" y="47"/>
                    <a:pt x="148" y="19"/>
                  </a:cubicBezTo>
                  <a:cubicBezTo>
                    <a:pt x="157" y="9"/>
                    <a:pt x="163" y="0"/>
                    <a:pt x="168" y="0"/>
                  </a:cubicBezTo>
                  <a:cubicBezTo>
                    <a:pt x="170" y="0"/>
                    <a:pt x="173" y="0"/>
                    <a:pt x="185" y="9"/>
                  </a:cubicBezTo>
                  <a:cubicBezTo>
                    <a:pt x="201" y="26"/>
                    <a:pt x="204" y="44"/>
                    <a:pt x="208" y="65"/>
                  </a:cubicBezTo>
                  <a:cubicBezTo>
                    <a:pt x="213" y="92"/>
                    <a:pt x="218" y="122"/>
                    <a:pt x="249" y="143"/>
                  </a:cubicBezTo>
                  <a:cubicBezTo>
                    <a:pt x="269" y="158"/>
                    <a:pt x="272" y="159"/>
                    <a:pt x="272" y="186"/>
                  </a:cubicBezTo>
                  <a:cubicBezTo>
                    <a:pt x="272" y="199"/>
                    <a:pt x="272" y="214"/>
                    <a:pt x="270" y="22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75" name="Freeform 11">
              <a:extLst>
                <a:ext uri="{FF2B5EF4-FFF2-40B4-BE49-F238E27FC236}">
                  <a16:creationId xmlns:a16="http://schemas.microsoft.com/office/drawing/2014/main" id="{35DF1C3C-5960-F845-8B0D-5E1A7C198A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3050" y="4260850"/>
              <a:ext cx="92075" cy="82550"/>
            </a:xfrm>
            <a:custGeom>
              <a:avLst/>
              <a:gdLst>
                <a:gd name="T0" fmla="*/ 161 w 255"/>
                <a:gd name="T1" fmla="*/ 224 h 230"/>
                <a:gd name="T2" fmla="*/ 130 w 255"/>
                <a:gd name="T3" fmla="*/ 223 h 230"/>
                <a:gd name="T4" fmla="*/ 61 w 255"/>
                <a:gd name="T5" fmla="*/ 188 h 230"/>
                <a:gd name="T6" fmla="*/ 25 w 255"/>
                <a:gd name="T7" fmla="*/ 180 h 230"/>
                <a:gd name="T8" fmla="*/ 10 w 255"/>
                <a:gd name="T9" fmla="*/ 130 h 230"/>
                <a:gd name="T10" fmla="*/ 16 w 255"/>
                <a:gd name="T11" fmla="*/ 92 h 230"/>
                <a:gd name="T12" fmla="*/ 2 w 255"/>
                <a:gd name="T13" fmla="*/ 31 h 230"/>
                <a:gd name="T14" fmla="*/ 34 w 255"/>
                <a:gd name="T15" fmla="*/ 26 h 230"/>
                <a:gd name="T16" fmla="*/ 64 w 255"/>
                <a:gd name="T17" fmla="*/ 17 h 230"/>
                <a:gd name="T18" fmla="*/ 122 w 255"/>
                <a:gd name="T19" fmla="*/ 15 h 230"/>
                <a:gd name="T20" fmla="*/ 194 w 255"/>
                <a:gd name="T21" fmla="*/ 36 h 230"/>
                <a:gd name="T22" fmla="*/ 206 w 255"/>
                <a:gd name="T23" fmla="*/ 36 h 230"/>
                <a:gd name="T24" fmla="*/ 254 w 255"/>
                <a:gd name="T25" fmla="*/ 38 h 230"/>
                <a:gd name="T26" fmla="*/ 245 w 255"/>
                <a:gd name="T27" fmla="*/ 56 h 230"/>
                <a:gd name="T28" fmla="*/ 242 w 255"/>
                <a:gd name="T29" fmla="*/ 64 h 230"/>
                <a:gd name="T30" fmla="*/ 234 w 255"/>
                <a:gd name="T31" fmla="*/ 89 h 230"/>
                <a:gd name="T32" fmla="*/ 229 w 255"/>
                <a:gd name="T33" fmla="*/ 143 h 230"/>
                <a:gd name="T34" fmla="*/ 224 w 255"/>
                <a:gd name="T35" fmla="*/ 191 h 230"/>
                <a:gd name="T36" fmla="*/ 161 w 255"/>
                <a:gd name="T37" fmla="*/ 22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5" h="230">
                  <a:moveTo>
                    <a:pt x="161" y="224"/>
                  </a:moveTo>
                  <a:cubicBezTo>
                    <a:pt x="151" y="224"/>
                    <a:pt x="142" y="223"/>
                    <a:pt x="130" y="223"/>
                  </a:cubicBezTo>
                  <a:cubicBezTo>
                    <a:pt x="109" y="198"/>
                    <a:pt x="84" y="193"/>
                    <a:pt x="61" y="188"/>
                  </a:cubicBezTo>
                  <a:cubicBezTo>
                    <a:pt x="49" y="186"/>
                    <a:pt x="38" y="185"/>
                    <a:pt x="25" y="180"/>
                  </a:cubicBezTo>
                  <a:cubicBezTo>
                    <a:pt x="0" y="170"/>
                    <a:pt x="2" y="158"/>
                    <a:pt x="10" y="130"/>
                  </a:cubicBezTo>
                  <a:cubicBezTo>
                    <a:pt x="13" y="119"/>
                    <a:pt x="16" y="106"/>
                    <a:pt x="16" y="92"/>
                  </a:cubicBezTo>
                  <a:cubicBezTo>
                    <a:pt x="16" y="69"/>
                    <a:pt x="10" y="51"/>
                    <a:pt x="2" y="31"/>
                  </a:cubicBezTo>
                  <a:cubicBezTo>
                    <a:pt x="13" y="31"/>
                    <a:pt x="23" y="30"/>
                    <a:pt x="34" y="26"/>
                  </a:cubicBezTo>
                  <a:cubicBezTo>
                    <a:pt x="44" y="25"/>
                    <a:pt x="54" y="20"/>
                    <a:pt x="64" y="17"/>
                  </a:cubicBezTo>
                  <a:cubicBezTo>
                    <a:pt x="89" y="7"/>
                    <a:pt x="105" y="0"/>
                    <a:pt x="122" y="15"/>
                  </a:cubicBezTo>
                  <a:cubicBezTo>
                    <a:pt x="150" y="40"/>
                    <a:pt x="161" y="40"/>
                    <a:pt x="194" y="36"/>
                  </a:cubicBezTo>
                  <a:lnTo>
                    <a:pt x="206" y="36"/>
                  </a:lnTo>
                  <a:cubicBezTo>
                    <a:pt x="222" y="35"/>
                    <a:pt x="239" y="35"/>
                    <a:pt x="254" y="38"/>
                  </a:cubicBezTo>
                  <a:cubicBezTo>
                    <a:pt x="252" y="43"/>
                    <a:pt x="249" y="50"/>
                    <a:pt x="245" y="56"/>
                  </a:cubicBezTo>
                  <a:cubicBezTo>
                    <a:pt x="245" y="59"/>
                    <a:pt x="244" y="63"/>
                    <a:pt x="242" y="64"/>
                  </a:cubicBezTo>
                  <a:cubicBezTo>
                    <a:pt x="239" y="71"/>
                    <a:pt x="235" y="78"/>
                    <a:pt x="234" y="89"/>
                  </a:cubicBezTo>
                  <a:cubicBezTo>
                    <a:pt x="231" y="107"/>
                    <a:pt x="229" y="125"/>
                    <a:pt x="229" y="143"/>
                  </a:cubicBezTo>
                  <a:cubicBezTo>
                    <a:pt x="227" y="160"/>
                    <a:pt x="227" y="176"/>
                    <a:pt x="224" y="191"/>
                  </a:cubicBezTo>
                  <a:cubicBezTo>
                    <a:pt x="217" y="229"/>
                    <a:pt x="201" y="229"/>
                    <a:pt x="161" y="224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76" name="Freeform 12">
              <a:extLst>
                <a:ext uri="{FF2B5EF4-FFF2-40B4-BE49-F238E27FC236}">
                  <a16:creationId xmlns:a16="http://schemas.microsoft.com/office/drawing/2014/main" id="{EEC63C1B-FD9C-9140-9F82-567B208D40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0200" y="4276725"/>
              <a:ext cx="188913" cy="153988"/>
            </a:xfrm>
            <a:custGeom>
              <a:avLst/>
              <a:gdLst>
                <a:gd name="T0" fmla="*/ 524 w 526"/>
                <a:gd name="T1" fmla="*/ 217 h 429"/>
                <a:gd name="T2" fmla="*/ 509 w 526"/>
                <a:gd name="T3" fmla="*/ 243 h 429"/>
                <a:gd name="T4" fmla="*/ 492 w 526"/>
                <a:gd name="T5" fmla="*/ 245 h 429"/>
                <a:gd name="T6" fmla="*/ 468 w 526"/>
                <a:gd name="T7" fmla="*/ 248 h 429"/>
                <a:gd name="T8" fmla="*/ 426 w 526"/>
                <a:gd name="T9" fmla="*/ 270 h 429"/>
                <a:gd name="T10" fmla="*/ 423 w 526"/>
                <a:gd name="T11" fmla="*/ 271 h 429"/>
                <a:gd name="T12" fmla="*/ 393 w 526"/>
                <a:gd name="T13" fmla="*/ 309 h 429"/>
                <a:gd name="T14" fmla="*/ 379 w 526"/>
                <a:gd name="T15" fmla="*/ 332 h 429"/>
                <a:gd name="T16" fmla="*/ 372 w 526"/>
                <a:gd name="T17" fmla="*/ 342 h 429"/>
                <a:gd name="T18" fmla="*/ 352 w 526"/>
                <a:gd name="T19" fmla="*/ 365 h 429"/>
                <a:gd name="T20" fmla="*/ 341 w 526"/>
                <a:gd name="T21" fmla="*/ 392 h 429"/>
                <a:gd name="T22" fmla="*/ 331 w 526"/>
                <a:gd name="T23" fmla="*/ 416 h 429"/>
                <a:gd name="T24" fmla="*/ 301 w 526"/>
                <a:gd name="T25" fmla="*/ 415 h 429"/>
                <a:gd name="T26" fmla="*/ 283 w 526"/>
                <a:gd name="T27" fmla="*/ 403 h 429"/>
                <a:gd name="T28" fmla="*/ 234 w 526"/>
                <a:gd name="T29" fmla="*/ 406 h 429"/>
                <a:gd name="T30" fmla="*/ 216 w 526"/>
                <a:gd name="T31" fmla="*/ 415 h 429"/>
                <a:gd name="T32" fmla="*/ 155 w 526"/>
                <a:gd name="T33" fmla="*/ 410 h 429"/>
                <a:gd name="T34" fmla="*/ 123 w 526"/>
                <a:gd name="T35" fmla="*/ 405 h 429"/>
                <a:gd name="T36" fmla="*/ 120 w 526"/>
                <a:gd name="T37" fmla="*/ 403 h 429"/>
                <a:gd name="T38" fmla="*/ 100 w 526"/>
                <a:gd name="T39" fmla="*/ 362 h 429"/>
                <a:gd name="T40" fmla="*/ 87 w 526"/>
                <a:gd name="T41" fmla="*/ 336 h 429"/>
                <a:gd name="T42" fmla="*/ 82 w 526"/>
                <a:gd name="T43" fmla="*/ 308 h 429"/>
                <a:gd name="T44" fmla="*/ 49 w 526"/>
                <a:gd name="T45" fmla="*/ 250 h 429"/>
                <a:gd name="T46" fmla="*/ 0 w 526"/>
                <a:gd name="T47" fmla="*/ 206 h 429"/>
                <a:gd name="T48" fmla="*/ 3 w 526"/>
                <a:gd name="T49" fmla="*/ 206 h 429"/>
                <a:gd name="T50" fmla="*/ 95 w 526"/>
                <a:gd name="T51" fmla="*/ 151 h 429"/>
                <a:gd name="T52" fmla="*/ 100 w 526"/>
                <a:gd name="T53" fmla="*/ 100 h 429"/>
                <a:gd name="T54" fmla="*/ 105 w 526"/>
                <a:gd name="T55" fmla="*/ 49 h 429"/>
                <a:gd name="T56" fmla="*/ 112 w 526"/>
                <a:gd name="T57" fmla="*/ 31 h 429"/>
                <a:gd name="T58" fmla="*/ 115 w 526"/>
                <a:gd name="T59" fmla="*/ 23 h 429"/>
                <a:gd name="T60" fmla="*/ 125 w 526"/>
                <a:gd name="T61" fmla="*/ 0 h 429"/>
                <a:gd name="T62" fmla="*/ 148 w 526"/>
                <a:gd name="T63" fmla="*/ 9 h 429"/>
                <a:gd name="T64" fmla="*/ 197 w 526"/>
                <a:gd name="T65" fmla="*/ 28 h 429"/>
                <a:gd name="T66" fmla="*/ 224 w 526"/>
                <a:gd name="T67" fmla="*/ 31 h 429"/>
                <a:gd name="T68" fmla="*/ 240 w 526"/>
                <a:gd name="T69" fmla="*/ 31 h 429"/>
                <a:gd name="T70" fmla="*/ 272 w 526"/>
                <a:gd name="T71" fmla="*/ 21 h 429"/>
                <a:gd name="T72" fmla="*/ 308 w 526"/>
                <a:gd name="T73" fmla="*/ 19 h 429"/>
                <a:gd name="T74" fmla="*/ 323 w 526"/>
                <a:gd name="T75" fmla="*/ 33 h 429"/>
                <a:gd name="T76" fmla="*/ 365 w 526"/>
                <a:gd name="T77" fmla="*/ 52 h 429"/>
                <a:gd name="T78" fmla="*/ 384 w 526"/>
                <a:gd name="T79" fmla="*/ 56 h 429"/>
                <a:gd name="T80" fmla="*/ 407 w 526"/>
                <a:gd name="T81" fmla="*/ 72 h 429"/>
                <a:gd name="T82" fmla="*/ 407 w 526"/>
                <a:gd name="T83" fmla="*/ 74 h 429"/>
                <a:gd name="T84" fmla="*/ 420 w 526"/>
                <a:gd name="T85" fmla="*/ 92 h 429"/>
                <a:gd name="T86" fmla="*/ 433 w 526"/>
                <a:gd name="T87" fmla="*/ 103 h 429"/>
                <a:gd name="T88" fmla="*/ 446 w 526"/>
                <a:gd name="T89" fmla="*/ 118 h 429"/>
                <a:gd name="T90" fmla="*/ 446 w 526"/>
                <a:gd name="T91" fmla="*/ 131 h 429"/>
                <a:gd name="T92" fmla="*/ 446 w 526"/>
                <a:gd name="T93" fmla="*/ 154 h 429"/>
                <a:gd name="T94" fmla="*/ 492 w 526"/>
                <a:gd name="T95" fmla="*/ 186 h 429"/>
                <a:gd name="T96" fmla="*/ 515 w 526"/>
                <a:gd name="T97" fmla="*/ 191 h 429"/>
                <a:gd name="T98" fmla="*/ 524 w 526"/>
                <a:gd name="T99" fmla="*/ 21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26" h="429">
                  <a:moveTo>
                    <a:pt x="524" y="217"/>
                  </a:moveTo>
                  <a:cubicBezTo>
                    <a:pt x="522" y="230"/>
                    <a:pt x="515" y="240"/>
                    <a:pt x="509" y="243"/>
                  </a:cubicBezTo>
                  <a:cubicBezTo>
                    <a:pt x="504" y="245"/>
                    <a:pt x="499" y="245"/>
                    <a:pt x="492" y="245"/>
                  </a:cubicBezTo>
                  <a:cubicBezTo>
                    <a:pt x="484" y="245"/>
                    <a:pt x="476" y="245"/>
                    <a:pt x="468" y="248"/>
                  </a:cubicBezTo>
                  <a:cubicBezTo>
                    <a:pt x="454" y="252"/>
                    <a:pt x="438" y="263"/>
                    <a:pt x="426" y="270"/>
                  </a:cubicBezTo>
                  <a:lnTo>
                    <a:pt x="423" y="271"/>
                  </a:lnTo>
                  <a:cubicBezTo>
                    <a:pt x="405" y="283"/>
                    <a:pt x="398" y="298"/>
                    <a:pt x="393" y="309"/>
                  </a:cubicBezTo>
                  <a:cubicBezTo>
                    <a:pt x="390" y="318"/>
                    <a:pt x="385" y="326"/>
                    <a:pt x="379" y="332"/>
                  </a:cubicBezTo>
                  <a:cubicBezTo>
                    <a:pt x="377" y="336"/>
                    <a:pt x="374" y="339"/>
                    <a:pt x="372" y="342"/>
                  </a:cubicBezTo>
                  <a:cubicBezTo>
                    <a:pt x="365" y="349"/>
                    <a:pt x="359" y="357"/>
                    <a:pt x="352" y="365"/>
                  </a:cubicBezTo>
                  <a:cubicBezTo>
                    <a:pt x="347" y="374"/>
                    <a:pt x="344" y="382"/>
                    <a:pt x="341" y="392"/>
                  </a:cubicBezTo>
                  <a:cubicBezTo>
                    <a:pt x="337" y="402"/>
                    <a:pt x="334" y="411"/>
                    <a:pt x="331" y="416"/>
                  </a:cubicBezTo>
                  <a:cubicBezTo>
                    <a:pt x="321" y="428"/>
                    <a:pt x="316" y="425"/>
                    <a:pt x="301" y="415"/>
                  </a:cubicBezTo>
                  <a:cubicBezTo>
                    <a:pt x="295" y="410"/>
                    <a:pt x="290" y="406"/>
                    <a:pt x="283" y="403"/>
                  </a:cubicBezTo>
                  <a:cubicBezTo>
                    <a:pt x="260" y="392"/>
                    <a:pt x="247" y="400"/>
                    <a:pt x="234" y="406"/>
                  </a:cubicBezTo>
                  <a:cubicBezTo>
                    <a:pt x="229" y="411"/>
                    <a:pt x="222" y="415"/>
                    <a:pt x="216" y="415"/>
                  </a:cubicBezTo>
                  <a:cubicBezTo>
                    <a:pt x="197" y="416"/>
                    <a:pt x="176" y="413"/>
                    <a:pt x="155" y="410"/>
                  </a:cubicBezTo>
                  <a:cubicBezTo>
                    <a:pt x="143" y="408"/>
                    <a:pt x="133" y="405"/>
                    <a:pt x="123" y="405"/>
                  </a:cubicBezTo>
                  <a:lnTo>
                    <a:pt x="120" y="403"/>
                  </a:lnTo>
                  <a:cubicBezTo>
                    <a:pt x="118" y="388"/>
                    <a:pt x="108" y="375"/>
                    <a:pt x="100" y="362"/>
                  </a:cubicBezTo>
                  <a:cubicBezTo>
                    <a:pt x="95" y="354"/>
                    <a:pt x="89" y="344"/>
                    <a:pt x="87" y="336"/>
                  </a:cubicBezTo>
                  <a:cubicBezTo>
                    <a:pt x="84" y="326"/>
                    <a:pt x="82" y="316"/>
                    <a:pt x="82" y="308"/>
                  </a:cubicBezTo>
                  <a:cubicBezTo>
                    <a:pt x="80" y="288"/>
                    <a:pt x="79" y="268"/>
                    <a:pt x="49" y="250"/>
                  </a:cubicBezTo>
                  <a:cubicBezTo>
                    <a:pt x="29" y="235"/>
                    <a:pt x="15" y="220"/>
                    <a:pt x="0" y="206"/>
                  </a:cubicBezTo>
                  <a:lnTo>
                    <a:pt x="3" y="206"/>
                  </a:lnTo>
                  <a:cubicBezTo>
                    <a:pt x="39" y="210"/>
                    <a:pt x="84" y="215"/>
                    <a:pt x="95" y="151"/>
                  </a:cubicBezTo>
                  <a:cubicBezTo>
                    <a:pt x="97" y="133"/>
                    <a:pt x="99" y="117"/>
                    <a:pt x="100" y="100"/>
                  </a:cubicBezTo>
                  <a:cubicBezTo>
                    <a:pt x="100" y="82"/>
                    <a:pt x="102" y="65"/>
                    <a:pt x="105" y="49"/>
                  </a:cubicBezTo>
                  <a:cubicBezTo>
                    <a:pt x="105" y="41"/>
                    <a:pt x="108" y="37"/>
                    <a:pt x="112" y="31"/>
                  </a:cubicBezTo>
                  <a:cubicBezTo>
                    <a:pt x="112" y="28"/>
                    <a:pt x="113" y="26"/>
                    <a:pt x="115" y="23"/>
                  </a:cubicBezTo>
                  <a:cubicBezTo>
                    <a:pt x="118" y="14"/>
                    <a:pt x="122" y="6"/>
                    <a:pt x="125" y="0"/>
                  </a:cubicBezTo>
                  <a:cubicBezTo>
                    <a:pt x="133" y="3"/>
                    <a:pt x="140" y="6"/>
                    <a:pt x="148" y="9"/>
                  </a:cubicBezTo>
                  <a:cubicBezTo>
                    <a:pt x="164" y="18"/>
                    <a:pt x="181" y="26"/>
                    <a:pt x="197" y="28"/>
                  </a:cubicBezTo>
                  <a:cubicBezTo>
                    <a:pt x="207" y="31"/>
                    <a:pt x="216" y="31"/>
                    <a:pt x="224" y="31"/>
                  </a:cubicBezTo>
                  <a:cubicBezTo>
                    <a:pt x="229" y="31"/>
                    <a:pt x="235" y="31"/>
                    <a:pt x="240" y="31"/>
                  </a:cubicBezTo>
                  <a:cubicBezTo>
                    <a:pt x="252" y="29"/>
                    <a:pt x="262" y="24"/>
                    <a:pt x="272" y="21"/>
                  </a:cubicBezTo>
                  <a:cubicBezTo>
                    <a:pt x="290" y="13"/>
                    <a:pt x="298" y="9"/>
                    <a:pt x="308" y="19"/>
                  </a:cubicBezTo>
                  <a:cubicBezTo>
                    <a:pt x="314" y="23"/>
                    <a:pt x="319" y="28"/>
                    <a:pt x="323" y="33"/>
                  </a:cubicBezTo>
                  <a:cubicBezTo>
                    <a:pt x="331" y="42"/>
                    <a:pt x="341" y="51"/>
                    <a:pt x="365" y="52"/>
                  </a:cubicBezTo>
                  <a:cubicBezTo>
                    <a:pt x="374" y="52"/>
                    <a:pt x="379" y="54"/>
                    <a:pt x="384" y="56"/>
                  </a:cubicBezTo>
                  <a:cubicBezTo>
                    <a:pt x="393" y="57"/>
                    <a:pt x="397" y="62"/>
                    <a:pt x="407" y="72"/>
                  </a:cubicBezTo>
                  <a:lnTo>
                    <a:pt x="407" y="74"/>
                  </a:lnTo>
                  <a:lnTo>
                    <a:pt x="420" y="92"/>
                  </a:lnTo>
                  <a:cubicBezTo>
                    <a:pt x="423" y="95"/>
                    <a:pt x="428" y="100"/>
                    <a:pt x="433" y="103"/>
                  </a:cubicBezTo>
                  <a:cubicBezTo>
                    <a:pt x="438" y="108"/>
                    <a:pt x="445" y="113"/>
                    <a:pt x="446" y="118"/>
                  </a:cubicBezTo>
                  <a:cubicBezTo>
                    <a:pt x="448" y="121"/>
                    <a:pt x="448" y="125"/>
                    <a:pt x="446" y="131"/>
                  </a:cubicBezTo>
                  <a:cubicBezTo>
                    <a:pt x="445" y="138"/>
                    <a:pt x="443" y="146"/>
                    <a:pt x="446" y="154"/>
                  </a:cubicBezTo>
                  <a:cubicBezTo>
                    <a:pt x="454" y="182"/>
                    <a:pt x="478" y="184"/>
                    <a:pt x="492" y="186"/>
                  </a:cubicBezTo>
                  <a:cubicBezTo>
                    <a:pt x="502" y="186"/>
                    <a:pt x="510" y="186"/>
                    <a:pt x="515" y="191"/>
                  </a:cubicBezTo>
                  <a:cubicBezTo>
                    <a:pt x="522" y="194"/>
                    <a:pt x="525" y="206"/>
                    <a:pt x="524" y="21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77" name="Freeform 13">
              <a:extLst>
                <a:ext uri="{FF2B5EF4-FFF2-40B4-BE49-F238E27FC236}">
                  <a16:creationId xmlns:a16="http://schemas.microsoft.com/office/drawing/2014/main" id="{E5D93FBA-A309-9640-917F-CD5FCC554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5275" y="3906838"/>
              <a:ext cx="258763" cy="381000"/>
            </a:xfrm>
            <a:custGeom>
              <a:avLst/>
              <a:gdLst>
                <a:gd name="T0" fmla="*/ 621 w 720"/>
                <a:gd name="T1" fmla="*/ 550 h 1060"/>
                <a:gd name="T2" fmla="*/ 639 w 720"/>
                <a:gd name="T3" fmla="*/ 589 h 1060"/>
                <a:gd name="T4" fmla="*/ 710 w 720"/>
                <a:gd name="T5" fmla="*/ 764 h 1060"/>
                <a:gd name="T6" fmla="*/ 713 w 720"/>
                <a:gd name="T7" fmla="*/ 866 h 1060"/>
                <a:gd name="T8" fmla="*/ 655 w 720"/>
                <a:gd name="T9" fmla="*/ 892 h 1060"/>
                <a:gd name="T10" fmla="*/ 563 w 720"/>
                <a:gd name="T11" fmla="*/ 879 h 1060"/>
                <a:gd name="T12" fmla="*/ 540 w 720"/>
                <a:gd name="T13" fmla="*/ 958 h 1060"/>
                <a:gd name="T14" fmla="*/ 471 w 720"/>
                <a:gd name="T15" fmla="*/ 952 h 1060"/>
                <a:gd name="T16" fmla="*/ 500 w 720"/>
                <a:gd name="T17" fmla="*/ 1019 h 1060"/>
                <a:gd name="T18" fmla="*/ 489 w 720"/>
                <a:gd name="T19" fmla="*/ 1059 h 1060"/>
                <a:gd name="T20" fmla="*/ 421 w 720"/>
                <a:gd name="T21" fmla="*/ 1026 h 1060"/>
                <a:gd name="T22" fmla="*/ 326 w 720"/>
                <a:gd name="T23" fmla="*/ 1033 h 1060"/>
                <a:gd name="T24" fmla="*/ 313 w 720"/>
                <a:gd name="T25" fmla="*/ 960 h 1060"/>
                <a:gd name="T26" fmla="*/ 289 w 720"/>
                <a:gd name="T27" fmla="*/ 879 h 1060"/>
                <a:gd name="T28" fmla="*/ 257 w 720"/>
                <a:gd name="T29" fmla="*/ 846 h 1060"/>
                <a:gd name="T30" fmla="*/ 197 w 720"/>
                <a:gd name="T31" fmla="*/ 817 h 1060"/>
                <a:gd name="T32" fmla="*/ 140 w 720"/>
                <a:gd name="T33" fmla="*/ 779 h 1060"/>
                <a:gd name="T34" fmla="*/ 115 w 720"/>
                <a:gd name="T35" fmla="*/ 754 h 1060"/>
                <a:gd name="T36" fmla="*/ 16 w 720"/>
                <a:gd name="T37" fmla="*/ 685 h 1060"/>
                <a:gd name="T38" fmla="*/ 13 w 720"/>
                <a:gd name="T39" fmla="*/ 609 h 1060"/>
                <a:gd name="T40" fmla="*/ 11 w 720"/>
                <a:gd name="T41" fmla="*/ 565 h 1060"/>
                <a:gd name="T42" fmla="*/ 61 w 720"/>
                <a:gd name="T43" fmla="*/ 523 h 1060"/>
                <a:gd name="T44" fmla="*/ 57 w 720"/>
                <a:gd name="T45" fmla="*/ 487 h 1060"/>
                <a:gd name="T46" fmla="*/ 24 w 720"/>
                <a:gd name="T47" fmla="*/ 423 h 1060"/>
                <a:gd name="T48" fmla="*/ 1 w 720"/>
                <a:gd name="T49" fmla="*/ 369 h 1060"/>
                <a:gd name="T50" fmla="*/ 9 w 720"/>
                <a:gd name="T51" fmla="*/ 311 h 1060"/>
                <a:gd name="T52" fmla="*/ 59 w 720"/>
                <a:gd name="T53" fmla="*/ 291 h 1060"/>
                <a:gd name="T54" fmla="*/ 92 w 720"/>
                <a:gd name="T55" fmla="*/ 235 h 1060"/>
                <a:gd name="T56" fmla="*/ 79 w 720"/>
                <a:gd name="T57" fmla="*/ 202 h 1060"/>
                <a:gd name="T58" fmla="*/ 95 w 720"/>
                <a:gd name="T59" fmla="*/ 140 h 1060"/>
                <a:gd name="T60" fmla="*/ 67 w 720"/>
                <a:gd name="T61" fmla="*/ 103 h 1060"/>
                <a:gd name="T62" fmla="*/ 95 w 720"/>
                <a:gd name="T63" fmla="*/ 51 h 1060"/>
                <a:gd name="T64" fmla="*/ 138 w 720"/>
                <a:gd name="T65" fmla="*/ 16 h 1060"/>
                <a:gd name="T66" fmla="*/ 224 w 720"/>
                <a:gd name="T67" fmla="*/ 23 h 1060"/>
                <a:gd name="T68" fmla="*/ 252 w 720"/>
                <a:gd name="T69" fmla="*/ 11 h 1060"/>
                <a:gd name="T70" fmla="*/ 303 w 720"/>
                <a:gd name="T71" fmla="*/ 59 h 1060"/>
                <a:gd name="T72" fmla="*/ 341 w 720"/>
                <a:gd name="T73" fmla="*/ 113 h 1060"/>
                <a:gd name="T74" fmla="*/ 402 w 720"/>
                <a:gd name="T75" fmla="*/ 125 h 1060"/>
                <a:gd name="T76" fmla="*/ 420 w 720"/>
                <a:gd name="T77" fmla="*/ 171 h 1060"/>
                <a:gd name="T78" fmla="*/ 537 w 720"/>
                <a:gd name="T79" fmla="*/ 201 h 1060"/>
                <a:gd name="T80" fmla="*/ 565 w 720"/>
                <a:gd name="T81" fmla="*/ 273 h 1060"/>
                <a:gd name="T82" fmla="*/ 573 w 720"/>
                <a:gd name="T83" fmla="*/ 309 h 1060"/>
                <a:gd name="T84" fmla="*/ 624 w 720"/>
                <a:gd name="T85" fmla="*/ 387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20" h="1060">
                  <a:moveTo>
                    <a:pt x="614" y="467"/>
                  </a:moveTo>
                  <a:cubicBezTo>
                    <a:pt x="611" y="489"/>
                    <a:pt x="607" y="515"/>
                    <a:pt x="617" y="540"/>
                  </a:cubicBezTo>
                  <a:cubicBezTo>
                    <a:pt x="617" y="543"/>
                    <a:pt x="619" y="547"/>
                    <a:pt x="621" y="550"/>
                  </a:cubicBezTo>
                  <a:cubicBezTo>
                    <a:pt x="622" y="555"/>
                    <a:pt x="626" y="558"/>
                    <a:pt x="626" y="565"/>
                  </a:cubicBezTo>
                  <a:cubicBezTo>
                    <a:pt x="627" y="568"/>
                    <a:pt x="627" y="571"/>
                    <a:pt x="629" y="576"/>
                  </a:cubicBezTo>
                  <a:cubicBezTo>
                    <a:pt x="631" y="581"/>
                    <a:pt x="635" y="586"/>
                    <a:pt x="639" y="589"/>
                  </a:cubicBezTo>
                  <a:cubicBezTo>
                    <a:pt x="660" y="614"/>
                    <a:pt x="677" y="645"/>
                    <a:pt x="683" y="678"/>
                  </a:cubicBezTo>
                  <a:cubicBezTo>
                    <a:pt x="688" y="698"/>
                    <a:pt x="695" y="729"/>
                    <a:pt x="706" y="756"/>
                  </a:cubicBezTo>
                  <a:lnTo>
                    <a:pt x="710" y="764"/>
                  </a:lnTo>
                  <a:cubicBezTo>
                    <a:pt x="715" y="774"/>
                    <a:pt x="718" y="784"/>
                    <a:pt x="719" y="794"/>
                  </a:cubicBezTo>
                  <a:cubicBezTo>
                    <a:pt x="719" y="800"/>
                    <a:pt x="718" y="805"/>
                    <a:pt x="718" y="812"/>
                  </a:cubicBezTo>
                  <a:lnTo>
                    <a:pt x="713" y="866"/>
                  </a:lnTo>
                  <a:cubicBezTo>
                    <a:pt x="706" y="866"/>
                    <a:pt x="698" y="868"/>
                    <a:pt x="691" y="873"/>
                  </a:cubicBezTo>
                  <a:cubicBezTo>
                    <a:pt x="683" y="876"/>
                    <a:pt x="678" y="879"/>
                    <a:pt x="672" y="883"/>
                  </a:cubicBezTo>
                  <a:cubicBezTo>
                    <a:pt x="667" y="888"/>
                    <a:pt x="662" y="891"/>
                    <a:pt x="655" y="892"/>
                  </a:cubicBezTo>
                  <a:cubicBezTo>
                    <a:pt x="644" y="896"/>
                    <a:pt x="624" y="899"/>
                    <a:pt x="616" y="897"/>
                  </a:cubicBezTo>
                  <a:cubicBezTo>
                    <a:pt x="611" y="896"/>
                    <a:pt x="607" y="892"/>
                    <a:pt x="603" y="889"/>
                  </a:cubicBezTo>
                  <a:cubicBezTo>
                    <a:pt x="593" y="883"/>
                    <a:pt x="578" y="874"/>
                    <a:pt x="563" y="879"/>
                  </a:cubicBezTo>
                  <a:cubicBezTo>
                    <a:pt x="548" y="883"/>
                    <a:pt x="532" y="896"/>
                    <a:pt x="537" y="930"/>
                  </a:cubicBezTo>
                  <a:cubicBezTo>
                    <a:pt x="537" y="937"/>
                    <a:pt x="540" y="942"/>
                    <a:pt x="542" y="947"/>
                  </a:cubicBezTo>
                  <a:cubicBezTo>
                    <a:pt x="545" y="955"/>
                    <a:pt x="545" y="955"/>
                    <a:pt x="540" y="958"/>
                  </a:cubicBezTo>
                  <a:cubicBezTo>
                    <a:pt x="535" y="962"/>
                    <a:pt x="535" y="962"/>
                    <a:pt x="527" y="955"/>
                  </a:cubicBezTo>
                  <a:cubicBezTo>
                    <a:pt x="522" y="952"/>
                    <a:pt x="515" y="947"/>
                    <a:pt x="505" y="945"/>
                  </a:cubicBezTo>
                  <a:cubicBezTo>
                    <a:pt x="492" y="942"/>
                    <a:pt x="479" y="945"/>
                    <a:pt x="471" y="952"/>
                  </a:cubicBezTo>
                  <a:cubicBezTo>
                    <a:pt x="466" y="957"/>
                    <a:pt x="459" y="965"/>
                    <a:pt x="461" y="980"/>
                  </a:cubicBezTo>
                  <a:cubicBezTo>
                    <a:pt x="462" y="1001"/>
                    <a:pt x="479" y="1008"/>
                    <a:pt x="489" y="1013"/>
                  </a:cubicBezTo>
                  <a:cubicBezTo>
                    <a:pt x="494" y="1014"/>
                    <a:pt x="499" y="1016"/>
                    <a:pt x="500" y="1019"/>
                  </a:cubicBezTo>
                  <a:cubicBezTo>
                    <a:pt x="504" y="1026"/>
                    <a:pt x="502" y="1029"/>
                    <a:pt x="495" y="1044"/>
                  </a:cubicBezTo>
                  <a:cubicBezTo>
                    <a:pt x="494" y="1047"/>
                    <a:pt x="490" y="1052"/>
                    <a:pt x="489" y="1056"/>
                  </a:cubicBezTo>
                  <a:cubicBezTo>
                    <a:pt x="489" y="1057"/>
                    <a:pt x="489" y="1057"/>
                    <a:pt x="489" y="1059"/>
                  </a:cubicBezTo>
                  <a:cubicBezTo>
                    <a:pt x="482" y="1056"/>
                    <a:pt x="474" y="1056"/>
                    <a:pt x="464" y="1054"/>
                  </a:cubicBezTo>
                  <a:cubicBezTo>
                    <a:pt x="449" y="1054"/>
                    <a:pt x="446" y="1051"/>
                    <a:pt x="439" y="1042"/>
                  </a:cubicBezTo>
                  <a:cubicBezTo>
                    <a:pt x="434" y="1037"/>
                    <a:pt x="430" y="1033"/>
                    <a:pt x="421" y="1026"/>
                  </a:cubicBezTo>
                  <a:cubicBezTo>
                    <a:pt x="398" y="1008"/>
                    <a:pt x="375" y="1018"/>
                    <a:pt x="359" y="1024"/>
                  </a:cubicBezTo>
                  <a:cubicBezTo>
                    <a:pt x="350" y="1028"/>
                    <a:pt x="342" y="1031"/>
                    <a:pt x="334" y="1033"/>
                  </a:cubicBezTo>
                  <a:cubicBezTo>
                    <a:pt x="331" y="1033"/>
                    <a:pt x="327" y="1033"/>
                    <a:pt x="326" y="1033"/>
                  </a:cubicBezTo>
                  <a:cubicBezTo>
                    <a:pt x="326" y="1021"/>
                    <a:pt x="327" y="1008"/>
                    <a:pt x="327" y="996"/>
                  </a:cubicBezTo>
                  <a:cubicBezTo>
                    <a:pt x="329" y="990"/>
                    <a:pt x="329" y="981"/>
                    <a:pt x="324" y="975"/>
                  </a:cubicBezTo>
                  <a:cubicBezTo>
                    <a:pt x="321" y="968"/>
                    <a:pt x="316" y="963"/>
                    <a:pt x="313" y="960"/>
                  </a:cubicBezTo>
                  <a:lnTo>
                    <a:pt x="276" y="932"/>
                  </a:lnTo>
                  <a:cubicBezTo>
                    <a:pt x="276" y="930"/>
                    <a:pt x="275" y="930"/>
                    <a:pt x="273" y="929"/>
                  </a:cubicBezTo>
                  <a:cubicBezTo>
                    <a:pt x="288" y="917"/>
                    <a:pt x="299" y="897"/>
                    <a:pt x="289" y="879"/>
                  </a:cubicBezTo>
                  <a:cubicBezTo>
                    <a:pt x="286" y="873"/>
                    <a:pt x="280" y="868"/>
                    <a:pt x="275" y="864"/>
                  </a:cubicBezTo>
                  <a:lnTo>
                    <a:pt x="271" y="863"/>
                  </a:lnTo>
                  <a:cubicBezTo>
                    <a:pt x="265" y="858"/>
                    <a:pt x="260" y="853"/>
                    <a:pt x="257" y="846"/>
                  </a:cubicBezTo>
                  <a:cubicBezTo>
                    <a:pt x="257" y="845"/>
                    <a:pt x="257" y="843"/>
                    <a:pt x="255" y="841"/>
                  </a:cubicBezTo>
                  <a:cubicBezTo>
                    <a:pt x="252" y="833"/>
                    <a:pt x="247" y="823"/>
                    <a:pt x="237" y="817"/>
                  </a:cubicBezTo>
                  <a:cubicBezTo>
                    <a:pt x="224" y="808"/>
                    <a:pt x="209" y="813"/>
                    <a:pt x="197" y="817"/>
                  </a:cubicBezTo>
                  <a:cubicBezTo>
                    <a:pt x="191" y="818"/>
                    <a:pt x="184" y="820"/>
                    <a:pt x="179" y="820"/>
                  </a:cubicBezTo>
                  <a:cubicBezTo>
                    <a:pt x="173" y="818"/>
                    <a:pt x="169" y="812"/>
                    <a:pt x="163" y="804"/>
                  </a:cubicBezTo>
                  <a:cubicBezTo>
                    <a:pt x="158" y="795"/>
                    <a:pt x="151" y="785"/>
                    <a:pt x="140" y="779"/>
                  </a:cubicBezTo>
                  <a:cubicBezTo>
                    <a:pt x="136" y="777"/>
                    <a:pt x="131" y="776"/>
                    <a:pt x="126" y="774"/>
                  </a:cubicBezTo>
                  <a:cubicBezTo>
                    <a:pt x="123" y="772"/>
                    <a:pt x="118" y="771"/>
                    <a:pt x="117" y="769"/>
                  </a:cubicBezTo>
                  <a:cubicBezTo>
                    <a:pt x="115" y="767"/>
                    <a:pt x="113" y="761"/>
                    <a:pt x="115" y="754"/>
                  </a:cubicBezTo>
                  <a:cubicBezTo>
                    <a:pt x="113" y="744"/>
                    <a:pt x="113" y="731"/>
                    <a:pt x="105" y="721"/>
                  </a:cubicBezTo>
                  <a:cubicBezTo>
                    <a:pt x="100" y="716"/>
                    <a:pt x="95" y="715"/>
                    <a:pt x="90" y="711"/>
                  </a:cubicBezTo>
                  <a:cubicBezTo>
                    <a:pt x="67" y="700"/>
                    <a:pt x="44" y="690"/>
                    <a:pt x="16" y="685"/>
                  </a:cubicBezTo>
                  <a:cubicBezTo>
                    <a:pt x="18" y="682"/>
                    <a:pt x="18" y="678"/>
                    <a:pt x="19" y="675"/>
                  </a:cubicBezTo>
                  <a:lnTo>
                    <a:pt x="23" y="657"/>
                  </a:lnTo>
                  <a:cubicBezTo>
                    <a:pt x="29" y="631"/>
                    <a:pt x="23" y="621"/>
                    <a:pt x="13" y="609"/>
                  </a:cubicBezTo>
                  <a:cubicBezTo>
                    <a:pt x="11" y="604"/>
                    <a:pt x="8" y="601"/>
                    <a:pt x="4" y="594"/>
                  </a:cubicBezTo>
                  <a:cubicBezTo>
                    <a:pt x="1" y="588"/>
                    <a:pt x="0" y="581"/>
                    <a:pt x="1" y="576"/>
                  </a:cubicBezTo>
                  <a:cubicBezTo>
                    <a:pt x="3" y="571"/>
                    <a:pt x="6" y="568"/>
                    <a:pt x="11" y="565"/>
                  </a:cubicBezTo>
                  <a:cubicBezTo>
                    <a:pt x="16" y="563"/>
                    <a:pt x="21" y="565"/>
                    <a:pt x="28" y="566"/>
                  </a:cubicBezTo>
                  <a:cubicBezTo>
                    <a:pt x="37" y="568"/>
                    <a:pt x="59" y="573"/>
                    <a:pt x="67" y="547"/>
                  </a:cubicBezTo>
                  <a:cubicBezTo>
                    <a:pt x="69" y="537"/>
                    <a:pt x="64" y="528"/>
                    <a:pt x="61" y="523"/>
                  </a:cubicBezTo>
                  <a:cubicBezTo>
                    <a:pt x="59" y="522"/>
                    <a:pt x="59" y="522"/>
                    <a:pt x="57" y="520"/>
                  </a:cubicBezTo>
                  <a:cubicBezTo>
                    <a:pt x="57" y="517"/>
                    <a:pt x="57" y="514"/>
                    <a:pt x="59" y="509"/>
                  </a:cubicBezTo>
                  <a:cubicBezTo>
                    <a:pt x="59" y="502"/>
                    <a:pt x="59" y="495"/>
                    <a:pt x="57" y="487"/>
                  </a:cubicBezTo>
                  <a:cubicBezTo>
                    <a:pt x="54" y="474"/>
                    <a:pt x="44" y="466"/>
                    <a:pt x="37" y="458"/>
                  </a:cubicBezTo>
                  <a:cubicBezTo>
                    <a:pt x="31" y="451"/>
                    <a:pt x="26" y="446"/>
                    <a:pt x="24" y="438"/>
                  </a:cubicBezTo>
                  <a:cubicBezTo>
                    <a:pt x="23" y="435"/>
                    <a:pt x="24" y="430"/>
                    <a:pt x="24" y="423"/>
                  </a:cubicBezTo>
                  <a:cubicBezTo>
                    <a:pt x="26" y="413"/>
                    <a:pt x="29" y="397"/>
                    <a:pt x="18" y="383"/>
                  </a:cubicBezTo>
                  <a:cubicBezTo>
                    <a:pt x="14" y="379"/>
                    <a:pt x="8" y="375"/>
                    <a:pt x="1" y="372"/>
                  </a:cubicBezTo>
                  <a:cubicBezTo>
                    <a:pt x="1" y="370"/>
                    <a:pt x="1" y="369"/>
                    <a:pt x="1" y="369"/>
                  </a:cubicBezTo>
                  <a:cubicBezTo>
                    <a:pt x="1" y="364"/>
                    <a:pt x="0" y="359"/>
                    <a:pt x="1" y="355"/>
                  </a:cubicBezTo>
                  <a:cubicBezTo>
                    <a:pt x="0" y="347"/>
                    <a:pt x="1" y="341"/>
                    <a:pt x="3" y="331"/>
                  </a:cubicBezTo>
                  <a:cubicBezTo>
                    <a:pt x="4" y="324"/>
                    <a:pt x="6" y="318"/>
                    <a:pt x="9" y="311"/>
                  </a:cubicBezTo>
                  <a:cubicBezTo>
                    <a:pt x="13" y="304"/>
                    <a:pt x="21" y="299"/>
                    <a:pt x="28" y="298"/>
                  </a:cubicBezTo>
                  <a:cubicBezTo>
                    <a:pt x="36" y="294"/>
                    <a:pt x="44" y="294"/>
                    <a:pt x="52" y="293"/>
                  </a:cubicBezTo>
                  <a:lnTo>
                    <a:pt x="59" y="291"/>
                  </a:lnTo>
                  <a:cubicBezTo>
                    <a:pt x="65" y="290"/>
                    <a:pt x="75" y="288"/>
                    <a:pt x="84" y="283"/>
                  </a:cubicBezTo>
                  <a:cubicBezTo>
                    <a:pt x="93" y="276"/>
                    <a:pt x="100" y="265"/>
                    <a:pt x="100" y="253"/>
                  </a:cubicBezTo>
                  <a:cubicBezTo>
                    <a:pt x="100" y="247"/>
                    <a:pt x="95" y="240"/>
                    <a:pt x="92" y="235"/>
                  </a:cubicBezTo>
                  <a:lnTo>
                    <a:pt x="89" y="229"/>
                  </a:lnTo>
                  <a:cubicBezTo>
                    <a:pt x="85" y="224"/>
                    <a:pt x="82" y="220"/>
                    <a:pt x="80" y="215"/>
                  </a:cubicBezTo>
                  <a:cubicBezTo>
                    <a:pt x="79" y="210"/>
                    <a:pt x="77" y="206"/>
                    <a:pt x="79" y="202"/>
                  </a:cubicBezTo>
                  <a:cubicBezTo>
                    <a:pt x="80" y="201"/>
                    <a:pt x="84" y="197"/>
                    <a:pt x="85" y="196"/>
                  </a:cubicBezTo>
                  <a:cubicBezTo>
                    <a:pt x="89" y="192"/>
                    <a:pt x="92" y="191"/>
                    <a:pt x="95" y="186"/>
                  </a:cubicBezTo>
                  <a:cubicBezTo>
                    <a:pt x="105" y="173"/>
                    <a:pt x="105" y="153"/>
                    <a:pt x="95" y="140"/>
                  </a:cubicBezTo>
                  <a:cubicBezTo>
                    <a:pt x="90" y="133"/>
                    <a:pt x="84" y="130"/>
                    <a:pt x="79" y="125"/>
                  </a:cubicBezTo>
                  <a:cubicBezTo>
                    <a:pt x="75" y="123"/>
                    <a:pt x="72" y="120"/>
                    <a:pt x="69" y="118"/>
                  </a:cubicBezTo>
                  <a:cubicBezTo>
                    <a:pt x="65" y="115"/>
                    <a:pt x="65" y="108"/>
                    <a:pt x="67" y="103"/>
                  </a:cubicBezTo>
                  <a:cubicBezTo>
                    <a:pt x="69" y="100"/>
                    <a:pt x="72" y="95"/>
                    <a:pt x="77" y="92"/>
                  </a:cubicBezTo>
                  <a:lnTo>
                    <a:pt x="82" y="87"/>
                  </a:lnTo>
                  <a:cubicBezTo>
                    <a:pt x="97" y="70"/>
                    <a:pt x="97" y="59"/>
                    <a:pt x="95" y="51"/>
                  </a:cubicBezTo>
                  <a:cubicBezTo>
                    <a:pt x="93" y="41"/>
                    <a:pt x="95" y="29"/>
                    <a:pt x="103" y="16"/>
                  </a:cubicBezTo>
                  <a:cubicBezTo>
                    <a:pt x="108" y="8"/>
                    <a:pt x="118" y="0"/>
                    <a:pt x="125" y="3"/>
                  </a:cubicBezTo>
                  <a:cubicBezTo>
                    <a:pt x="130" y="3"/>
                    <a:pt x="133" y="9"/>
                    <a:pt x="138" y="16"/>
                  </a:cubicBezTo>
                  <a:cubicBezTo>
                    <a:pt x="141" y="23"/>
                    <a:pt x="148" y="31"/>
                    <a:pt x="156" y="36"/>
                  </a:cubicBezTo>
                  <a:cubicBezTo>
                    <a:pt x="168" y="44"/>
                    <a:pt x="186" y="46"/>
                    <a:pt x="202" y="37"/>
                  </a:cubicBezTo>
                  <a:cubicBezTo>
                    <a:pt x="210" y="34"/>
                    <a:pt x="217" y="28"/>
                    <a:pt x="224" y="23"/>
                  </a:cubicBezTo>
                  <a:cubicBezTo>
                    <a:pt x="227" y="19"/>
                    <a:pt x="230" y="16"/>
                    <a:pt x="233" y="13"/>
                  </a:cubicBezTo>
                  <a:cubicBezTo>
                    <a:pt x="235" y="11"/>
                    <a:pt x="237" y="8"/>
                    <a:pt x="240" y="8"/>
                  </a:cubicBezTo>
                  <a:cubicBezTo>
                    <a:pt x="240" y="6"/>
                    <a:pt x="245" y="6"/>
                    <a:pt x="252" y="11"/>
                  </a:cubicBezTo>
                  <a:cubicBezTo>
                    <a:pt x="253" y="13"/>
                    <a:pt x="253" y="13"/>
                    <a:pt x="255" y="13"/>
                  </a:cubicBezTo>
                  <a:cubicBezTo>
                    <a:pt x="268" y="21"/>
                    <a:pt x="278" y="31"/>
                    <a:pt x="288" y="41"/>
                  </a:cubicBezTo>
                  <a:cubicBezTo>
                    <a:pt x="294" y="47"/>
                    <a:pt x="299" y="52"/>
                    <a:pt x="303" y="59"/>
                  </a:cubicBezTo>
                  <a:cubicBezTo>
                    <a:pt x="304" y="61"/>
                    <a:pt x="304" y="61"/>
                    <a:pt x="304" y="62"/>
                  </a:cubicBezTo>
                  <a:cubicBezTo>
                    <a:pt x="308" y="65"/>
                    <a:pt x="311" y="70"/>
                    <a:pt x="314" y="75"/>
                  </a:cubicBezTo>
                  <a:cubicBezTo>
                    <a:pt x="321" y="89"/>
                    <a:pt x="329" y="102"/>
                    <a:pt x="341" y="113"/>
                  </a:cubicBezTo>
                  <a:cubicBezTo>
                    <a:pt x="357" y="128"/>
                    <a:pt x="377" y="133"/>
                    <a:pt x="392" y="128"/>
                  </a:cubicBezTo>
                  <a:cubicBezTo>
                    <a:pt x="393" y="128"/>
                    <a:pt x="397" y="126"/>
                    <a:pt x="397" y="126"/>
                  </a:cubicBezTo>
                  <a:cubicBezTo>
                    <a:pt x="398" y="126"/>
                    <a:pt x="402" y="125"/>
                    <a:pt x="402" y="125"/>
                  </a:cubicBezTo>
                  <a:cubicBezTo>
                    <a:pt x="403" y="125"/>
                    <a:pt x="406" y="128"/>
                    <a:pt x="408" y="136"/>
                  </a:cubicBezTo>
                  <a:cubicBezTo>
                    <a:pt x="408" y="138"/>
                    <a:pt x="410" y="140"/>
                    <a:pt x="410" y="143"/>
                  </a:cubicBezTo>
                  <a:cubicBezTo>
                    <a:pt x="411" y="151"/>
                    <a:pt x="413" y="163"/>
                    <a:pt x="420" y="171"/>
                  </a:cubicBezTo>
                  <a:cubicBezTo>
                    <a:pt x="431" y="184"/>
                    <a:pt x="449" y="187"/>
                    <a:pt x="459" y="189"/>
                  </a:cubicBezTo>
                  <a:lnTo>
                    <a:pt x="520" y="196"/>
                  </a:lnTo>
                  <a:cubicBezTo>
                    <a:pt x="525" y="197"/>
                    <a:pt x="532" y="197"/>
                    <a:pt x="537" y="201"/>
                  </a:cubicBezTo>
                  <a:cubicBezTo>
                    <a:pt x="545" y="204"/>
                    <a:pt x="548" y="215"/>
                    <a:pt x="551" y="227"/>
                  </a:cubicBezTo>
                  <a:cubicBezTo>
                    <a:pt x="553" y="234"/>
                    <a:pt x="556" y="240"/>
                    <a:pt x="556" y="247"/>
                  </a:cubicBezTo>
                  <a:cubicBezTo>
                    <a:pt x="560" y="255"/>
                    <a:pt x="563" y="265"/>
                    <a:pt x="565" y="273"/>
                  </a:cubicBezTo>
                  <a:cubicBezTo>
                    <a:pt x="565" y="276"/>
                    <a:pt x="565" y="278"/>
                    <a:pt x="566" y="281"/>
                  </a:cubicBezTo>
                  <a:lnTo>
                    <a:pt x="566" y="285"/>
                  </a:lnTo>
                  <a:cubicBezTo>
                    <a:pt x="568" y="293"/>
                    <a:pt x="570" y="301"/>
                    <a:pt x="573" y="309"/>
                  </a:cubicBezTo>
                  <a:cubicBezTo>
                    <a:pt x="576" y="318"/>
                    <a:pt x="581" y="322"/>
                    <a:pt x="584" y="329"/>
                  </a:cubicBezTo>
                  <a:lnTo>
                    <a:pt x="616" y="372"/>
                  </a:lnTo>
                  <a:cubicBezTo>
                    <a:pt x="621" y="377"/>
                    <a:pt x="624" y="382"/>
                    <a:pt x="624" y="387"/>
                  </a:cubicBezTo>
                  <a:cubicBezTo>
                    <a:pt x="626" y="395"/>
                    <a:pt x="624" y="403"/>
                    <a:pt x="624" y="411"/>
                  </a:cubicBezTo>
                  <a:lnTo>
                    <a:pt x="614" y="46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78" name="Freeform 14">
              <a:extLst>
                <a:ext uri="{FF2B5EF4-FFF2-40B4-BE49-F238E27FC236}">
                  <a16:creationId xmlns:a16="http://schemas.microsoft.com/office/drawing/2014/main" id="{C69AE471-03E8-A04B-BF80-90012A770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8788" y="2860675"/>
              <a:ext cx="246062" cy="234950"/>
            </a:xfrm>
            <a:custGeom>
              <a:avLst/>
              <a:gdLst>
                <a:gd name="T0" fmla="*/ 0 w 683"/>
                <a:gd name="T1" fmla="*/ 227 h 651"/>
                <a:gd name="T2" fmla="*/ 145 w 683"/>
                <a:gd name="T3" fmla="*/ 72 h 651"/>
                <a:gd name="T4" fmla="*/ 224 w 683"/>
                <a:gd name="T5" fmla="*/ 5 h 651"/>
                <a:gd name="T6" fmla="*/ 250 w 683"/>
                <a:gd name="T7" fmla="*/ 65 h 651"/>
                <a:gd name="T8" fmla="*/ 314 w 683"/>
                <a:gd name="T9" fmla="*/ 148 h 651"/>
                <a:gd name="T10" fmla="*/ 420 w 683"/>
                <a:gd name="T11" fmla="*/ 149 h 651"/>
                <a:gd name="T12" fmla="*/ 472 w 683"/>
                <a:gd name="T13" fmla="*/ 154 h 651"/>
                <a:gd name="T14" fmla="*/ 616 w 683"/>
                <a:gd name="T15" fmla="*/ 149 h 651"/>
                <a:gd name="T16" fmla="*/ 658 w 683"/>
                <a:gd name="T17" fmla="*/ 145 h 651"/>
                <a:gd name="T18" fmla="*/ 663 w 683"/>
                <a:gd name="T19" fmla="*/ 255 h 651"/>
                <a:gd name="T20" fmla="*/ 678 w 683"/>
                <a:gd name="T21" fmla="*/ 314 h 651"/>
                <a:gd name="T22" fmla="*/ 644 w 683"/>
                <a:gd name="T23" fmla="*/ 357 h 651"/>
                <a:gd name="T24" fmla="*/ 632 w 683"/>
                <a:gd name="T25" fmla="*/ 451 h 651"/>
                <a:gd name="T26" fmla="*/ 639 w 683"/>
                <a:gd name="T27" fmla="*/ 474 h 651"/>
                <a:gd name="T28" fmla="*/ 630 w 683"/>
                <a:gd name="T29" fmla="*/ 494 h 651"/>
                <a:gd name="T30" fmla="*/ 619 w 683"/>
                <a:gd name="T31" fmla="*/ 512 h 651"/>
                <a:gd name="T32" fmla="*/ 614 w 683"/>
                <a:gd name="T33" fmla="*/ 540 h 651"/>
                <a:gd name="T34" fmla="*/ 591 w 683"/>
                <a:gd name="T35" fmla="*/ 545 h 651"/>
                <a:gd name="T36" fmla="*/ 530 w 683"/>
                <a:gd name="T37" fmla="*/ 535 h 651"/>
                <a:gd name="T38" fmla="*/ 507 w 683"/>
                <a:gd name="T39" fmla="*/ 555 h 651"/>
                <a:gd name="T40" fmla="*/ 492 w 683"/>
                <a:gd name="T41" fmla="*/ 599 h 651"/>
                <a:gd name="T42" fmla="*/ 411 w 683"/>
                <a:gd name="T43" fmla="*/ 631 h 651"/>
                <a:gd name="T44" fmla="*/ 405 w 683"/>
                <a:gd name="T45" fmla="*/ 642 h 651"/>
                <a:gd name="T46" fmla="*/ 380 w 683"/>
                <a:gd name="T47" fmla="*/ 644 h 651"/>
                <a:gd name="T48" fmla="*/ 357 w 683"/>
                <a:gd name="T49" fmla="*/ 634 h 651"/>
                <a:gd name="T50" fmla="*/ 293 w 683"/>
                <a:gd name="T51" fmla="*/ 640 h 651"/>
                <a:gd name="T52" fmla="*/ 255 w 683"/>
                <a:gd name="T53" fmla="*/ 650 h 651"/>
                <a:gd name="T54" fmla="*/ 265 w 683"/>
                <a:gd name="T55" fmla="*/ 599 h 651"/>
                <a:gd name="T56" fmla="*/ 227 w 683"/>
                <a:gd name="T57" fmla="*/ 410 h 651"/>
                <a:gd name="T58" fmla="*/ 174 w 683"/>
                <a:gd name="T59" fmla="*/ 370 h 651"/>
                <a:gd name="T60" fmla="*/ 145 w 683"/>
                <a:gd name="T61" fmla="*/ 324 h 651"/>
                <a:gd name="T62" fmla="*/ 46 w 683"/>
                <a:gd name="T63" fmla="*/ 308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83" h="651">
                  <a:moveTo>
                    <a:pt x="6" y="252"/>
                  </a:moveTo>
                  <a:cubicBezTo>
                    <a:pt x="3" y="242"/>
                    <a:pt x="1" y="234"/>
                    <a:pt x="0" y="227"/>
                  </a:cubicBezTo>
                  <a:cubicBezTo>
                    <a:pt x="34" y="199"/>
                    <a:pt x="77" y="163"/>
                    <a:pt x="112" y="125"/>
                  </a:cubicBezTo>
                  <a:cubicBezTo>
                    <a:pt x="125" y="108"/>
                    <a:pt x="135" y="90"/>
                    <a:pt x="145" y="72"/>
                  </a:cubicBezTo>
                  <a:cubicBezTo>
                    <a:pt x="156" y="47"/>
                    <a:pt x="169" y="23"/>
                    <a:pt x="189" y="9"/>
                  </a:cubicBezTo>
                  <a:cubicBezTo>
                    <a:pt x="201" y="1"/>
                    <a:pt x="214" y="0"/>
                    <a:pt x="224" y="5"/>
                  </a:cubicBezTo>
                  <a:cubicBezTo>
                    <a:pt x="235" y="8"/>
                    <a:pt x="243" y="19"/>
                    <a:pt x="248" y="36"/>
                  </a:cubicBezTo>
                  <a:cubicBezTo>
                    <a:pt x="250" y="44"/>
                    <a:pt x="250" y="54"/>
                    <a:pt x="250" y="65"/>
                  </a:cubicBezTo>
                  <a:cubicBezTo>
                    <a:pt x="248" y="84"/>
                    <a:pt x="248" y="105"/>
                    <a:pt x="261" y="123"/>
                  </a:cubicBezTo>
                  <a:cubicBezTo>
                    <a:pt x="276" y="143"/>
                    <a:pt x="296" y="146"/>
                    <a:pt x="314" y="148"/>
                  </a:cubicBezTo>
                  <a:cubicBezTo>
                    <a:pt x="339" y="148"/>
                    <a:pt x="347" y="148"/>
                    <a:pt x="372" y="154"/>
                  </a:cubicBezTo>
                  <a:cubicBezTo>
                    <a:pt x="395" y="163"/>
                    <a:pt x="410" y="159"/>
                    <a:pt x="420" y="149"/>
                  </a:cubicBezTo>
                  <a:cubicBezTo>
                    <a:pt x="428" y="151"/>
                    <a:pt x="436" y="152"/>
                    <a:pt x="444" y="153"/>
                  </a:cubicBezTo>
                  <a:cubicBezTo>
                    <a:pt x="453" y="154"/>
                    <a:pt x="462" y="154"/>
                    <a:pt x="472" y="154"/>
                  </a:cubicBezTo>
                  <a:lnTo>
                    <a:pt x="500" y="154"/>
                  </a:lnTo>
                  <a:cubicBezTo>
                    <a:pt x="538" y="156"/>
                    <a:pt x="578" y="156"/>
                    <a:pt x="616" y="149"/>
                  </a:cubicBezTo>
                  <a:cubicBezTo>
                    <a:pt x="629" y="146"/>
                    <a:pt x="642" y="146"/>
                    <a:pt x="654" y="145"/>
                  </a:cubicBezTo>
                  <a:cubicBezTo>
                    <a:pt x="655" y="145"/>
                    <a:pt x="657" y="145"/>
                    <a:pt x="658" y="145"/>
                  </a:cubicBezTo>
                  <a:cubicBezTo>
                    <a:pt x="658" y="154"/>
                    <a:pt x="658" y="164"/>
                    <a:pt x="658" y="174"/>
                  </a:cubicBezTo>
                  <a:cubicBezTo>
                    <a:pt x="657" y="201"/>
                    <a:pt x="657" y="229"/>
                    <a:pt x="663" y="255"/>
                  </a:cubicBezTo>
                  <a:cubicBezTo>
                    <a:pt x="667" y="262"/>
                    <a:pt x="668" y="266"/>
                    <a:pt x="670" y="273"/>
                  </a:cubicBezTo>
                  <a:cubicBezTo>
                    <a:pt x="677" y="288"/>
                    <a:pt x="682" y="301"/>
                    <a:pt x="678" y="314"/>
                  </a:cubicBezTo>
                  <a:cubicBezTo>
                    <a:pt x="675" y="324"/>
                    <a:pt x="668" y="332"/>
                    <a:pt x="660" y="341"/>
                  </a:cubicBezTo>
                  <a:cubicBezTo>
                    <a:pt x="654" y="346"/>
                    <a:pt x="649" y="350"/>
                    <a:pt x="644" y="357"/>
                  </a:cubicBezTo>
                  <a:cubicBezTo>
                    <a:pt x="626" y="380"/>
                    <a:pt x="619" y="406"/>
                    <a:pt x="624" y="428"/>
                  </a:cubicBezTo>
                  <a:cubicBezTo>
                    <a:pt x="626" y="436"/>
                    <a:pt x="629" y="444"/>
                    <a:pt x="632" y="451"/>
                  </a:cubicBezTo>
                  <a:cubicBezTo>
                    <a:pt x="635" y="461"/>
                    <a:pt x="639" y="467"/>
                    <a:pt x="639" y="474"/>
                  </a:cubicBezTo>
                  <a:lnTo>
                    <a:pt x="639" y="474"/>
                  </a:lnTo>
                  <a:cubicBezTo>
                    <a:pt x="639" y="476"/>
                    <a:pt x="639" y="477"/>
                    <a:pt x="639" y="479"/>
                  </a:cubicBezTo>
                  <a:cubicBezTo>
                    <a:pt x="637" y="484"/>
                    <a:pt x="634" y="489"/>
                    <a:pt x="630" y="494"/>
                  </a:cubicBezTo>
                  <a:cubicBezTo>
                    <a:pt x="629" y="495"/>
                    <a:pt x="627" y="497"/>
                    <a:pt x="626" y="500"/>
                  </a:cubicBezTo>
                  <a:cubicBezTo>
                    <a:pt x="624" y="504"/>
                    <a:pt x="621" y="509"/>
                    <a:pt x="619" y="512"/>
                  </a:cubicBezTo>
                  <a:cubicBezTo>
                    <a:pt x="617" y="519"/>
                    <a:pt x="616" y="525"/>
                    <a:pt x="616" y="532"/>
                  </a:cubicBezTo>
                  <a:cubicBezTo>
                    <a:pt x="614" y="533"/>
                    <a:pt x="614" y="537"/>
                    <a:pt x="614" y="540"/>
                  </a:cubicBezTo>
                  <a:cubicBezTo>
                    <a:pt x="612" y="545"/>
                    <a:pt x="611" y="550"/>
                    <a:pt x="607" y="550"/>
                  </a:cubicBezTo>
                  <a:cubicBezTo>
                    <a:pt x="604" y="551"/>
                    <a:pt x="598" y="548"/>
                    <a:pt x="591" y="545"/>
                  </a:cubicBezTo>
                  <a:lnTo>
                    <a:pt x="584" y="542"/>
                  </a:lnTo>
                  <a:cubicBezTo>
                    <a:pt x="568" y="533"/>
                    <a:pt x="548" y="530"/>
                    <a:pt x="530" y="535"/>
                  </a:cubicBezTo>
                  <a:cubicBezTo>
                    <a:pt x="527" y="535"/>
                    <a:pt x="522" y="537"/>
                    <a:pt x="517" y="542"/>
                  </a:cubicBezTo>
                  <a:cubicBezTo>
                    <a:pt x="512" y="545"/>
                    <a:pt x="509" y="551"/>
                    <a:pt x="507" y="555"/>
                  </a:cubicBezTo>
                  <a:cubicBezTo>
                    <a:pt x="505" y="560"/>
                    <a:pt x="505" y="565"/>
                    <a:pt x="504" y="571"/>
                  </a:cubicBezTo>
                  <a:cubicBezTo>
                    <a:pt x="500" y="581"/>
                    <a:pt x="499" y="591"/>
                    <a:pt x="492" y="599"/>
                  </a:cubicBezTo>
                  <a:cubicBezTo>
                    <a:pt x="484" y="609"/>
                    <a:pt x="469" y="614"/>
                    <a:pt x="448" y="616"/>
                  </a:cubicBezTo>
                  <a:cubicBezTo>
                    <a:pt x="436" y="617"/>
                    <a:pt x="421" y="617"/>
                    <a:pt x="411" y="631"/>
                  </a:cubicBezTo>
                  <a:cubicBezTo>
                    <a:pt x="410" y="634"/>
                    <a:pt x="408" y="637"/>
                    <a:pt x="406" y="639"/>
                  </a:cubicBezTo>
                  <a:cubicBezTo>
                    <a:pt x="406" y="640"/>
                    <a:pt x="406" y="640"/>
                    <a:pt x="405" y="642"/>
                  </a:cubicBezTo>
                  <a:cubicBezTo>
                    <a:pt x="402" y="647"/>
                    <a:pt x="393" y="649"/>
                    <a:pt x="387" y="647"/>
                  </a:cubicBezTo>
                  <a:cubicBezTo>
                    <a:pt x="383" y="647"/>
                    <a:pt x="382" y="645"/>
                    <a:pt x="380" y="644"/>
                  </a:cubicBezTo>
                  <a:cubicBezTo>
                    <a:pt x="375" y="644"/>
                    <a:pt x="370" y="640"/>
                    <a:pt x="365" y="639"/>
                  </a:cubicBezTo>
                  <a:lnTo>
                    <a:pt x="357" y="634"/>
                  </a:lnTo>
                  <a:cubicBezTo>
                    <a:pt x="341" y="627"/>
                    <a:pt x="326" y="626"/>
                    <a:pt x="313" y="629"/>
                  </a:cubicBezTo>
                  <a:cubicBezTo>
                    <a:pt x="304" y="632"/>
                    <a:pt x="298" y="637"/>
                    <a:pt x="293" y="640"/>
                  </a:cubicBezTo>
                  <a:cubicBezTo>
                    <a:pt x="289" y="642"/>
                    <a:pt x="286" y="645"/>
                    <a:pt x="283" y="647"/>
                  </a:cubicBezTo>
                  <a:cubicBezTo>
                    <a:pt x="275" y="650"/>
                    <a:pt x="265" y="650"/>
                    <a:pt x="255" y="650"/>
                  </a:cubicBezTo>
                  <a:cubicBezTo>
                    <a:pt x="252" y="650"/>
                    <a:pt x="247" y="650"/>
                    <a:pt x="243" y="650"/>
                  </a:cubicBezTo>
                  <a:cubicBezTo>
                    <a:pt x="247" y="632"/>
                    <a:pt x="257" y="616"/>
                    <a:pt x="265" y="599"/>
                  </a:cubicBezTo>
                  <a:cubicBezTo>
                    <a:pt x="273" y="583"/>
                    <a:pt x="283" y="568"/>
                    <a:pt x="288" y="550"/>
                  </a:cubicBezTo>
                  <a:cubicBezTo>
                    <a:pt x="306" y="487"/>
                    <a:pt x="252" y="431"/>
                    <a:pt x="227" y="410"/>
                  </a:cubicBezTo>
                  <a:cubicBezTo>
                    <a:pt x="219" y="403"/>
                    <a:pt x="210" y="397"/>
                    <a:pt x="201" y="390"/>
                  </a:cubicBezTo>
                  <a:cubicBezTo>
                    <a:pt x="191" y="383"/>
                    <a:pt x="182" y="378"/>
                    <a:pt x="174" y="370"/>
                  </a:cubicBezTo>
                  <a:cubicBezTo>
                    <a:pt x="166" y="363"/>
                    <a:pt x="161" y="354"/>
                    <a:pt x="156" y="344"/>
                  </a:cubicBezTo>
                  <a:cubicBezTo>
                    <a:pt x="153" y="337"/>
                    <a:pt x="149" y="331"/>
                    <a:pt x="145" y="324"/>
                  </a:cubicBezTo>
                  <a:cubicBezTo>
                    <a:pt x="120" y="290"/>
                    <a:pt x="95" y="296"/>
                    <a:pt x="75" y="303"/>
                  </a:cubicBezTo>
                  <a:cubicBezTo>
                    <a:pt x="67" y="306"/>
                    <a:pt x="56" y="309"/>
                    <a:pt x="46" y="308"/>
                  </a:cubicBezTo>
                  <a:cubicBezTo>
                    <a:pt x="19" y="308"/>
                    <a:pt x="14" y="286"/>
                    <a:pt x="6" y="25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79" name="Freeform 15">
              <a:extLst>
                <a:ext uri="{FF2B5EF4-FFF2-40B4-BE49-F238E27FC236}">
                  <a16:creationId xmlns:a16="http://schemas.microsoft.com/office/drawing/2014/main" id="{2EED3E08-3C77-5C4A-B0BF-0353E33EF7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3075" y="3227388"/>
              <a:ext cx="193675" cy="266700"/>
            </a:xfrm>
            <a:custGeom>
              <a:avLst/>
              <a:gdLst>
                <a:gd name="T0" fmla="*/ 222 w 538"/>
                <a:gd name="T1" fmla="*/ 462 h 739"/>
                <a:gd name="T2" fmla="*/ 194 w 538"/>
                <a:gd name="T3" fmla="*/ 351 h 739"/>
                <a:gd name="T4" fmla="*/ 170 w 538"/>
                <a:gd name="T5" fmla="*/ 336 h 739"/>
                <a:gd name="T6" fmla="*/ 102 w 538"/>
                <a:gd name="T7" fmla="*/ 285 h 739"/>
                <a:gd name="T8" fmla="*/ 73 w 538"/>
                <a:gd name="T9" fmla="*/ 223 h 739"/>
                <a:gd name="T10" fmla="*/ 54 w 538"/>
                <a:gd name="T11" fmla="*/ 173 h 739"/>
                <a:gd name="T12" fmla="*/ 30 w 538"/>
                <a:gd name="T13" fmla="*/ 142 h 739"/>
                <a:gd name="T14" fmla="*/ 10 w 538"/>
                <a:gd name="T15" fmla="*/ 83 h 739"/>
                <a:gd name="T16" fmla="*/ 51 w 538"/>
                <a:gd name="T17" fmla="*/ 37 h 739"/>
                <a:gd name="T18" fmla="*/ 89 w 538"/>
                <a:gd name="T19" fmla="*/ 0 h 739"/>
                <a:gd name="T20" fmla="*/ 102 w 538"/>
                <a:gd name="T21" fmla="*/ 13 h 739"/>
                <a:gd name="T22" fmla="*/ 107 w 538"/>
                <a:gd name="T23" fmla="*/ 20 h 739"/>
                <a:gd name="T24" fmla="*/ 120 w 538"/>
                <a:gd name="T25" fmla="*/ 37 h 739"/>
                <a:gd name="T26" fmla="*/ 191 w 538"/>
                <a:gd name="T27" fmla="*/ 55 h 739"/>
                <a:gd name="T28" fmla="*/ 199 w 538"/>
                <a:gd name="T29" fmla="*/ 51 h 739"/>
                <a:gd name="T30" fmla="*/ 211 w 538"/>
                <a:gd name="T31" fmla="*/ 48 h 739"/>
                <a:gd name="T32" fmla="*/ 236 w 538"/>
                <a:gd name="T33" fmla="*/ 66 h 739"/>
                <a:gd name="T34" fmla="*/ 242 w 538"/>
                <a:gd name="T35" fmla="*/ 83 h 739"/>
                <a:gd name="T36" fmla="*/ 255 w 538"/>
                <a:gd name="T37" fmla="*/ 106 h 739"/>
                <a:gd name="T38" fmla="*/ 303 w 538"/>
                <a:gd name="T39" fmla="*/ 150 h 739"/>
                <a:gd name="T40" fmla="*/ 331 w 538"/>
                <a:gd name="T41" fmla="*/ 165 h 739"/>
                <a:gd name="T42" fmla="*/ 364 w 538"/>
                <a:gd name="T43" fmla="*/ 170 h 739"/>
                <a:gd name="T44" fmla="*/ 384 w 538"/>
                <a:gd name="T45" fmla="*/ 172 h 739"/>
                <a:gd name="T46" fmla="*/ 428 w 538"/>
                <a:gd name="T47" fmla="*/ 191 h 739"/>
                <a:gd name="T48" fmla="*/ 473 w 538"/>
                <a:gd name="T49" fmla="*/ 223 h 739"/>
                <a:gd name="T50" fmla="*/ 481 w 538"/>
                <a:gd name="T51" fmla="*/ 231 h 739"/>
                <a:gd name="T52" fmla="*/ 509 w 538"/>
                <a:gd name="T53" fmla="*/ 256 h 739"/>
                <a:gd name="T54" fmla="*/ 514 w 538"/>
                <a:gd name="T55" fmla="*/ 279 h 739"/>
                <a:gd name="T56" fmla="*/ 516 w 538"/>
                <a:gd name="T57" fmla="*/ 289 h 739"/>
                <a:gd name="T58" fmla="*/ 534 w 538"/>
                <a:gd name="T59" fmla="*/ 338 h 739"/>
                <a:gd name="T60" fmla="*/ 535 w 538"/>
                <a:gd name="T61" fmla="*/ 340 h 739"/>
                <a:gd name="T62" fmla="*/ 535 w 538"/>
                <a:gd name="T63" fmla="*/ 340 h 739"/>
                <a:gd name="T64" fmla="*/ 534 w 538"/>
                <a:gd name="T65" fmla="*/ 356 h 739"/>
                <a:gd name="T66" fmla="*/ 522 w 538"/>
                <a:gd name="T67" fmla="*/ 366 h 739"/>
                <a:gd name="T68" fmla="*/ 504 w 538"/>
                <a:gd name="T69" fmla="*/ 384 h 739"/>
                <a:gd name="T70" fmla="*/ 514 w 538"/>
                <a:gd name="T71" fmla="*/ 435 h 739"/>
                <a:gd name="T72" fmla="*/ 524 w 538"/>
                <a:gd name="T73" fmla="*/ 447 h 739"/>
                <a:gd name="T74" fmla="*/ 507 w 538"/>
                <a:gd name="T75" fmla="*/ 473 h 739"/>
                <a:gd name="T76" fmla="*/ 483 w 538"/>
                <a:gd name="T77" fmla="*/ 491 h 739"/>
                <a:gd name="T78" fmla="*/ 466 w 538"/>
                <a:gd name="T79" fmla="*/ 549 h 739"/>
                <a:gd name="T80" fmla="*/ 465 w 538"/>
                <a:gd name="T81" fmla="*/ 580 h 739"/>
                <a:gd name="T82" fmla="*/ 414 w 538"/>
                <a:gd name="T83" fmla="*/ 643 h 739"/>
                <a:gd name="T84" fmla="*/ 394 w 538"/>
                <a:gd name="T85" fmla="*/ 661 h 739"/>
                <a:gd name="T86" fmla="*/ 371 w 538"/>
                <a:gd name="T87" fmla="*/ 694 h 739"/>
                <a:gd name="T88" fmla="*/ 344 w 538"/>
                <a:gd name="T89" fmla="*/ 725 h 739"/>
                <a:gd name="T90" fmla="*/ 321 w 538"/>
                <a:gd name="T91" fmla="*/ 738 h 739"/>
                <a:gd name="T92" fmla="*/ 315 w 538"/>
                <a:gd name="T93" fmla="*/ 732 h 739"/>
                <a:gd name="T94" fmla="*/ 302 w 538"/>
                <a:gd name="T95" fmla="*/ 719 h 739"/>
                <a:gd name="T96" fmla="*/ 283 w 538"/>
                <a:gd name="T97" fmla="*/ 671 h 739"/>
                <a:gd name="T98" fmla="*/ 282 w 538"/>
                <a:gd name="T99" fmla="*/ 664 h 739"/>
                <a:gd name="T100" fmla="*/ 237 w 538"/>
                <a:gd name="T101" fmla="*/ 583 h 739"/>
                <a:gd name="T102" fmla="*/ 218 w 538"/>
                <a:gd name="T103" fmla="*/ 562 h 739"/>
                <a:gd name="T104" fmla="*/ 222 w 538"/>
                <a:gd name="T105" fmla="*/ 462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38" h="739">
                  <a:moveTo>
                    <a:pt x="222" y="462"/>
                  </a:moveTo>
                  <a:cubicBezTo>
                    <a:pt x="242" y="417"/>
                    <a:pt x="244" y="384"/>
                    <a:pt x="194" y="351"/>
                  </a:cubicBezTo>
                  <a:cubicBezTo>
                    <a:pt x="186" y="346"/>
                    <a:pt x="178" y="341"/>
                    <a:pt x="170" y="336"/>
                  </a:cubicBezTo>
                  <a:cubicBezTo>
                    <a:pt x="145" y="322"/>
                    <a:pt x="120" y="307"/>
                    <a:pt x="102" y="285"/>
                  </a:cubicBezTo>
                  <a:cubicBezTo>
                    <a:pt x="87" y="267"/>
                    <a:pt x="81" y="246"/>
                    <a:pt x="73" y="223"/>
                  </a:cubicBezTo>
                  <a:cubicBezTo>
                    <a:pt x="68" y="208"/>
                    <a:pt x="63" y="190"/>
                    <a:pt x="54" y="173"/>
                  </a:cubicBezTo>
                  <a:cubicBezTo>
                    <a:pt x="48" y="162"/>
                    <a:pt x="38" y="152"/>
                    <a:pt x="30" y="142"/>
                  </a:cubicBezTo>
                  <a:cubicBezTo>
                    <a:pt x="8" y="119"/>
                    <a:pt x="0" y="106"/>
                    <a:pt x="10" y="83"/>
                  </a:cubicBezTo>
                  <a:cubicBezTo>
                    <a:pt x="18" y="65"/>
                    <a:pt x="35" y="50"/>
                    <a:pt x="51" y="37"/>
                  </a:cubicBezTo>
                  <a:cubicBezTo>
                    <a:pt x="64" y="25"/>
                    <a:pt x="78" y="13"/>
                    <a:pt x="89" y="0"/>
                  </a:cubicBezTo>
                  <a:cubicBezTo>
                    <a:pt x="94" y="4"/>
                    <a:pt x="99" y="9"/>
                    <a:pt x="102" y="13"/>
                  </a:cubicBezTo>
                  <a:lnTo>
                    <a:pt x="107" y="20"/>
                  </a:lnTo>
                  <a:cubicBezTo>
                    <a:pt x="110" y="25"/>
                    <a:pt x="115" y="32"/>
                    <a:pt x="120" y="37"/>
                  </a:cubicBezTo>
                  <a:cubicBezTo>
                    <a:pt x="140" y="55"/>
                    <a:pt x="166" y="61"/>
                    <a:pt x="191" y="55"/>
                  </a:cubicBezTo>
                  <a:cubicBezTo>
                    <a:pt x="194" y="53"/>
                    <a:pt x="196" y="53"/>
                    <a:pt x="199" y="51"/>
                  </a:cubicBezTo>
                  <a:cubicBezTo>
                    <a:pt x="204" y="50"/>
                    <a:pt x="208" y="48"/>
                    <a:pt x="211" y="48"/>
                  </a:cubicBezTo>
                  <a:cubicBezTo>
                    <a:pt x="221" y="48"/>
                    <a:pt x="231" y="56"/>
                    <a:pt x="236" y="66"/>
                  </a:cubicBezTo>
                  <a:cubicBezTo>
                    <a:pt x="239" y="71"/>
                    <a:pt x="241" y="76"/>
                    <a:pt x="242" y="83"/>
                  </a:cubicBezTo>
                  <a:cubicBezTo>
                    <a:pt x="247" y="91"/>
                    <a:pt x="250" y="99"/>
                    <a:pt x="255" y="106"/>
                  </a:cubicBezTo>
                  <a:cubicBezTo>
                    <a:pt x="267" y="126"/>
                    <a:pt x="287" y="139"/>
                    <a:pt x="303" y="150"/>
                  </a:cubicBezTo>
                  <a:cubicBezTo>
                    <a:pt x="311" y="155"/>
                    <a:pt x="320" y="162"/>
                    <a:pt x="331" y="165"/>
                  </a:cubicBezTo>
                  <a:cubicBezTo>
                    <a:pt x="343" y="168"/>
                    <a:pt x="354" y="170"/>
                    <a:pt x="364" y="170"/>
                  </a:cubicBezTo>
                  <a:cubicBezTo>
                    <a:pt x="371" y="170"/>
                    <a:pt x="377" y="170"/>
                    <a:pt x="384" y="172"/>
                  </a:cubicBezTo>
                  <a:cubicBezTo>
                    <a:pt x="400" y="175"/>
                    <a:pt x="415" y="183"/>
                    <a:pt x="428" y="191"/>
                  </a:cubicBezTo>
                  <a:cubicBezTo>
                    <a:pt x="443" y="201"/>
                    <a:pt x="458" y="211"/>
                    <a:pt x="473" y="223"/>
                  </a:cubicBezTo>
                  <a:cubicBezTo>
                    <a:pt x="475" y="226"/>
                    <a:pt x="478" y="228"/>
                    <a:pt x="481" y="231"/>
                  </a:cubicBezTo>
                  <a:cubicBezTo>
                    <a:pt x="491" y="238"/>
                    <a:pt x="504" y="246"/>
                    <a:pt x="509" y="256"/>
                  </a:cubicBezTo>
                  <a:cubicBezTo>
                    <a:pt x="512" y="261"/>
                    <a:pt x="512" y="270"/>
                    <a:pt x="514" y="279"/>
                  </a:cubicBezTo>
                  <a:cubicBezTo>
                    <a:pt x="514" y="282"/>
                    <a:pt x="516" y="285"/>
                    <a:pt x="516" y="289"/>
                  </a:cubicBezTo>
                  <a:cubicBezTo>
                    <a:pt x="519" y="305"/>
                    <a:pt x="521" y="323"/>
                    <a:pt x="534" y="338"/>
                  </a:cubicBezTo>
                  <a:cubicBezTo>
                    <a:pt x="534" y="340"/>
                    <a:pt x="534" y="340"/>
                    <a:pt x="535" y="340"/>
                  </a:cubicBezTo>
                  <a:lnTo>
                    <a:pt x="535" y="340"/>
                  </a:lnTo>
                  <a:cubicBezTo>
                    <a:pt x="535" y="348"/>
                    <a:pt x="537" y="351"/>
                    <a:pt x="534" y="356"/>
                  </a:cubicBezTo>
                  <a:cubicBezTo>
                    <a:pt x="532" y="361"/>
                    <a:pt x="529" y="363"/>
                    <a:pt x="522" y="366"/>
                  </a:cubicBezTo>
                  <a:cubicBezTo>
                    <a:pt x="517" y="371"/>
                    <a:pt x="509" y="374"/>
                    <a:pt x="504" y="384"/>
                  </a:cubicBezTo>
                  <a:cubicBezTo>
                    <a:pt x="488" y="409"/>
                    <a:pt x="504" y="425"/>
                    <a:pt x="514" y="435"/>
                  </a:cubicBezTo>
                  <a:cubicBezTo>
                    <a:pt x="519" y="439"/>
                    <a:pt x="522" y="443"/>
                    <a:pt x="524" y="447"/>
                  </a:cubicBezTo>
                  <a:cubicBezTo>
                    <a:pt x="529" y="458"/>
                    <a:pt x="527" y="462"/>
                    <a:pt x="507" y="473"/>
                  </a:cubicBezTo>
                  <a:cubicBezTo>
                    <a:pt x="499" y="478"/>
                    <a:pt x="489" y="483"/>
                    <a:pt x="483" y="491"/>
                  </a:cubicBezTo>
                  <a:cubicBezTo>
                    <a:pt x="465" y="511"/>
                    <a:pt x="466" y="531"/>
                    <a:pt x="466" y="549"/>
                  </a:cubicBezTo>
                  <a:cubicBezTo>
                    <a:pt x="468" y="560"/>
                    <a:pt x="468" y="570"/>
                    <a:pt x="465" y="580"/>
                  </a:cubicBezTo>
                  <a:cubicBezTo>
                    <a:pt x="455" y="605"/>
                    <a:pt x="435" y="625"/>
                    <a:pt x="414" y="643"/>
                  </a:cubicBezTo>
                  <a:cubicBezTo>
                    <a:pt x="407" y="648"/>
                    <a:pt x="400" y="654"/>
                    <a:pt x="394" y="661"/>
                  </a:cubicBezTo>
                  <a:cubicBezTo>
                    <a:pt x="382" y="671"/>
                    <a:pt x="376" y="684"/>
                    <a:pt x="371" y="694"/>
                  </a:cubicBezTo>
                  <a:cubicBezTo>
                    <a:pt x="364" y="707"/>
                    <a:pt x="359" y="717"/>
                    <a:pt x="344" y="725"/>
                  </a:cubicBezTo>
                  <a:cubicBezTo>
                    <a:pt x="336" y="730"/>
                    <a:pt x="328" y="733"/>
                    <a:pt x="321" y="738"/>
                  </a:cubicBezTo>
                  <a:cubicBezTo>
                    <a:pt x="318" y="737"/>
                    <a:pt x="316" y="733"/>
                    <a:pt x="315" y="732"/>
                  </a:cubicBezTo>
                  <a:cubicBezTo>
                    <a:pt x="310" y="728"/>
                    <a:pt x="306" y="724"/>
                    <a:pt x="302" y="719"/>
                  </a:cubicBezTo>
                  <a:cubicBezTo>
                    <a:pt x="290" y="705"/>
                    <a:pt x="288" y="689"/>
                    <a:pt x="283" y="671"/>
                  </a:cubicBezTo>
                  <a:lnTo>
                    <a:pt x="282" y="664"/>
                  </a:lnTo>
                  <a:cubicBezTo>
                    <a:pt x="275" y="625"/>
                    <a:pt x="257" y="605"/>
                    <a:pt x="237" y="583"/>
                  </a:cubicBezTo>
                  <a:cubicBezTo>
                    <a:pt x="231" y="577"/>
                    <a:pt x="224" y="570"/>
                    <a:pt x="218" y="562"/>
                  </a:cubicBezTo>
                  <a:cubicBezTo>
                    <a:pt x="194" y="532"/>
                    <a:pt x="204" y="504"/>
                    <a:pt x="222" y="46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80" name="Freeform 16">
              <a:extLst>
                <a:ext uri="{FF2B5EF4-FFF2-40B4-BE49-F238E27FC236}">
                  <a16:creationId xmlns:a16="http://schemas.microsoft.com/office/drawing/2014/main" id="{CC88D4B7-125B-2345-B534-B26523D8EE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4013" y="4225925"/>
              <a:ext cx="246062" cy="422275"/>
            </a:xfrm>
            <a:custGeom>
              <a:avLst/>
              <a:gdLst>
                <a:gd name="T0" fmla="*/ 585 w 682"/>
                <a:gd name="T1" fmla="*/ 564 h 1174"/>
                <a:gd name="T2" fmla="*/ 467 w 682"/>
                <a:gd name="T3" fmla="*/ 821 h 1174"/>
                <a:gd name="T4" fmla="*/ 435 w 682"/>
                <a:gd name="T5" fmla="*/ 1050 h 1174"/>
                <a:gd name="T6" fmla="*/ 422 w 682"/>
                <a:gd name="T7" fmla="*/ 1132 h 1174"/>
                <a:gd name="T8" fmla="*/ 343 w 682"/>
                <a:gd name="T9" fmla="*/ 1160 h 1174"/>
                <a:gd name="T10" fmla="*/ 191 w 682"/>
                <a:gd name="T11" fmla="*/ 1158 h 1174"/>
                <a:gd name="T12" fmla="*/ 107 w 682"/>
                <a:gd name="T13" fmla="*/ 1045 h 1174"/>
                <a:gd name="T14" fmla="*/ 96 w 682"/>
                <a:gd name="T15" fmla="*/ 868 h 1174"/>
                <a:gd name="T16" fmla="*/ 69 w 682"/>
                <a:gd name="T17" fmla="*/ 835 h 1174"/>
                <a:gd name="T18" fmla="*/ 51 w 682"/>
                <a:gd name="T19" fmla="*/ 807 h 1174"/>
                <a:gd name="T20" fmla="*/ 43 w 682"/>
                <a:gd name="T21" fmla="*/ 756 h 1174"/>
                <a:gd name="T22" fmla="*/ 0 w 682"/>
                <a:gd name="T23" fmla="*/ 656 h 1174"/>
                <a:gd name="T24" fmla="*/ 51 w 682"/>
                <a:gd name="T25" fmla="*/ 570 h 1174"/>
                <a:gd name="T26" fmla="*/ 83 w 682"/>
                <a:gd name="T27" fmla="*/ 574 h 1174"/>
                <a:gd name="T28" fmla="*/ 152 w 682"/>
                <a:gd name="T29" fmla="*/ 580 h 1174"/>
                <a:gd name="T30" fmla="*/ 205 w 682"/>
                <a:gd name="T31" fmla="*/ 567 h 1174"/>
                <a:gd name="T32" fmla="*/ 282 w 682"/>
                <a:gd name="T33" fmla="*/ 574 h 1174"/>
                <a:gd name="T34" fmla="*/ 308 w 682"/>
                <a:gd name="T35" fmla="*/ 517 h 1174"/>
                <a:gd name="T36" fmla="*/ 333 w 682"/>
                <a:gd name="T37" fmla="*/ 489 h 1174"/>
                <a:gd name="T38" fmla="*/ 369 w 682"/>
                <a:gd name="T39" fmla="*/ 433 h 1174"/>
                <a:gd name="T40" fmla="*/ 409 w 682"/>
                <a:gd name="T41" fmla="*/ 412 h 1174"/>
                <a:gd name="T42" fmla="*/ 452 w 682"/>
                <a:gd name="T43" fmla="*/ 407 h 1174"/>
                <a:gd name="T44" fmla="*/ 465 w 682"/>
                <a:gd name="T45" fmla="*/ 308 h 1174"/>
                <a:gd name="T46" fmla="*/ 404 w 682"/>
                <a:gd name="T47" fmla="*/ 285 h 1174"/>
                <a:gd name="T48" fmla="*/ 404 w 682"/>
                <a:gd name="T49" fmla="*/ 246 h 1174"/>
                <a:gd name="T50" fmla="*/ 373 w 682"/>
                <a:gd name="T51" fmla="*/ 213 h 1174"/>
                <a:gd name="T52" fmla="*/ 348 w 682"/>
                <a:gd name="T53" fmla="*/ 183 h 1174"/>
                <a:gd name="T54" fmla="*/ 354 w 682"/>
                <a:gd name="T55" fmla="*/ 167 h 1174"/>
                <a:gd name="T56" fmla="*/ 335 w 682"/>
                <a:gd name="T57" fmla="*/ 99 h 1174"/>
                <a:gd name="T58" fmla="*/ 325 w 682"/>
                <a:gd name="T59" fmla="*/ 83 h 1174"/>
                <a:gd name="T60" fmla="*/ 346 w 682"/>
                <a:gd name="T61" fmla="*/ 88 h 1174"/>
                <a:gd name="T62" fmla="*/ 402 w 682"/>
                <a:gd name="T63" fmla="*/ 48 h 1174"/>
                <a:gd name="T64" fmla="*/ 406 w 682"/>
                <a:gd name="T65" fmla="*/ 15 h 1174"/>
                <a:gd name="T66" fmla="*/ 443 w 682"/>
                <a:gd name="T67" fmla="*/ 33 h 1174"/>
                <a:gd name="T68" fmla="*/ 524 w 682"/>
                <a:gd name="T69" fmla="*/ 17 h 1174"/>
                <a:gd name="T70" fmla="*/ 546 w 682"/>
                <a:gd name="T71" fmla="*/ 5 h 1174"/>
                <a:gd name="T72" fmla="*/ 593 w 682"/>
                <a:gd name="T73" fmla="*/ 35 h 1174"/>
                <a:gd name="T74" fmla="*/ 633 w 682"/>
                <a:gd name="T75" fmla="*/ 79 h 1174"/>
                <a:gd name="T76" fmla="*/ 674 w 682"/>
                <a:gd name="T77" fmla="*/ 208 h 1174"/>
                <a:gd name="T78" fmla="*/ 654 w 682"/>
                <a:gd name="T79" fmla="*/ 366 h 1174"/>
                <a:gd name="T80" fmla="*/ 641 w 682"/>
                <a:gd name="T81" fmla="*/ 537 h 1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82" h="1174">
                  <a:moveTo>
                    <a:pt x="641" y="537"/>
                  </a:moveTo>
                  <a:cubicBezTo>
                    <a:pt x="633" y="555"/>
                    <a:pt x="600" y="557"/>
                    <a:pt x="585" y="564"/>
                  </a:cubicBezTo>
                  <a:cubicBezTo>
                    <a:pt x="549" y="578"/>
                    <a:pt x="514" y="620"/>
                    <a:pt x="491" y="649"/>
                  </a:cubicBezTo>
                  <a:cubicBezTo>
                    <a:pt x="455" y="694"/>
                    <a:pt x="473" y="768"/>
                    <a:pt x="467" y="821"/>
                  </a:cubicBezTo>
                  <a:cubicBezTo>
                    <a:pt x="462" y="868"/>
                    <a:pt x="447" y="913"/>
                    <a:pt x="440" y="959"/>
                  </a:cubicBezTo>
                  <a:cubicBezTo>
                    <a:pt x="435" y="989"/>
                    <a:pt x="437" y="1020"/>
                    <a:pt x="435" y="1050"/>
                  </a:cubicBezTo>
                  <a:cubicBezTo>
                    <a:pt x="434" y="1074"/>
                    <a:pt x="425" y="1099"/>
                    <a:pt x="422" y="1122"/>
                  </a:cubicBezTo>
                  <a:lnTo>
                    <a:pt x="422" y="1132"/>
                  </a:lnTo>
                  <a:cubicBezTo>
                    <a:pt x="412" y="1135"/>
                    <a:pt x="406" y="1139"/>
                    <a:pt x="397" y="1142"/>
                  </a:cubicBezTo>
                  <a:cubicBezTo>
                    <a:pt x="379" y="1150"/>
                    <a:pt x="361" y="1157"/>
                    <a:pt x="343" y="1160"/>
                  </a:cubicBezTo>
                  <a:cubicBezTo>
                    <a:pt x="323" y="1163"/>
                    <a:pt x="302" y="1160"/>
                    <a:pt x="280" y="1157"/>
                  </a:cubicBezTo>
                  <a:cubicBezTo>
                    <a:pt x="252" y="1153"/>
                    <a:pt x="223" y="1148"/>
                    <a:pt x="191" y="1158"/>
                  </a:cubicBezTo>
                  <a:cubicBezTo>
                    <a:pt x="154" y="1172"/>
                    <a:pt x="140" y="1173"/>
                    <a:pt x="117" y="1140"/>
                  </a:cubicBezTo>
                  <a:cubicBezTo>
                    <a:pt x="97" y="1109"/>
                    <a:pt x="102" y="1079"/>
                    <a:pt x="107" y="1045"/>
                  </a:cubicBezTo>
                  <a:cubicBezTo>
                    <a:pt x="111" y="1033"/>
                    <a:pt x="112" y="1022"/>
                    <a:pt x="112" y="1010"/>
                  </a:cubicBezTo>
                  <a:cubicBezTo>
                    <a:pt x="117" y="947"/>
                    <a:pt x="112" y="901"/>
                    <a:pt x="96" y="868"/>
                  </a:cubicBezTo>
                  <a:cubicBezTo>
                    <a:pt x="89" y="857"/>
                    <a:pt x="81" y="849"/>
                    <a:pt x="73" y="840"/>
                  </a:cubicBezTo>
                  <a:cubicBezTo>
                    <a:pt x="73" y="839"/>
                    <a:pt x="71" y="837"/>
                    <a:pt x="69" y="835"/>
                  </a:cubicBezTo>
                  <a:cubicBezTo>
                    <a:pt x="65" y="829"/>
                    <a:pt x="58" y="822"/>
                    <a:pt x="55" y="814"/>
                  </a:cubicBezTo>
                  <a:cubicBezTo>
                    <a:pt x="53" y="812"/>
                    <a:pt x="53" y="809"/>
                    <a:pt x="51" y="807"/>
                  </a:cubicBezTo>
                  <a:cubicBezTo>
                    <a:pt x="50" y="799"/>
                    <a:pt x="48" y="791"/>
                    <a:pt x="48" y="783"/>
                  </a:cubicBezTo>
                  <a:cubicBezTo>
                    <a:pt x="46" y="774"/>
                    <a:pt x="45" y="766"/>
                    <a:pt x="43" y="756"/>
                  </a:cubicBezTo>
                  <a:cubicBezTo>
                    <a:pt x="38" y="740"/>
                    <a:pt x="30" y="727"/>
                    <a:pt x="22" y="712"/>
                  </a:cubicBezTo>
                  <a:cubicBezTo>
                    <a:pt x="10" y="692"/>
                    <a:pt x="0" y="676"/>
                    <a:pt x="0" y="656"/>
                  </a:cubicBezTo>
                  <a:cubicBezTo>
                    <a:pt x="0" y="638"/>
                    <a:pt x="10" y="626"/>
                    <a:pt x="23" y="613"/>
                  </a:cubicBezTo>
                  <a:cubicBezTo>
                    <a:pt x="35" y="602"/>
                    <a:pt x="46" y="588"/>
                    <a:pt x="51" y="570"/>
                  </a:cubicBezTo>
                  <a:lnTo>
                    <a:pt x="53" y="570"/>
                  </a:lnTo>
                  <a:cubicBezTo>
                    <a:pt x="63" y="570"/>
                    <a:pt x="73" y="572"/>
                    <a:pt x="83" y="574"/>
                  </a:cubicBezTo>
                  <a:cubicBezTo>
                    <a:pt x="94" y="577"/>
                    <a:pt x="106" y="578"/>
                    <a:pt x="117" y="580"/>
                  </a:cubicBezTo>
                  <a:cubicBezTo>
                    <a:pt x="129" y="582"/>
                    <a:pt x="142" y="582"/>
                    <a:pt x="152" y="580"/>
                  </a:cubicBezTo>
                  <a:cubicBezTo>
                    <a:pt x="163" y="578"/>
                    <a:pt x="173" y="574"/>
                    <a:pt x="180" y="570"/>
                  </a:cubicBezTo>
                  <a:cubicBezTo>
                    <a:pt x="190" y="564"/>
                    <a:pt x="195" y="562"/>
                    <a:pt x="205" y="567"/>
                  </a:cubicBezTo>
                  <a:cubicBezTo>
                    <a:pt x="210" y="569"/>
                    <a:pt x="214" y="572"/>
                    <a:pt x="219" y="575"/>
                  </a:cubicBezTo>
                  <a:cubicBezTo>
                    <a:pt x="234" y="585"/>
                    <a:pt x="256" y="602"/>
                    <a:pt x="282" y="574"/>
                  </a:cubicBezTo>
                  <a:cubicBezTo>
                    <a:pt x="290" y="564"/>
                    <a:pt x="295" y="552"/>
                    <a:pt x="298" y="539"/>
                  </a:cubicBezTo>
                  <a:cubicBezTo>
                    <a:pt x="302" y="531"/>
                    <a:pt x="305" y="524"/>
                    <a:pt x="308" y="517"/>
                  </a:cubicBezTo>
                  <a:cubicBezTo>
                    <a:pt x="312" y="511"/>
                    <a:pt x="318" y="506"/>
                    <a:pt x="323" y="499"/>
                  </a:cubicBezTo>
                  <a:cubicBezTo>
                    <a:pt x="326" y="496"/>
                    <a:pt x="330" y="493"/>
                    <a:pt x="333" y="489"/>
                  </a:cubicBezTo>
                  <a:cubicBezTo>
                    <a:pt x="341" y="478"/>
                    <a:pt x="346" y="470"/>
                    <a:pt x="350" y="460"/>
                  </a:cubicBezTo>
                  <a:cubicBezTo>
                    <a:pt x="356" y="448"/>
                    <a:pt x="359" y="440"/>
                    <a:pt x="369" y="433"/>
                  </a:cubicBezTo>
                  <a:lnTo>
                    <a:pt x="373" y="432"/>
                  </a:lnTo>
                  <a:cubicBezTo>
                    <a:pt x="384" y="424"/>
                    <a:pt x="399" y="415"/>
                    <a:pt x="409" y="412"/>
                  </a:cubicBezTo>
                  <a:cubicBezTo>
                    <a:pt x="412" y="410"/>
                    <a:pt x="419" y="410"/>
                    <a:pt x="424" y="410"/>
                  </a:cubicBezTo>
                  <a:cubicBezTo>
                    <a:pt x="434" y="410"/>
                    <a:pt x="442" y="410"/>
                    <a:pt x="452" y="407"/>
                  </a:cubicBezTo>
                  <a:cubicBezTo>
                    <a:pt x="467" y="401"/>
                    <a:pt x="479" y="383"/>
                    <a:pt x="481" y="361"/>
                  </a:cubicBezTo>
                  <a:cubicBezTo>
                    <a:pt x="484" y="339"/>
                    <a:pt x="478" y="318"/>
                    <a:pt x="465" y="308"/>
                  </a:cubicBezTo>
                  <a:cubicBezTo>
                    <a:pt x="453" y="300"/>
                    <a:pt x="439" y="298"/>
                    <a:pt x="427" y="298"/>
                  </a:cubicBezTo>
                  <a:cubicBezTo>
                    <a:pt x="411" y="297"/>
                    <a:pt x="407" y="295"/>
                    <a:pt x="404" y="285"/>
                  </a:cubicBezTo>
                  <a:cubicBezTo>
                    <a:pt x="404" y="284"/>
                    <a:pt x="404" y="279"/>
                    <a:pt x="406" y="275"/>
                  </a:cubicBezTo>
                  <a:cubicBezTo>
                    <a:pt x="407" y="267"/>
                    <a:pt x="407" y="257"/>
                    <a:pt x="404" y="246"/>
                  </a:cubicBezTo>
                  <a:cubicBezTo>
                    <a:pt x="399" y="236"/>
                    <a:pt x="391" y="229"/>
                    <a:pt x="382" y="223"/>
                  </a:cubicBezTo>
                  <a:cubicBezTo>
                    <a:pt x="379" y="219"/>
                    <a:pt x="376" y="216"/>
                    <a:pt x="373" y="213"/>
                  </a:cubicBezTo>
                  <a:cubicBezTo>
                    <a:pt x="369" y="208"/>
                    <a:pt x="366" y="203"/>
                    <a:pt x="363" y="200"/>
                  </a:cubicBezTo>
                  <a:cubicBezTo>
                    <a:pt x="356" y="193"/>
                    <a:pt x="353" y="186"/>
                    <a:pt x="348" y="183"/>
                  </a:cubicBezTo>
                  <a:cubicBezTo>
                    <a:pt x="348" y="181"/>
                    <a:pt x="350" y="178"/>
                    <a:pt x="350" y="176"/>
                  </a:cubicBezTo>
                  <a:cubicBezTo>
                    <a:pt x="351" y="173"/>
                    <a:pt x="353" y="170"/>
                    <a:pt x="354" y="167"/>
                  </a:cubicBezTo>
                  <a:cubicBezTo>
                    <a:pt x="361" y="153"/>
                    <a:pt x="371" y="135"/>
                    <a:pt x="358" y="116"/>
                  </a:cubicBezTo>
                  <a:cubicBezTo>
                    <a:pt x="351" y="106"/>
                    <a:pt x="341" y="102"/>
                    <a:pt x="335" y="99"/>
                  </a:cubicBezTo>
                  <a:cubicBezTo>
                    <a:pt x="323" y="94"/>
                    <a:pt x="323" y="94"/>
                    <a:pt x="323" y="89"/>
                  </a:cubicBezTo>
                  <a:cubicBezTo>
                    <a:pt x="322" y="88"/>
                    <a:pt x="323" y="84"/>
                    <a:pt x="325" y="83"/>
                  </a:cubicBezTo>
                  <a:cubicBezTo>
                    <a:pt x="326" y="81"/>
                    <a:pt x="330" y="81"/>
                    <a:pt x="336" y="83"/>
                  </a:cubicBezTo>
                  <a:cubicBezTo>
                    <a:pt x="340" y="83"/>
                    <a:pt x="343" y="84"/>
                    <a:pt x="346" y="88"/>
                  </a:cubicBezTo>
                  <a:cubicBezTo>
                    <a:pt x="356" y="94"/>
                    <a:pt x="373" y="107"/>
                    <a:pt x="392" y="89"/>
                  </a:cubicBezTo>
                  <a:cubicBezTo>
                    <a:pt x="412" y="73"/>
                    <a:pt x="406" y="56"/>
                    <a:pt x="402" y="48"/>
                  </a:cubicBezTo>
                  <a:cubicBezTo>
                    <a:pt x="401" y="45"/>
                    <a:pt x="399" y="41"/>
                    <a:pt x="399" y="38"/>
                  </a:cubicBezTo>
                  <a:cubicBezTo>
                    <a:pt x="396" y="18"/>
                    <a:pt x="402" y="17"/>
                    <a:pt x="406" y="15"/>
                  </a:cubicBezTo>
                  <a:cubicBezTo>
                    <a:pt x="411" y="13"/>
                    <a:pt x="415" y="17"/>
                    <a:pt x="424" y="23"/>
                  </a:cubicBezTo>
                  <a:cubicBezTo>
                    <a:pt x="430" y="27"/>
                    <a:pt x="437" y="32"/>
                    <a:pt x="443" y="33"/>
                  </a:cubicBezTo>
                  <a:cubicBezTo>
                    <a:pt x="462" y="38"/>
                    <a:pt x="488" y="33"/>
                    <a:pt x="499" y="28"/>
                  </a:cubicBezTo>
                  <a:cubicBezTo>
                    <a:pt x="509" y="25"/>
                    <a:pt x="516" y="22"/>
                    <a:pt x="524" y="17"/>
                  </a:cubicBezTo>
                  <a:cubicBezTo>
                    <a:pt x="527" y="13"/>
                    <a:pt x="532" y="10"/>
                    <a:pt x="537" y="7"/>
                  </a:cubicBezTo>
                  <a:cubicBezTo>
                    <a:pt x="541" y="7"/>
                    <a:pt x="544" y="5"/>
                    <a:pt x="546" y="5"/>
                  </a:cubicBezTo>
                  <a:cubicBezTo>
                    <a:pt x="557" y="0"/>
                    <a:pt x="564" y="3"/>
                    <a:pt x="572" y="8"/>
                  </a:cubicBezTo>
                  <a:cubicBezTo>
                    <a:pt x="579" y="13"/>
                    <a:pt x="585" y="22"/>
                    <a:pt x="593" y="35"/>
                  </a:cubicBezTo>
                  <a:cubicBezTo>
                    <a:pt x="597" y="38"/>
                    <a:pt x="600" y="43"/>
                    <a:pt x="603" y="48"/>
                  </a:cubicBezTo>
                  <a:cubicBezTo>
                    <a:pt x="611" y="60"/>
                    <a:pt x="621" y="69"/>
                    <a:pt x="633" y="79"/>
                  </a:cubicBezTo>
                  <a:cubicBezTo>
                    <a:pt x="649" y="97"/>
                    <a:pt x="666" y="114"/>
                    <a:pt x="674" y="137"/>
                  </a:cubicBezTo>
                  <a:cubicBezTo>
                    <a:pt x="681" y="155"/>
                    <a:pt x="679" y="183"/>
                    <a:pt x="674" y="208"/>
                  </a:cubicBezTo>
                  <a:cubicBezTo>
                    <a:pt x="653" y="209"/>
                    <a:pt x="636" y="216"/>
                    <a:pt x="623" y="231"/>
                  </a:cubicBezTo>
                  <a:cubicBezTo>
                    <a:pt x="593" y="264"/>
                    <a:pt x="654" y="326"/>
                    <a:pt x="654" y="366"/>
                  </a:cubicBezTo>
                  <a:cubicBezTo>
                    <a:pt x="653" y="409"/>
                    <a:pt x="603" y="463"/>
                    <a:pt x="621" y="504"/>
                  </a:cubicBezTo>
                  <a:cubicBezTo>
                    <a:pt x="628" y="519"/>
                    <a:pt x="649" y="519"/>
                    <a:pt x="641" y="53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81" name="Freeform 17">
              <a:extLst>
                <a:ext uri="{FF2B5EF4-FFF2-40B4-BE49-F238E27FC236}">
                  <a16:creationId xmlns:a16="http://schemas.microsoft.com/office/drawing/2014/main" id="{B531DD6C-33AE-514C-A43B-AEAF83AA7B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0538" y="3095625"/>
              <a:ext cx="228600" cy="238125"/>
            </a:xfrm>
            <a:custGeom>
              <a:avLst/>
              <a:gdLst>
                <a:gd name="T0" fmla="*/ 353 w 636"/>
                <a:gd name="T1" fmla="*/ 51 h 663"/>
                <a:gd name="T2" fmla="*/ 401 w 636"/>
                <a:gd name="T3" fmla="*/ 114 h 663"/>
                <a:gd name="T4" fmla="*/ 458 w 636"/>
                <a:gd name="T5" fmla="*/ 189 h 663"/>
                <a:gd name="T6" fmla="*/ 482 w 636"/>
                <a:gd name="T7" fmla="*/ 245 h 663"/>
                <a:gd name="T8" fmla="*/ 496 w 636"/>
                <a:gd name="T9" fmla="*/ 364 h 663"/>
                <a:gd name="T10" fmla="*/ 582 w 636"/>
                <a:gd name="T11" fmla="*/ 481 h 663"/>
                <a:gd name="T12" fmla="*/ 577 w 636"/>
                <a:gd name="T13" fmla="*/ 506 h 663"/>
                <a:gd name="T14" fmla="*/ 612 w 636"/>
                <a:gd name="T15" fmla="*/ 565 h 663"/>
                <a:gd name="T16" fmla="*/ 635 w 636"/>
                <a:gd name="T17" fmla="*/ 581 h 663"/>
                <a:gd name="T18" fmla="*/ 612 w 636"/>
                <a:gd name="T19" fmla="*/ 611 h 663"/>
                <a:gd name="T20" fmla="*/ 605 w 636"/>
                <a:gd name="T21" fmla="*/ 611 h 663"/>
                <a:gd name="T22" fmla="*/ 556 w 636"/>
                <a:gd name="T23" fmla="*/ 588 h 663"/>
                <a:gd name="T24" fmla="*/ 524 w 636"/>
                <a:gd name="T25" fmla="*/ 628 h 663"/>
                <a:gd name="T26" fmla="*/ 495 w 636"/>
                <a:gd name="T27" fmla="*/ 662 h 663"/>
                <a:gd name="T28" fmla="*/ 491 w 636"/>
                <a:gd name="T29" fmla="*/ 642 h 663"/>
                <a:gd name="T30" fmla="*/ 449 w 636"/>
                <a:gd name="T31" fmla="*/ 577 h 663"/>
                <a:gd name="T32" fmla="*/ 394 w 636"/>
                <a:gd name="T33" fmla="*/ 537 h 663"/>
                <a:gd name="T34" fmla="*/ 317 w 636"/>
                <a:gd name="T35" fmla="*/ 511 h 663"/>
                <a:gd name="T36" fmla="*/ 269 w 636"/>
                <a:gd name="T37" fmla="*/ 496 h 663"/>
                <a:gd name="T38" fmla="*/ 218 w 636"/>
                <a:gd name="T39" fmla="*/ 440 h 663"/>
                <a:gd name="T40" fmla="*/ 162 w 636"/>
                <a:gd name="T41" fmla="*/ 389 h 663"/>
                <a:gd name="T42" fmla="*/ 136 w 636"/>
                <a:gd name="T43" fmla="*/ 395 h 663"/>
                <a:gd name="T44" fmla="*/ 80 w 636"/>
                <a:gd name="T45" fmla="*/ 371 h 663"/>
                <a:gd name="T46" fmla="*/ 53 w 636"/>
                <a:gd name="T47" fmla="*/ 343 h 663"/>
                <a:gd name="T48" fmla="*/ 29 w 636"/>
                <a:gd name="T49" fmla="*/ 168 h 663"/>
                <a:gd name="T50" fmla="*/ 78 w 636"/>
                <a:gd name="T51" fmla="*/ 58 h 663"/>
                <a:gd name="T52" fmla="*/ 142 w 636"/>
                <a:gd name="T53" fmla="*/ 48 h 663"/>
                <a:gd name="T54" fmla="*/ 167 w 636"/>
                <a:gd name="T55" fmla="*/ 26 h 663"/>
                <a:gd name="T56" fmla="*/ 220 w 636"/>
                <a:gd name="T57" fmla="*/ 10 h 663"/>
                <a:gd name="T58" fmla="*/ 257 w 636"/>
                <a:gd name="T59" fmla="*/ 7 h 663"/>
                <a:gd name="T60" fmla="*/ 294 w 636"/>
                <a:gd name="T61" fmla="*/ 21 h 663"/>
                <a:gd name="T62" fmla="*/ 320 w 636"/>
                <a:gd name="T63" fmla="*/ 31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36" h="663">
                  <a:moveTo>
                    <a:pt x="320" y="31"/>
                  </a:moveTo>
                  <a:cubicBezTo>
                    <a:pt x="330" y="41"/>
                    <a:pt x="342" y="46"/>
                    <a:pt x="353" y="51"/>
                  </a:cubicBezTo>
                  <a:cubicBezTo>
                    <a:pt x="360" y="54"/>
                    <a:pt x="366" y="58"/>
                    <a:pt x="371" y="61"/>
                  </a:cubicBezTo>
                  <a:cubicBezTo>
                    <a:pt x="388" y="72"/>
                    <a:pt x="394" y="92"/>
                    <a:pt x="401" y="114"/>
                  </a:cubicBezTo>
                  <a:cubicBezTo>
                    <a:pt x="407" y="133"/>
                    <a:pt x="412" y="152"/>
                    <a:pt x="427" y="168"/>
                  </a:cubicBezTo>
                  <a:cubicBezTo>
                    <a:pt x="435" y="180"/>
                    <a:pt x="449" y="184"/>
                    <a:pt x="458" y="189"/>
                  </a:cubicBezTo>
                  <a:cubicBezTo>
                    <a:pt x="468" y="193"/>
                    <a:pt x="477" y="198"/>
                    <a:pt x="482" y="203"/>
                  </a:cubicBezTo>
                  <a:cubicBezTo>
                    <a:pt x="490" y="214"/>
                    <a:pt x="486" y="226"/>
                    <a:pt x="482" y="245"/>
                  </a:cubicBezTo>
                  <a:cubicBezTo>
                    <a:pt x="482" y="249"/>
                    <a:pt x="480" y="252"/>
                    <a:pt x="480" y="255"/>
                  </a:cubicBezTo>
                  <a:cubicBezTo>
                    <a:pt x="470" y="293"/>
                    <a:pt x="483" y="329"/>
                    <a:pt x="496" y="364"/>
                  </a:cubicBezTo>
                  <a:cubicBezTo>
                    <a:pt x="501" y="376"/>
                    <a:pt x="506" y="387"/>
                    <a:pt x="508" y="397"/>
                  </a:cubicBezTo>
                  <a:cubicBezTo>
                    <a:pt x="521" y="440"/>
                    <a:pt x="547" y="468"/>
                    <a:pt x="582" y="481"/>
                  </a:cubicBezTo>
                  <a:cubicBezTo>
                    <a:pt x="582" y="486"/>
                    <a:pt x="580" y="491"/>
                    <a:pt x="579" y="496"/>
                  </a:cubicBezTo>
                  <a:cubicBezTo>
                    <a:pt x="579" y="499"/>
                    <a:pt x="577" y="502"/>
                    <a:pt x="577" y="506"/>
                  </a:cubicBezTo>
                  <a:cubicBezTo>
                    <a:pt x="574" y="524"/>
                    <a:pt x="577" y="537"/>
                    <a:pt x="585" y="549"/>
                  </a:cubicBezTo>
                  <a:cubicBezTo>
                    <a:pt x="592" y="558"/>
                    <a:pt x="603" y="562"/>
                    <a:pt x="612" y="565"/>
                  </a:cubicBezTo>
                  <a:cubicBezTo>
                    <a:pt x="618" y="567"/>
                    <a:pt x="623" y="568"/>
                    <a:pt x="627" y="572"/>
                  </a:cubicBezTo>
                  <a:cubicBezTo>
                    <a:pt x="630" y="573"/>
                    <a:pt x="633" y="577"/>
                    <a:pt x="635" y="581"/>
                  </a:cubicBezTo>
                  <a:cubicBezTo>
                    <a:pt x="630" y="585"/>
                    <a:pt x="627" y="591"/>
                    <a:pt x="623" y="598"/>
                  </a:cubicBezTo>
                  <a:cubicBezTo>
                    <a:pt x="620" y="603"/>
                    <a:pt x="615" y="611"/>
                    <a:pt x="612" y="611"/>
                  </a:cubicBezTo>
                  <a:cubicBezTo>
                    <a:pt x="610" y="613"/>
                    <a:pt x="608" y="613"/>
                    <a:pt x="607" y="613"/>
                  </a:cubicBezTo>
                  <a:cubicBezTo>
                    <a:pt x="607" y="613"/>
                    <a:pt x="607" y="611"/>
                    <a:pt x="605" y="611"/>
                  </a:cubicBezTo>
                  <a:cubicBezTo>
                    <a:pt x="602" y="608"/>
                    <a:pt x="599" y="603"/>
                    <a:pt x="592" y="598"/>
                  </a:cubicBezTo>
                  <a:cubicBezTo>
                    <a:pt x="579" y="588"/>
                    <a:pt x="566" y="586"/>
                    <a:pt x="556" y="588"/>
                  </a:cubicBezTo>
                  <a:cubicBezTo>
                    <a:pt x="541" y="593"/>
                    <a:pt x="533" y="608"/>
                    <a:pt x="526" y="623"/>
                  </a:cubicBezTo>
                  <a:lnTo>
                    <a:pt x="524" y="628"/>
                  </a:lnTo>
                  <a:cubicBezTo>
                    <a:pt x="519" y="637"/>
                    <a:pt x="514" y="642"/>
                    <a:pt x="508" y="647"/>
                  </a:cubicBezTo>
                  <a:cubicBezTo>
                    <a:pt x="505" y="652"/>
                    <a:pt x="498" y="656"/>
                    <a:pt x="495" y="662"/>
                  </a:cubicBezTo>
                  <a:cubicBezTo>
                    <a:pt x="493" y="659"/>
                    <a:pt x="493" y="654"/>
                    <a:pt x="493" y="651"/>
                  </a:cubicBezTo>
                  <a:lnTo>
                    <a:pt x="491" y="642"/>
                  </a:lnTo>
                  <a:cubicBezTo>
                    <a:pt x="490" y="631"/>
                    <a:pt x="488" y="619"/>
                    <a:pt x="482" y="608"/>
                  </a:cubicBezTo>
                  <a:cubicBezTo>
                    <a:pt x="475" y="596"/>
                    <a:pt x="460" y="585"/>
                    <a:pt x="449" y="577"/>
                  </a:cubicBezTo>
                  <a:cubicBezTo>
                    <a:pt x="445" y="573"/>
                    <a:pt x="442" y="572"/>
                    <a:pt x="440" y="570"/>
                  </a:cubicBezTo>
                  <a:cubicBezTo>
                    <a:pt x="424" y="557"/>
                    <a:pt x="409" y="547"/>
                    <a:pt x="394" y="537"/>
                  </a:cubicBezTo>
                  <a:cubicBezTo>
                    <a:pt x="378" y="527"/>
                    <a:pt x="360" y="517"/>
                    <a:pt x="340" y="512"/>
                  </a:cubicBezTo>
                  <a:cubicBezTo>
                    <a:pt x="332" y="512"/>
                    <a:pt x="325" y="511"/>
                    <a:pt x="317" y="511"/>
                  </a:cubicBezTo>
                  <a:cubicBezTo>
                    <a:pt x="307" y="511"/>
                    <a:pt x="299" y="511"/>
                    <a:pt x="290" y="507"/>
                  </a:cubicBezTo>
                  <a:cubicBezTo>
                    <a:pt x="284" y="504"/>
                    <a:pt x="276" y="501"/>
                    <a:pt x="269" y="496"/>
                  </a:cubicBezTo>
                  <a:cubicBezTo>
                    <a:pt x="254" y="486"/>
                    <a:pt x="238" y="474"/>
                    <a:pt x="228" y="460"/>
                  </a:cubicBezTo>
                  <a:cubicBezTo>
                    <a:pt x="225" y="453"/>
                    <a:pt x="221" y="446"/>
                    <a:pt x="218" y="440"/>
                  </a:cubicBezTo>
                  <a:cubicBezTo>
                    <a:pt x="215" y="433"/>
                    <a:pt x="213" y="427"/>
                    <a:pt x="208" y="420"/>
                  </a:cubicBezTo>
                  <a:cubicBezTo>
                    <a:pt x="197" y="400"/>
                    <a:pt x="180" y="389"/>
                    <a:pt x="162" y="389"/>
                  </a:cubicBezTo>
                  <a:cubicBezTo>
                    <a:pt x="154" y="389"/>
                    <a:pt x="147" y="392"/>
                    <a:pt x="142" y="394"/>
                  </a:cubicBezTo>
                  <a:cubicBezTo>
                    <a:pt x="139" y="394"/>
                    <a:pt x="137" y="395"/>
                    <a:pt x="136" y="395"/>
                  </a:cubicBezTo>
                  <a:cubicBezTo>
                    <a:pt x="119" y="400"/>
                    <a:pt x="103" y="395"/>
                    <a:pt x="89" y="384"/>
                  </a:cubicBezTo>
                  <a:cubicBezTo>
                    <a:pt x="86" y="380"/>
                    <a:pt x="83" y="376"/>
                    <a:pt x="80" y="371"/>
                  </a:cubicBezTo>
                  <a:lnTo>
                    <a:pt x="75" y="364"/>
                  </a:lnTo>
                  <a:cubicBezTo>
                    <a:pt x="68" y="357"/>
                    <a:pt x="60" y="349"/>
                    <a:pt x="53" y="343"/>
                  </a:cubicBezTo>
                  <a:cubicBezTo>
                    <a:pt x="73" y="300"/>
                    <a:pt x="73" y="249"/>
                    <a:pt x="53" y="204"/>
                  </a:cubicBezTo>
                  <a:cubicBezTo>
                    <a:pt x="47" y="191"/>
                    <a:pt x="37" y="180"/>
                    <a:pt x="29" y="168"/>
                  </a:cubicBezTo>
                  <a:cubicBezTo>
                    <a:pt x="9" y="145"/>
                    <a:pt x="0" y="133"/>
                    <a:pt x="14" y="112"/>
                  </a:cubicBezTo>
                  <a:cubicBezTo>
                    <a:pt x="37" y="79"/>
                    <a:pt x="61" y="59"/>
                    <a:pt x="78" y="58"/>
                  </a:cubicBezTo>
                  <a:cubicBezTo>
                    <a:pt x="81" y="56"/>
                    <a:pt x="88" y="58"/>
                    <a:pt x="94" y="59"/>
                  </a:cubicBezTo>
                  <a:cubicBezTo>
                    <a:pt x="108" y="61"/>
                    <a:pt x="127" y="64"/>
                    <a:pt x="142" y="48"/>
                  </a:cubicBezTo>
                  <a:cubicBezTo>
                    <a:pt x="149" y="41"/>
                    <a:pt x="150" y="33"/>
                    <a:pt x="152" y="25"/>
                  </a:cubicBezTo>
                  <a:cubicBezTo>
                    <a:pt x="157" y="26"/>
                    <a:pt x="162" y="26"/>
                    <a:pt x="167" y="26"/>
                  </a:cubicBezTo>
                  <a:cubicBezTo>
                    <a:pt x="178" y="26"/>
                    <a:pt x="193" y="25"/>
                    <a:pt x="206" y="18"/>
                  </a:cubicBezTo>
                  <a:cubicBezTo>
                    <a:pt x="211" y="16"/>
                    <a:pt x="216" y="13"/>
                    <a:pt x="220" y="10"/>
                  </a:cubicBezTo>
                  <a:cubicBezTo>
                    <a:pt x="225" y="7"/>
                    <a:pt x="229" y="3"/>
                    <a:pt x="233" y="2"/>
                  </a:cubicBezTo>
                  <a:cubicBezTo>
                    <a:pt x="239" y="0"/>
                    <a:pt x="248" y="2"/>
                    <a:pt x="257" y="7"/>
                  </a:cubicBezTo>
                  <a:lnTo>
                    <a:pt x="266" y="10"/>
                  </a:lnTo>
                  <a:cubicBezTo>
                    <a:pt x="274" y="15"/>
                    <a:pt x="284" y="20"/>
                    <a:pt x="294" y="21"/>
                  </a:cubicBezTo>
                  <a:cubicBezTo>
                    <a:pt x="300" y="21"/>
                    <a:pt x="305" y="23"/>
                    <a:pt x="312" y="21"/>
                  </a:cubicBezTo>
                  <a:cubicBezTo>
                    <a:pt x="314" y="25"/>
                    <a:pt x="317" y="28"/>
                    <a:pt x="320" y="3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82" name="Freeform 18">
              <a:extLst>
                <a:ext uri="{FF2B5EF4-FFF2-40B4-BE49-F238E27FC236}">
                  <a16:creationId xmlns:a16="http://schemas.microsoft.com/office/drawing/2014/main" id="{4BFE3810-B713-E446-9651-2503917E1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7500" y="3573463"/>
              <a:ext cx="404813" cy="434975"/>
            </a:xfrm>
            <a:custGeom>
              <a:avLst/>
              <a:gdLst>
                <a:gd name="T0" fmla="*/ 38 w 1124"/>
                <a:gd name="T1" fmla="*/ 211 h 1208"/>
                <a:gd name="T2" fmla="*/ 183 w 1124"/>
                <a:gd name="T3" fmla="*/ 164 h 1208"/>
                <a:gd name="T4" fmla="*/ 324 w 1124"/>
                <a:gd name="T5" fmla="*/ 247 h 1208"/>
                <a:gd name="T6" fmla="*/ 398 w 1124"/>
                <a:gd name="T7" fmla="*/ 309 h 1208"/>
                <a:gd name="T8" fmla="*/ 479 w 1124"/>
                <a:gd name="T9" fmla="*/ 267 h 1208"/>
                <a:gd name="T10" fmla="*/ 570 w 1124"/>
                <a:gd name="T11" fmla="*/ 135 h 1208"/>
                <a:gd name="T12" fmla="*/ 751 w 1124"/>
                <a:gd name="T13" fmla="*/ 77 h 1208"/>
                <a:gd name="T14" fmla="*/ 817 w 1124"/>
                <a:gd name="T15" fmla="*/ 16 h 1208"/>
                <a:gd name="T16" fmla="*/ 871 w 1124"/>
                <a:gd name="T17" fmla="*/ 26 h 1208"/>
                <a:gd name="T18" fmla="*/ 1029 w 1124"/>
                <a:gd name="T19" fmla="*/ 66 h 1208"/>
                <a:gd name="T20" fmla="*/ 1107 w 1124"/>
                <a:gd name="T21" fmla="*/ 59 h 1208"/>
                <a:gd name="T22" fmla="*/ 1104 w 1124"/>
                <a:gd name="T23" fmla="*/ 79 h 1208"/>
                <a:gd name="T24" fmla="*/ 1118 w 1124"/>
                <a:gd name="T25" fmla="*/ 160 h 1208"/>
                <a:gd name="T26" fmla="*/ 1120 w 1124"/>
                <a:gd name="T27" fmla="*/ 239 h 1208"/>
                <a:gd name="T28" fmla="*/ 1072 w 1124"/>
                <a:gd name="T29" fmla="*/ 273 h 1208"/>
                <a:gd name="T30" fmla="*/ 1034 w 1124"/>
                <a:gd name="T31" fmla="*/ 298 h 1208"/>
                <a:gd name="T32" fmla="*/ 1008 w 1124"/>
                <a:gd name="T33" fmla="*/ 370 h 1208"/>
                <a:gd name="T34" fmla="*/ 1013 w 1124"/>
                <a:gd name="T35" fmla="*/ 412 h 1208"/>
                <a:gd name="T36" fmla="*/ 1008 w 1124"/>
                <a:gd name="T37" fmla="*/ 497 h 1208"/>
                <a:gd name="T38" fmla="*/ 908 w 1124"/>
                <a:gd name="T39" fmla="*/ 524 h 1208"/>
                <a:gd name="T40" fmla="*/ 767 w 1124"/>
                <a:gd name="T41" fmla="*/ 553 h 1208"/>
                <a:gd name="T42" fmla="*/ 777 w 1124"/>
                <a:gd name="T43" fmla="*/ 637 h 1208"/>
                <a:gd name="T44" fmla="*/ 786 w 1124"/>
                <a:gd name="T45" fmla="*/ 726 h 1208"/>
                <a:gd name="T46" fmla="*/ 782 w 1124"/>
                <a:gd name="T47" fmla="*/ 855 h 1208"/>
                <a:gd name="T48" fmla="*/ 797 w 1124"/>
                <a:gd name="T49" fmla="*/ 904 h 1208"/>
                <a:gd name="T50" fmla="*/ 853 w 1124"/>
                <a:gd name="T51" fmla="*/ 940 h 1208"/>
                <a:gd name="T52" fmla="*/ 852 w 1124"/>
                <a:gd name="T53" fmla="*/ 965 h 1208"/>
                <a:gd name="T54" fmla="*/ 924 w 1124"/>
                <a:gd name="T55" fmla="*/ 1024 h 1208"/>
                <a:gd name="T56" fmla="*/ 949 w 1124"/>
                <a:gd name="T57" fmla="*/ 1023 h 1208"/>
                <a:gd name="T58" fmla="*/ 916 w 1124"/>
                <a:gd name="T59" fmla="*/ 1074 h 1208"/>
                <a:gd name="T60" fmla="*/ 781 w 1124"/>
                <a:gd name="T61" fmla="*/ 1146 h 1208"/>
                <a:gd name="T62" fmla="*/ 692 w 1124"/>
                <a:gd name="T63" fmla="*/ 1188 h 1208"/>
                <a:gd name="T64" fmla="*/ 664 w 1124"/>
                <a:gd name="T65" fmla="*/ 1207 h 1208"/>
                <a:gd name="T66" fmla="*/ 613 w 1124"/>
                <a:gd name="T67" fmla="*/ 1196 h 1208"/>
                <a:gd name="T68" fmla="*/ 571 w 1124"/>
                <a:gd name="T69" fmla="*/ 1194 h 1208"/>
                <a:gd name="T70" fmla="*/ 555 w 1124"/>
                <a:gd name="T71" fmla="*/ 1179 h 1208"/>
                <a:gd name="T72" fmla="*/ 524 w 1124"/>
                <a:gd name="T73" fmla="*/ 1048 h 1208"/>
                <a:gd name="T74" fmla="*/ 425 w 1124"/>
                <a:gd name="T75" fmla="*/ 899 h 1208"/>
                <a:gd name="T76" fmla="*/ 313 w 1124"/>
                <a:gd name="T77" fmla="*/ 939 h 1208"/>
                <a:gd name="T78" fmla="*/ 204 w 1124"/>
                <a:gd name="T79" fmla="*/ 917 h 1208"/>
                <a:gd name="T80" fmla="*/ 201 w 1124"/>
                <a:gd name="T81" fmla="*/ 845 h 1208"/>
                <a:gd name="T82" fmla="*/ 189 w 1124"/>
                <a:gd name="T83" fmla="*/ 776 h 1208"/>
                <a:gd name="T84" fmla="*/ 135 w 1124"/>
                <a:gd name="T85" fmla="*/ 675 h 1208"/>
                <a:gd name="T86" fmla="*/ 171 w 1124"/>
                <a:gd name="T87" fmla="*/ 596 h 1208"/>
                <a:gd name="T88" fmla="*/ 140 w 1124"/>
                <a:gd name="T89" fmla="*/ 474 h 1208"/>
                <a:gd name="T90" fmla="*/ 28 w 1124"/>
                <a:gd name="T91" fmla="*/ 431 h 1208"/>
                <a:gd name="T92" fmla="*/ 29 w 1124"/>
                <a:gd name="T93" fmla="*/ 364 h 1208"/>
                <a:gd name="T94" fmla="*/ 105 w 1124"/>
                <a:gd name="T95" fmla="*/ 365 h 1208"/>
                <a:gd name="T96" fmla="*/ 115 w 1124"/>
                <a:gd name="T97" fmla="*/ 308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24" h="1208">
                  <a:moveTo>
                    <a:pt x="31" y="230"/>
                  </a:moveTo>
                  <a:cubicBezTo>
                    <a:pt x="28" y="227"/>
                    <a:pt x="25" y="225"/>
                    <a:pt x="21" y="224"/>
                  </a:cubicBezTo>
                  <a:cubicBezTo>
                    <a:pt x="26" y="219"/>
                    <a:pt x="33" y="214"/>
                    <a:pt x="38" y="211"/>
                  </a:cubicBezTo>
                  <a:cubicBezTo>
                    <a:pt x="46" y="204"/>
                    <a:pt x="53" y="197"/>
                    <a:pt x="59" y="189"/>
                  </a:cubicBezTo>
                  <a:cubicBezTo>
                    <a:pt x="71" y="178"/>
                    <a:pt x="82" y="166"/>
                    <a:pt x="94" y="158"/>
                  </a:cubicBezTo>
                  <a:cubicBezTo>
                    <a:pt x="120" y="145"/>
                    <a:pt x="151" y="155"/>
                    <a:pt x="183" y="164"/>
                  </a:cubicBezTo>
                  <a:cubicBezTo>
                    <a:pt x="201" y="169"/>
                    <a:pt x="219" y="176"/>
                    <a:pt x="237" y="178"/>
                  </a:cubicBezTo>
                  <a:lnTo>
                    <a:pt x="239" y="179"/>
                  </a:lnTo>
                  <a:cubicBezTo>
                    <a:pt x="282" y="183"/>
                    <a:pt x="300" y="211"/>
                    <a:pt x="324" y="247"/>
                  </a:cubicBezTo>
                  <a:lnTo>
                    <a:pt x="338" y="267"/>
                  </a:lnTo>
                  <a:cubicBezTo>
                    <a:pt x="351" y="285"/>
                    <a:pt x="364" y="306"/>
                    <a:pt x="390" y="309"/>
                  </a:cubicBezTo>
                  <a:cubicBezTo>
                    <a:pt x="394" y="309"/>
                    <a:pt x="395" y="309"/>
                    <a:pt x="398" y="309"/>
                  </a:cubicBezTo>
                  <a:cubicBezTo>
                    <a:pt x="420" y="308"/>
                    <a:pt x="440" y="293"/>
                    <a:pt x="458" y="280"/>
                  </a:cubicBezTo>
                  <a:cubicBezTo>
                    <a:pt x="464" y="277"/>
                    <a:pt x="471" y="272"/>
                    <a:pt x="476" y="268"/>
                  </a:cubicBezTo>
                  <a:lnTo>
                    <a:pt x="479" y="267"/>
                  </a:lnTo>
                  <a:cubicBezTo>
                    <a:pt x="504" y="253"/>
                    <a:pt x="529" y="239"/>
                    <a:pt x="543" y="211"/>
                  </a:cubicBezTo>
                  <a:cubicBezTo>
                    <a:pt x="550" y="199"/>
                    <a:pt x="553" y="184"/>
                    <a:pt x="557" y="171"/>
                  </a:cubicBezTo>
                  <a:cubicBezTo>
                    <a:pt x="560" y="158"/>
                    <a:pt x="563" y="146"/>
                    <a:pt x="570" y="135"/>
                  </a:cubicBezTo>
                  <a:cubicBezTo>
                    <a:pt x="591" y="99"/>
                    <a:pt x="634" y="72"/>
                    <a:pt x="675" y="72"/>
                  </a:cubicBezTo>
                  <a:cubicBezTo>
                    <a:pt x="683" y="72"/>
                    <a:pt x="692" y="74"/>
                    <a:pt x="700" y="76"/>
                  </a:cubicBezTo>
                  <a:cubicBezTo>
                    <a:pt x="715" y="79"/>
                    <a:pt x="733" y="82"/>
                    <a:pt x="751" y="77"/>
                  </a:cubicBezTo>
                  <a:cubicBezTo>
                    <a:pt x="769" y="71"/>
                    <a:pt x="779" y="56"/>
                    <a:pt x="791" y="43"/>
                  </a:cubicBezTo>
                  <a:cubicBezTo>
                    <a:pt x="796" y="36"/>
                    <a:pt x="800" y="29"/>
                    <a:pt x="805" y="24"/>
                  </a:cubicBezTo>
                  <a:cubicBezTo>
                    <a:pt x="809" y="21"/>
                    <a:pt x="814" y="20"/>
                    <a:pt x="817" y="16"/>
                  </a:cubicBezTo>
                  <a:cubicBezTo>
                    <a:pt x="824" y="13"/>
                    <a:pt x="832" y="8"/>
                    <a:pt x="838" y="0"/>
                  </a:cubicBezTo>
                  <a:cubicBezTo>
                    <a:pt x="838" y="1"/>
                    <a:pt x="840" y="1"/>
                    <a:pt x="840" y="1"/>
                  </a:cubicBezTo>
                  <a:cubicBezTo>
                    <a:pt x="852" y="10"/>
                    <a:pt x="861" y="18"/>
                    <a:pt x="871" y="26"/>
                  </a:cubicBezTo>
                  <a:cubicBezTo>
                    <a:pt x="893" y="44"/>
                    <a:pt x="914" y="62"/>
                    <a:pt x="947" y="72"/>
                  </a:cubicBezTo>
                  <a:cubicBezTo>
                    <a:pt x="964" y="76"/>
                    <a:pt x="983" y="82"/>
                    <a:pt x="1001" y="77"/>
                  </a:cubicBezTo>
                  <a:cubicBezTo>
                    <a:pt x="1013" y="76"/>
                    <a:pt x="1021" y="69"/>
                    <a:pt x="1029" y="66"/>
                  </a:cubicBezTo>
                  <a:cubicBezTo>
                    <a:pt x="1036" y="61"/>
                    <a:pt x="1043" y="56"/>
                    <a:pt x="1051" y="56"/>
                  </a:cubicBezTo>
                  <a:cubicBezTo>
                    <a:pt x="1057" y="54"/>
                    <a:pt x="1066" y="56"/>
                    <a:pt x="1072" y="57"/>
                  </a:cubicBezTo>
                  <a:cubicBezTo>
                    <a:pt x="1084" y="59"/>
                    <a:pt x="1095" y="62"/>
                    <a:pt x="1107" y="59"/>
                  </a:cubicBezTo>
                  <a:lnTo>
                    <a:pt x="1109" y="59"/>
                  </a:lnTo>
                  <a:cubicBezTo>
                    <a:pt x="1109" y="61"/>
                    <a:pt x="1109" y="62"/>
                    <a:pt x="1107" y="64"/>
                  </a:cubicBezTo>
                  <a:cubicBezTo>
                    <a:pt x="1105" y="69"/>
                    <a:pt x="1105" y="74"/>
                    <a:pt x="1104" y="79"/>
                  </a:cubicBezTo>
                  <a:cubicBezTo>
                    <a:pt x="1099" y="99"/>
                    <a:pt x="1100" y="120"/>
                    <a:pt x="1110" y="140"/>
                  </a:cubicBezTo>
                  <a:cubicBezTo>
                    <a:pt x="1110" y="143"/>
                    <a:pt x="1112" y="146"/>
                    <a:pt x="1113" y="150"/>
                  </a:cubicBezTo>
                  <a:cubicBezTo>
                    <a:pt x="1115" y="153"/>
                    <a:pt x="1117" y="156"/>
                    <a:pt x="1118" y="160"/>
                  </a:cubicBezTo>
                  <a:cubicBezTo>
                    <a:pt x="1122" y="168"/>
                    <a:pt x="1122" y="176"/>
                    <a:pt x="1123" y="183"/>
                  </a:cubicBezTo>
                  <a:cubicBezTo>
                    <a:pt x="1123" y="197"/>
                    <a:pt x="1123" y="212"/>
                    <a:pt x="1122" y="225"/>
                  </a:cubicBezTo>
                  <a:cubicBezTo>
                    <a:pt x="1122" y="230"/>
                    <a:pt x="1122" y="235"/>
                    <a:pt x="1120" y="239"/>
                  </a:cubicBezTo>
                  <a:cubicBezTo>
                    <a:pt x="1118" y="242"/>
                    <a:pt x="1115" y="245"/>
                    <a:pt x="1112" y="249"/>
                  </a:cubicBezTo>
                  <a:cubicBezTo>
                    <a:pt x="1105" y="253"/>
                    <a:pt x="1099" y="258"/>
                    <a:pt x="1090" y="262"/>
                  </a:cubicBezTo>
                  <a:cubicBezTo>
                    <a:pt x="1084" y="265"/>
                    <a:pt x="1079" y="268"/>
                    <a:pt x="1072" y="273"/>
                  </a:cubicBezTo>
                  <a:cubicBezTo>
                    <a:pt x="1067" y="275"/>
                    <a:pt x="1064" y="280"/>
                    <a:pt x="1059" y="283"/>
                  </a:cubicBezTo>
                  <a:cubicBezTo>
                    <a:pt x="1052" y="288"/>
                    <a:pt x="1048" y="293"/>
                    <a:pt x="1041" y="296"/>
                  </a:cubicBezTo>
                  <a:cubicBezTo>
                    <a:pt x="1039" y="296"/>
                    <a:pt x="1038" y="298"/>
                    <a:pt x="1034" y="298"/>
                  </a:cubicBezTo>
                  <a:cubicBezTo>
                    <a:pt x="1024" y="303"/>
                    <a:pt x="1013" y="308"/>
                    <a:pt x="1005" y="323"/>
                  </a:cubicBezTo>
                  <a:cubicBezTo>
                    <a:pt x="1000" y="334"/>
                    <a:pt x="1000" y="347"/>
                    <a:pt x="1005" y="362"/>
                  </a:cubicBezTo>
                  <a:lnTo>
                    <a:pt x="1008" y="370"/>
                  </a:lnTo>
                  <a:cubicBezTo>
                    <a:pt x="1010" y="379"/>
                    <a:pt x="1013" y="385"/>
                    <a:pt x="1013" y="390"/>
                  </a:cubicBezTo>
                  <a:cubicBezTo>
                    <a:pt x="1013" y="393"/>
                    <a:pt x="1013" y="397"/>
                    <a:pt x="1013" y="400"/>
                  </a:cubicBezTo>
                  <a:cubicBezTo>
                    <a:pt x="1013" y="403"/>
                    <a:pt x="1013" y="408"/>
                    <a:pt x="1013" y="412"/>
                  </a:cubicBezTo>
                  <a:cubicBezTo>
                    <a:pt x="1013" y="421"/>
                    <a:pt x="1016" y="431"/>
                    <a:pt x="1018" y="440"/>
                  </a:cubicBezTo>
                  <a:cubicBezTo>
                    <a:pt x="1021" y="446"/>
                    <a:pt x="1023" y="454"/>
                    <a:pt x="1023" y="461"/>
                  </a:cubicBezTo>
                  <a:cubicBezTo>
                    <a:pt x="1023" y="473"/>
                    <a:pt x="1015" y="486"/>
                    <a:pt x="1008" y="497"/>
                  </a:cubicBezTo>
                  <a:cubicBezTo>
                    <a:pt x="998" y="509"/>
                    <a:pt x="992" y="520"/>
                    <a:pt x="982" y="529"/>
                  </a:cubicBezTo>
                  <a:cubicBezTo>
                    <a:pt x="972" y="537"/>
                    <a:pt x="959" y="542"/>
                    <a:pt x="949" y="542"/>
                  </a:cubicBezTo>
                  <a:cubicBezTo>
                    <a:pt x="937" y="542"/>
                    <a:pt x="924" y="537"/>
                    <a:pt x="908" y="524"/>
                  </a:cubicBezTo>
                  <a:cubicBezTo>
                    <a:pt x="899" y="519"/>
                    <a:pt x="891" y="514"/>
                    <a:pt x="881" y="510"/>
                  </a:cubicBezTo>
                  <a:cubicBezTo>
                    <a:pt x="861" y="506"/>
                    <a:pt x="842" y="515"/>
                    <a:pt x="828" y="522"/>
                  </a:cubicBezTo>
                  <a:lnTo>
                    <a:pt x="767" y="553"/>
                  </a:lnTo>
                  <a:cubicBezTo>
                    <a:pt x="763" y="555"/>
                    <a:pt x="754" y="560"/>
                    <a:pt x="749" y="568"/>
                  </a:cubicBezTo>
                  <a:cubicBezTo>
                    <a:pt x="744" y="581"/>
                    <a:pt x="749" y="593"/>
                    <a:pt x="753" y="598"/>
                  </a:cubicBezTo>
                  <a:cubicBezTo>
                    <a:pt x="758" y="611"/>
                    <a:pt x="766" y="624"/>
                    <a:pt x="777" y="637"/>
                  </a:cubicBezTo>
                  <a:cubicBezTo>
                    <a:pt x="794" y="659"/>
                    <a:pt x="802" y="670"/>
                    <a:pt x="799" y="690"/>
                  </a:cubicBezTo>
                  <a:cubicBezTo>
                    <a:pt x="797" y="698"/>
                    <a:pt x="794" y="708"/>
                    <a:pt x="789" y="718"/>
                  </a:cubicBezTo>
                  <a:lnTo>
                    <a:pt x="786" y="726"/>
                  </a:lnTo>
                  <a:cubicBezTo>
                    <a:pt x="777" y="753"/>
                    <a:pt x="771" y="781"/>
                    <a:pt x="769" y="809"/>
                  </a:cubicBezTo>
                  <a:cubicBezTo>
                    <a:pt x="767" y="822"/>
                    <a:pt x="767" y="835"/>
                    <a:pt x="776" y="847"/>
                  </a:cubicBezTo>
                  <a:cubicBezTo>
                    <a:pt x="777" y="850"/>
                    <a:pt x="781" y="853"/>
                    <a:pt x="782" y="855"/>
                  </a:cubicBezTo>
                  <a:cubicBezTo>
                    <a:pt x="784" y="856"/>
                    <a:pt x="786" y="860"/>
                    <a:pt x="787" y="861"/>
                  </a:cubicBezTo>
                  <a:cubicBezTo>
                    <a:pt x="789" y="865"/>
                    <a:pt x="789" y="870"/>
                    <a:pt x="789" y="876"/>
                  </a:cubicBezTo>
                  <a:cubicBezTo>
                    <a:pt x="791" y="884"/>
                    <a:pt x="791" y="894"/>
                    <a:pt x="797" y="904"/>
                  </a:cubicBezTo>
                  <a:cubicBezTo>
                    <a:pt x="805" y="917"/>
                    <a:pt x="820" y="921"/>
                    <a:pt x="830" y="924"/>
                  </a:cubicBezTo>
                  <a:cubicBezTo>
                    <a:pt x="838" y="926"/>
                    <a:pt x="847" y="929"/>
                    <a:pt x="850" y="932"/>
                  </a:cubicBezTo>
                  <a:cubicBezTo>
                    <a:pt x="852" y="934"/>
                    <a:pt x="853" y="937"/>
                    <a:pt x="853" y="940"/>
                  </a:cubicBezTo>
                  <a:lnTo>
                    <a:pt x="853" y="940"/>
                  </a:lnTo>
                  <a:cubicBezTo>
                    <a:pt x="855" y="947"/>
                    <a:pt x="853" y="955"/>
                    <a:pt x="853" y="959"/>
                  </a:cubicBezTo>
                  <a:lnTo>
                    <a:pt x="852" y="965"/>
                  </a:lnTo>
                  <a:cubicBezTo>
                    <a:pt x="848" y="977"/>
                    <a:pt x="845" y="988"/>
                    <a:pt x="845" y="1001"/>
                  </a:cubicBezTo>
                  <a:cubicBezTo>
                    <a:pt x="845" y="1018"/>
                    <a:pt x="856" y="1029"/>
                    <a:pt x="876" y="1033"/>
                  </a:cubicBezTo>
                  <a:cubicBezTo>
                    <a:pt x="893" y="1036"/>
                    <a:pt x="911" y="1033"/>
                    <a:pt x="924" y="1024"/>
                  </a:cubicBezTo>
                  <a:lnTo>
                    <a:pt x="927" y="1021"/>
                  </a:lnTo>
                  <a:cubicBezTo>
                    <a:pt x="931" y="1021"/>
                    <a:pt x="932" y="1020"/>
                    <a:pt x="934" y="1020"/>
                  </a:cubicBezTo>
                  <a:cubicBezTo>
                    <a:pt x="939" y="1016"/>
                    <a:pt x="945" y="1020"/>
                    <a:pt x="949" y="1023"/>
                  </a:cubicBezTo>
                  <a:cubicBezTo>
                    <a:pt x="950" y="1026"/>
                    <a:pt x="950" y="1026"/>
                    <a:pt x="950" y="1028"/>
                  </a:cubicBezTo>
                  <a:lnTo>
                    <a:pt x="949" y="1031"/>
                  </a:lnTo>
                  <a:cubicBezTo>
                    <a:pt x="937" y="1046"/>
                    <a:pt x="927" y="1061"/>
                    <a:pt x="916" y="1074"/>
                  </a:cubicBezTo>
                  <a:cubicBezTo>
                    <a:pt x="903" y="1092"/>
                    <a:pt x="888" y="1108"/>
                    <a:pt x="870" y="1122"/>
                  </a:cubicBezTo>
                  <a:cubicBezTo>
                    <a:pt x="852" y="1136"/>
                    <a:pt x="832" y="1145"/>
                    <a:pt x="814" y="1146"/>
                  </a:cubicBezTo>
                  <a:cubicBezTo>
                    <a:pt x="804" y="1148"/>
                    <a:pt x="792" y="1146"/>
                    <a:pt x="781" y="1146"/>
                  </a:cubicBezTo>
                  <a:cubicBezTo>
                    <a:pt x="776" y="1145"/>
                    <a:pt x="771" y="1145"/>
                    <a:pt x="766" y="1145"/>
                  </a:cubicBezTo>
                  <a:cubicBezTo>
                    <a:pt x="756" y="1145"/>
                    <a:pt x="744" y="1143"/>
                    <a:pt x="733" y="1148"/>
                  </a:cubicBezTo>
                  <a:cubicBezTo>
                    <a:pt x="713" y="1155"/>
                    <a:pt x="702" y="1171"/>
                    <a:pt x="692" y="1188"/>
                  </a:cubicBezTo>
                  <a:cubicBezTo>
                    <a:pt x="688" y="1192"/>
                    <a:pt x="683" y="1196"/>
                    <a:pt x="677" y="1199"/>
                  </a:cubicBezTo>
                  <a:cubicBezTo>
                    <a:pt x="675" y="1201"/>
                    <a:pt x="672" y="1202"/>
                    <a:pt x="669" y="1204"/>
                  </a:cubicBezTo>
                  <a:cubicBezTo>
                    <a:pt x="667" y="1206"/>
                    <a:pt x="665" y="1207"/>
                    <a:pt x="664" y="1207"/>
                  </a:cubicBezTo>
                  <a:cubicBezTo>
                    <a:pt x="662" y="1207"/>
                    <a:pt x="659" y="1204"/>
                    <a:pt x="655" y="1202"/>
                  </a:cubicBezTo>
                  <a:cubicBezTo>
                    <a:pt x="649" y="1197"/>
                    <a:pt x="642" y="1192"/>
                    <a:pt x="632" y="1191"/>
                  </a:cubicBezTo>
                  <a:cubicBezTo>
                    <a:pt x="626" y="1191"/>
                    <a:pt x="619" y="1192"/>
                    <a:pt x="613" y="1196"/>
                  </a:cubicBezTo>
                  <a:cubicBezTo>
                    <a:pt x="604" y="1197"/>
                    <a:pt x="595" y="1198"/>
                    <a:pt x="586" y="1199"/>
                  </a:cubicBezTo>
                  <a:cubicBezTo>
                    <a:pt x="577" y="1200"/>
                    <a:pt x="575" y="1199"/>
                    <a:pt x="573" y="1199"/>
                  </a:cubicBezTo>
                  <a:cubicBezTo>
                    <a:pt x="573" y="1197"/>
                    <a:pt x="573" y="1196"/>
                    <a:pt x="571" y="1194"/>
                  </a:cubicBezTo>
                  <a:cubicBezTo>
                    <a:pt x="570" y="1192"/>
                    <a:pt x="568" y="1189"/>
                    <a:pt x="565" y="1186"/>
                  </a:cubicBezTo>
                  <a:cubicBezTo>
                    <a:pt x="562" y="1183"/>
                    <a:pt x="558" y="1181"/>
                    <a:pt x="555" y="1179"/>
                  </a:cubicBezTo>
                  <a:lnTo>
                    <a:pt x="555" y="1179"/>
                  </a:lnTo>
                  <a:cubicBezTo>
                    <a:pt x="555" y="1171"/>
                    <a:pt x="557" y="1163"/>
                    <a:pt x="557" y="1155"/>
                  </a:cubicBezTo>
                  <a:cubicBezTo>
                    <a:pt x="558" y="1140"/>
                    <a:pt x="558" y="1127"/>
                    <a:pt x="558" y="1112"/>
                  </a:cubicBezTo>
                  <a:cubicBezTo>
                    <a:pt x="558" y="1076"/>
                    <a:pt x="548" y="1066"/>
                    <a:pt x="524" y="1048"/>
                  </a:cubicBezTo>
                  <a:cubicBezTo>
                    <a:pt x="501" y="1031"/>
                    <a:pt x="497" y="1011"/>
                    <a:pt x="494" y="987"/>
                  </a:cubicBezTo>
                  <a:cubicBezTo>
                    <a:pt x="491" y="963"/>
                    <a:pt x="486" y="937"/>
                    <a:pt x="463" y="916"/>
                  </a:cubicBezTo>
                  <a:cubicBezTo>
                    <a:pt x="454" y="909"/>
                    <a:pt x="441" y="898"/>
                    <a:pt x="425" y="899"/>
                  </a:cubicBezTo>
                  <a:cubicBezTo>
                    <a:pt x="408" y="901"/>
                    <a:pt x="398" y="914"/>
                    <a:pt x="387" y="931"/>
                  </a:cubicBezTo>
                  <a:cubicBezTo>
                    <a:pt x="375" y="949"/>
                    <a:pt x="344" y="960"/>
                    <a:pt x="323" y="949"/>
                  </a:cubicBezTo>
                  <a:cubicBezTo>
                    <a:pt x="318" y="947"/>
                    <a:pt x="316" y="942"/>
                    <a:pt x="313" y="939"/>
                  </a:cubicBezTo>
                  <a:cubicBezTo>
                    <a:pt x="301" y="921"/>
                    <a:pt x="290" y="919"/>
                    <a:pt x="267" y="932"/>
                  </a:cubicBezTo>
                  <a:cubicBezTo>
                    <a:pt x="262" y="934"/>
                    <a:pt x="252" y="940"/>
                    <a:pt x="244" y="949"/>
                  </a:cubicBezTo>
                  <a:cubicBezTo>
                    <a:pt x="232" y="937"/>
                    <a:pt x="219" y="926"/>
                    <a:pt x="204" y="917"/>
                  </a:cubicBezTo>
                  <a:cubicBezTo>
                    <a:pt x="202" y="916"/>
                    <a:pt x="197" y="912"/>
                    <a:pt x="193" y="911"/>
                  </a:cubicBezTo>
                  <a:cubicBezTo>
                    <a:pt x="194" y="899"/>
                    <a:pt x="196" y="889"/>
                    <a:pt x="196" y="878"/>
                  </a:cubicBezTo>
                  <a:cubicBezTo>
                    <a:pt x="197" y="866"/>
                    <a:pt x="199" y="856"/>
                    <a:pt x="201" y="845"/>
                  </a:cubicBezTo>
                  <a:cubicBezTo>
                    <a:pt x="202" y="842"/>
                    <a:pt x="202" y="837"/>
                    <a:pt x="204" y="833"/>
                  </a:cubicBezTo>
                  <a:cubicBezTo>
                    <a:pt x="207" y="822"/>
                    <a:pt x="211" y="807"/>
                    <a:pt x="206" y="794"/>
                  </a:cubicBezTo>
                  <a:cubicBezTo>
                    <a:pt x="202" y="786"/>
                    <a:pt x="196" y="781"/>
                    <a:pt x="189" y="776"/>
                  </a:cubicBezTo>
                  <a:cubicBezTo>
                    <a:pt x="186" y="772"/>
                    <a:pt x="183" y="771"/>
                    <a:pt x="181" y="767"/>
                  </a:cubicBezTo>
                  <a:cubicBezTo>
                    <a:pt x="178" y="763"/>
                    <a:pt x="173" y="758"/>
                    <a:pt x="168" y="751"/>
                  </a:cubicBezTo>
                  <a:cubicBezTo>
                    <a:pt x="153" y="728"/>
                    <a:pt x="128" y="695"/>
                    <a:pt x="135" y="675"/>
                  </a:cubicBezTo>
                  <a:cubicBezTo>
                    <a:pt x="137" y="669"/>
                    <a:pt x="140" y="664"/>
                    <a:pt x="143" y="657"/>
                  </a:cubicBezTo>
                  <a:cubicBezTo>
                    <a:pt x="146" y="650"/>
                    <a:pt x="151" y="642"/>
                    <a:pt x="153" y="632"/>
                  </a:cubicBezTo>
                  <a:cubicBezTo>
                    <a:pt x="158" y="618"/>
                    <a:pt x="161" y="606"/>
                    <a:pt x="171" y="596"/>
                  </a:cubicBezTo>
                  <a:cubicBezTo>
                    <a:pt x="188" y="580"/>
                    <a:pt x="196" y="566"/>
                    <a:pt x="196" y="553"/>
                  </a:cubicBezTo>
                  <a:cubicBezTo>
                    <a:pt x="196" y="532"/>
                    <a:pt x="179" y="517"/>
                    <a:pt x="158" y="496"/>
                  </a:cubicBezTo>
                  <a:cubicBezTo>
                    <a:pt x="151" y="489"/>
                    <a:pt x="146" y="482"/>
                    <a:pt x="140" y="474"/>
                  </a:cubicBezTo>
                  <a:cubicBezTo>
                    <a:pt x="123" y="453"/>
                    <a:pt x="102" y="425"/>
                    <a:pt x="66" y="428"/>
                  </a:cubicBezTo>
                  <a:cubicBezTo>
                    <a:pt x="57" y="430"/>
                    <a:pt x="51" y="431"/>
                    <a:pt x="46" y="433"/>
                  </a:cubicBezTo>
                  <a:cubicBezTo>
                    <a:pt x="39" y="435"/>
                    <a:pt x="38" y="436"/>
                    <a:pt x="28" y="431"/>
                  </a:cubicBezTo>
                  <a:cubicBezTo>
                    <a:pt x="25" y="430"/>
                    <a:pt x="0" y="415"/>
                    <a:pt x="3" y="400"/>
                  </a:cubicBezTo>
                  <a:cubicBezTo>
                    <a:pt x="5" y="395"/>
                    <a:pt x="8" y="392"/>
                    <a:pt x="13" y="389"/>
                  </a:cubicBezTo>
                  <a:cubicBezTo>
                    <a:pt x="18" y="382"/>
                    <a:pt x="26" y="375"/>
                    <a:pt x="29" y="364"/>
                  </a:cubicBezTo>
                  <a:cubicBezTo>
                    <a:pt x="31" y="357"/>
                    <a:pt x="31" y="349"/>
                    <a:pt x="31" y="341"/>
                  </a:cubicBezTo>
                  <a:cubicBezTo>
                    <a:pt x="41" y="347"/>
                    <a:pt x="51" y="351"/>
                    <a:pt x="66" y="352"/>
                  </a:cubicBezTo>
                  <a:cubicBezTo>
                    <a:pt x="82" y="356"/>
                    <a:pt x="90" y="357"/>
                    <a:pt x="105" y="365"/>
                  </a:cubicBezTo>
                  <a:cubicBezTo>
                    <a:pt x="112" y="370"/>
                    <a:pt x="115" y="379"/>
                    <a:pt x="125" y="382"/>
                  </a:cubicBezTo>
                  <a:cubicBezTo>
                    <a:pt x="155" y="392"/>
                    <a:pt x="168" y="361"/>
                    <a:pt x="156" y="336"/>
                  </a:cubicBezTo>
                  <a:cubicBezTo>
                    <a:pt x="146" y="318"/>
                    <a:pt x="132" y="314"/>
                    <a:pt x="115" y="308"/>
                  </a:cubicBezTo>
                  <a:cubicBezTo>
                    <a:pt x="72" y="290"/>
                    <a:pt x="64" y="257"/>
                    <a:pt x="31" y="230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83" name="Freeform 19">
              <a:extLst>
                <a:ext uri="{FF2B5EF4-FFF2-40B4-BE49-F238E27FC236}">
                  <a16:creationId xmlns:a16="http://schemas.microsoft.com/office/drawing/2014/main" id="{5CF68B34-D430-084A-AEDF-5CC3F3B453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1188" y="3046413"/>
              <a:ext cx="177800" cy="217487"/>
            </a:xfrm>
            <a:custGeom>
              <a:avLst/>
              <a:gdLst>
                <a:gd name="T0" fmla="*/ 216 w 492"/>
                <a:gd name="T1" fmla="*/ 26 h 603"/>
                <a:gd name="T2" fmla="*/ 217 w 492"/>
                <a:gd name="T3" fmla="*/ 16 h 603"/>
                <a:gd name="T4" fmla="*/ 221 w 492"/>
                <a:gd name="T5" fmla="*/ 3 h 603"/>
                <a:gd name="T6" fmla="*/ 222 w 492"/>
                <a:gd name="T7" fmla="*/ 0 h 603"/>
                <a:gd name="T8" fmla="*/ 250 w 492"/>
                <a:gd name="T9" fmla="*/ 16 h 603"/>
                <a:gd name="T10" fmla="*/ 293 w 492"/>
                <a:gd name="T11" fmla="*/ 18 h 603"/>
                <a:gd name="T12" fmla="*/ 326 w 492"/>
                <a:gd name="T13" fmla="*/ 18 h 603"/>
                <a:gd name="T14" fmla="*/ 336 w 492"/>
                <a:gd name="T15" fmla="*/ 24 h 603"/>
                <a:gd name="T16" fmla="*/ 348 w 492"/>
                <a:gd name="T17" fmla="*/ 31 h 603"/>
                <a:gd name="T18" fmla="*/ 372 w 492"/>
                <a:gd name="T19" fmla="*/ 41 h 603"/>
                <a:gd name="T20" fmla="*/ 379 w 492"/>
                <a:gd name="T21" fmla="*/ 42 h 603"/>
                <a:gd name="T22" fmla="*/ 404 w 492"/>
                <a:gd name="T23" fmla="*/ 52 h 603"/>
                <a:gd name="T24" fmla="*/ 415 w 492"/>
                <a:gd name="T25" fmla="*/ 161 h 603"/>
                <a:gd name="T26" fmla="*/ 420 w 492"/>
                <a:gd name="T27" fmla="*/ 186 h 603"/>
                <a:gd name="T28" fmla="*/ 468 w 492"/>
                <a:gd name="T29" fmla="*/ 281 h 603"/>
                <a:gd name="T30" fmla="*/ 474 w 492"/>
                <a:gd name="T31" fmla="*/ 288 h 603"/>
                <a:gd name="T32" fmla="*/ 483 w 492"/>
                <a:gd name="T33" fmla="*/ 349 h 603"/>
                <a:gd name="T34" fmla="*/ 481 w 492"/>
                <a:gd name="T35" fmla="*/ 406 h 603"/>
                <a:gd name="T36" fmla="*/ 484 w 492"/>
                <a:gd name="T37" fmla="*/ 415 h 603"/>
                <a:gd name="T38" fmla="*/ 346 w 492"/>
                <a:gd name="T39" fmla="*/ 556 h 603"/>
                <a:gd name="T40" fmla="*/ 272 w 492"/>
                <a:gd name="T41" fmla="*/ 594 h 603"/>
                <a:gd name="T42" fmla="*/ 268 w 492"/>
                <a:gd name="T43" fmla="*/ 594 h 603"/>
                <a:gd name="T44" fmla="*/ 242 w 492"/>
                <a:gd name="T45" fmla="*/ 583 h 603"/>
                <a:gd name="T46" fmla="*/ 199 w 492"/>
                <a:gd name="T47" fmla="*/ 523 h 603"/>
                <a:gd name="T48" fmla="*/ 186 w 492"/>
                <a:gd name="T49" fmla="*/ 489 h 603"/>
                <a:gd name="T50" fmla="*/ 170 w 492"/>
                <a:gd name="T51" fmla="*/ 395 h 603"/>
                <a:gd name="T52" fmla="*/ 173 w 492"/>
                <a:gd name="T53" fmla="*/ 385 h 603"/>
                <a:gd name="T54" fmla="*/ 168 w 492"/>
                <a:gd name="T55" fmla="*/ 321 h 603"/>
                <a:gd name="T56" fmla="*/ 133 w 492"/>
                <a:gd name="T57" fmla="*/ 298 h 603"/>
                <a:gd name="T58" fmla="*/ 112 w 492"/>
                <a:gd name="T59" fmla="*/ 285 h 603"/>
                <a:gd name="T60" fmla="*/ 91 w 492"/>
                <a:gd name="T61" fmla="*/ 238 h 603"/>
                <a:gd name="T62" fmla="*/ 53 w 492"/>
                <a:gd name="T63" fmla="*/ 172 h 603"/>
                <a:gd name="T64" fmla="*/ 28 w 492"/>
                <a:gd name="T65" fmla="*/ 161 h 603"/>
                <a:gd name="T66" fmla="*/ 3 w 492"/>
                <a:gd name="T67" fmla="*/ 144 h 603"/>
                <a:gd name="T68" fmla="*/ 0 w 492"/>
                <a:gd name="T69" fmla="*/ 141 h 603"/>
                <a:gd name="T70" fmla="*/ 5 w 492"/>
                <a:gd name="T71" fmla="*/ 136 h 603"/>
                <a:gd name="T72" fmla="*/ 8 w 492"/>
                <a:gd name="T73" fmla="*/ 131 h 603"/>
                <a:gd name="T74" fmla="*/ 10 w 492"/>
                <a:gd name="T75" fmla="*/ 128 h 603"/>
                <a:gd name="T76" fmla="*/ 26 w 492"/>
                <a:gd name="T77" fmla="*/ 123 h 603"/>
                <a:gd name="T78" fmla="*/ 89 w 492"/>
                <a:gd name="T79" fmla="*/ 97 h 603"/>
                <a:gd name="T80" fmla="*/ 105 w 492"/>
                <a:gd name="T81" fmla="*/ 59 h 603"/>
                <a:gd name="T82" fmla="*/ 110 w 492"/>
                <a:gd name="T83" fmla="*/ 44 h 603"/>
                <a:gd name="T84" fmla="*/ 112 w 492"/>
                <a:gd name="T85" fmla="*/ 41 h 603"/>
                <a:gd name="T86" fmla="*/ 150 w 492"/>
                <a:gd name="T87" fmla="*/ 46 h 603"/>
                <a:gd name="T88" fmla="*/ 155 w 492"/>
                <a:gd name="T89" fmla="*/ 49 h 603"/>
                <a:gd name="T90" fmla="*/ 194 w 492"/>
                <a:gd name="T91" fmla="*/ 56 h 603"/>
                <a:gd name="T92" fmla="*/ 216 w 492"/>
                <a:gd name="T93" fmla="*/ 26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92" h="603">
                  <a:moveTo>
                    <a:pt x="216" y="26"/>
                  </a:moveTo>
                  <a:cubicBezTo>
                    <a:pt x="217" y="23"/>
                    <a:pt x="217" y="19"/>
                    <a:pt x="217" y="16"/>
                  </a:cubicBezTo>
                  <a:cubicBezTo>
                    <a:pt x="219" y="11"/>
                    <a:pt x="219" y="6"/>
                    <a:pt x="221" y="3"/>
                  </a:cubicBezTo>
                  <a:cubicBezTo>
                    <a:pt x="221" y="1"/>
                    <a:pt x="221" y="1"/>
                    <a:pt x="222" y="0"/>
                  </a:cubicBezTo>
                  <a:cubicBezTo>
                    <a:pt x="231" y="6"/>
                    <a:pt x="239" y="13"/>
                    <a:pt x="250" y="16"/>
                  </a:cubicBezTo>
                  <a:cubicBezTo>
                    <a:pt x="265" y="21"/>
                    <a:pt x="280" y="19"/>
                    <a:pt x="293" y="18"/>
                  </a:cubicBezTo>
                  <a:cubicBezTo>
                    <a:pt x="305" y="16"/>
                    <a:pt x="316" y="14"/>
                    <a:pt x="326" y="18"/>
                  </a:cubicBezTo>
                  <a:cubicBezTo>
                    <a:pt x="331" y="19"/>
                    <a:pt x="333" y="21"/>
                    <a:pt x="336" y="24"/>
                  </a:cubicBezTo>
                  <a:cubicBezTo>
                    <a:pt x="339" y="26"/>
                    <a:pt x="343" y="29"/>
                    <a:pt x="348" y="31"/>
                  </a:cubicBezTo>
                  <a:cubicBezTo>
                    <a:pt x="356" y="36"/>
                    <a:pt x="364" y="37"/>
                    <a:pt x="372" y="41"/>
                  </a:cubicBezTo>
                  <a:lnTo>
                    <a:pt x="379" y="42"/>
                  </a:lnTo>
                  <a:cubicBezTo>
                    <a:pt x="385" y="44"/>
                    <a:pt x="395" y="47"/>
                    <a:pt x="404" y="52"/>
                  </a:cubicBezTo>
                  <a:cubicBezTo>
                    <a:pt x="400" y="85"/>
                    <a:pt x="408" y="128"/>
                    <a:pt x="415" y="161"/>
                  </a:cubicBezTo>
                  <a:cubicBezTo>
                    <a:pt x="417" y="171"/>
                    <a:pt x="418" y="179"/>
                    <a:pt x="420" y="186"/>
                  </a:cubicBezTo>
                  <a:cubicBezTo>
                    <a:pt x="427" y="230"/>
                    <a:pt x="445" y="252"/>
                    <a:pt x="468" y="281"/>
                  </a:cubicBezTo>
                  <a:lnTo>
                    <a:pt x="474" y="288"/>
                  </a:lnTo>
                  <a:cubicBezTo>
                    <a:pt x="491" y="309"/>
                    <a:pt x="488" y="326"/>
                    <a:pt x="483" y="349"/>
                  </a:cubicBezTo>
                  <a:cubicBezTo>
                    <a:pt x="479" y="365"/>
                    <a:pt x="474" y="385"/>
                    <a:pt x="481" y="406"/>
                  </a:cubicBezTo>
                  <a:cubicBezTo>
                    <a:pt x="483" y="410"/>
                    <a:pt x="483" y="411"/>
                    <a:pt x="484" y="415"/>
                  </a:cubicBezTo>
                  <a:cubicBezTo>
                    <a:pt x="430" y="453"/>
                    <a:pt x="377" y="497"/>
                    <a:pt x="346" y="556"/>
                  </a:cubicBezTo>
                  <a:cubicBezTo>
                    <a:pt x="328" y="593"/>
                    <a:pt x="308" y="602"/>
                    <a:pt x="272" y="594"/>
                  </a:cubicBezTo>
                  <a:cubicBezTo>
                    <a:pt x="270" y="594"/>
                    <a:pt x="270" y="594"/>
                    <a:pt x="268" y="594"/>
                  </a:cubicBezTo>
                  <a:cubicBezTo>
                    <a:pt x="259" y="591"/>
                    <a:pt x="249" y="588"/>
                    <a:pt x="242" y="583"/>
                  </a:cubicBezTo>
                  <a:cubicBezTo>
                    <a:pt x="217" y="568"/>
                    <a:pt x="204" y="543"/>
                    <a:pt x="199" y="523"/>
                  </a:cubicBezTo>
                  <a:cubicBezTo>
                    <a:pt x="196" y="512"/>
                    <a:pt x="191" y="500"/>
                    <a:pt x="186" y="489"/>
                  </a:cubicBezTo>
                  <a:cubicBezTo>
                    <a:pt x="175" y="456"/>
                    <a:pt x="163" y="425"/>
                    <a:pt x="170" y="395"/>
                  </a:cubicBezTo>
                  <a:lnTo>
                    <a:pt x="173" y="385"/>
                  </a:lnTo>
                  <a:cubicBezTo>
                    <a:pt x="178" y="365"/>
                    <a:pt x="184" y="342"/>
                    <a:pt x="168" y="321"/>
                  </a:cubicBezTo>
                  <a:cubicBezTo>
                    <a:pt x="158" y="308"/>
                    <a:pt x="145" y="303"/>
                    <a:pt x="133" y="298"/>
                  </a:cubicBezTo>
                  <a:cubicBezTo>
                    <a:pt x="125" y="294"/>
                    <a:pt x="117" y="291"/>
                    <a:pt x="112" y="285"/>
                  </a:cubicBezTo>
                  <a:cubicBezTo>
                    <a:pt x="102" y="273"/>
                    <a:pt x="95" y="256"/>
                    <a:pt x="91" y="238"/>
                  </a:cubicBezTo>
                  <a:cubicBezTo>
                    <a:pt x="84" y="215"/>
                    <a:pt x="76" y="189"/>
                    <a:pt x="53" y="172"/>
                  </a:cubicBezTo>
                  <a:cubicBezTo>
                    <a:pt x="44" y="168"/>
                    <a:pt x="36" y="164"/>
                    <a:pt x="28" y="161"/>
                  </a:cubicBezTo>
                  <a:cubicBezTo>
                    <a:pt x="18" y="156"/>
                    <a:pt x="10" y="153"/>
                    <a:pt x="3" y="144"/>
                  </a:cubicBezTo>
                  <a:cubicBezTo>
                    <a:pt x="2" y="144"/>
                    <a:pt x="0" y="143"/>
                    <a:pt x="0" y="141"/>
                  </a:cubicBezTo>
                  <a:cubicBezTo>
                    <a:pt x="2" y="140"/>
                    <a:pt x="4" y="138"/>
                    <a:pt x="5" y="136"/>
                  </a:cubicBezTo>
                  <a:cubicBezTo>
                    <a:pt x="6" y="134"/>
                    <a:pt x="7" y="133"/>
                    <a:pt x="8" y="131"/>
                  </a:cubicBezTo>
                  <a:cubicBezTo>
                    <a:pt x="8" y="130"/>
                    <a:pt x="8" y="128"/>
                    <a:pt x="10" y="128"/>
                  </a:cubicBezTo>
                  <a:cubicBezTo>
                    <a:pt x="11" y="125"/>
                    <a:pt x="20" y="125"/>
                    <a:pt x="26" y="123"/>
                  </a:cubicBezTo>
                  <a:cubicBezTo>
                    <a:pt x="56" y="121"/>
                    <a:pt x="77" y="113"/>
                    <a:pt x="89" y="97"/>
                  </a:cubicBezTo>
                  <a:cubicBezTo>
                    <a:pt x="99" y="85"/>
                    <a:pt x="102" y="70"/>
                    <a:pt x="105" y="59"/>
                  </a:cubicBezTo>
                  <a:cubicBezTo>
                    <a:pt x="107" y="54"/>
                    <a:pt x="109" y="49"/>
                    <a:pt x="110" y="44"/>
                  </a:cubicBezTo>
                  <a:cubicBezTo>
                    <a:pt x="110" y="42"/>
                    <a:pt x="110" y="42"/>
                    <a:pt x="112" y="41"/>
                  </a:cubicBezTo>
                  <a:cubicBezTo>
                    <a:pt x="125" y="39"/>
                    <a:pt x="138" y="41"/>
                    <a:pt x="150" y="46"/>
                  </a:cubicBezTo>
                  <a:lnTo>
                    <a:pt x="155" y="49"/>
                  </a:lnTo>
                  <a:cubicBezTo>
                    <a:pt x="165" y="54"/>
                    <a:pt x="179" y="62"/>
                    <a:pt x="194" y="56"/>
                  </a:cubicBezTo>
                  <a:cubicBezTo>
                    <a:pt x="206" y="52"/>
                    <a:pt x="214" y="41"/>
                    <a:pt x="216" y="2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84" name="Freeform 20">
              <a:extLst>
                <a:ext uri="{FF2B5EF4-FFF2-40B4-BE49-F238E27FC236}">
                  <a16:creationId xmlns:a16="http://schemas.microsoft.com/office/drawing/2014/main" id="{DDFEBA92-2E1F-BF4F-A5B8-F5D1EA3BF2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8975" y="2317750"/>
              <a:ext cx="268288" cy="369888"/>
            </a:xfrm>
            <a:custGeom>
              <a:avLst/>
              <a:gdLst>
                <a:gd name="T0" fmla="*/ 0 w 746"/>
                <a:gd name="T1" fmla="*/ 529 h 1026"/>
                <a:gd name="T2" fmla="*/ 117 w 746"/>
                <a:gd name="T3" fmla="*/ 422 h 1026"/>
                <a:gd name="T4" fmla="*/ 194 w 746"/>
                <a:gd name="T5" fmla="*/ 338 h 1026"/>
                <a:gd name="T6" fmla="*/ 264 w 746"/>
                <a:gd name="T7" fmla="*/ 250 h 1026"/>
                <a:gd name="T8" fmla="*/ 270 w 746"/>
                <a:gd name="T9" fmla="*/ 221 h 1026"/>
                <a:gd name="T10" fmla="*/ 287 w 746"/>
                <a:gd name="T11" fmla="*/ 198 h 1026"/>
                <a:gd name="T12" fmla="*/ 404 w 746"/>
                <a:gd name="T13" fmla="*/ 181 h 1026"/>
                <a:gd name="T14" fmla="*/ 475 w 746"/>
                <a:gd name="T15" fmla="*/ 110 h 1026"/>
                <a:gd name="T16" fmla="*/ 557 w 746"/>
                <a:gd name="T17" fmla="*/ 57 h 1026"/>
                <a:gd name="T18" fmla="*/ 611 w 746"/>
                <a:gd name="T19" fmla="*/ 1 h 1026"/>
                <a:gd name="T20" fmla="*/ 646 w 746"/>
                <a:gd name="T21" fmla="*/ 8 h 1026"/>
                <a:gd name="T22" fmla="*/ 708 w 746"/>
                <a:gd name="T23" fmla="*/ 0 h 1026"/>
                <a:gd name="T24" fmla="*/ 700 w 746"/>
                <a:gd name="T25" fmla="*/ 76 h 1026"/>
                <a:gd name="T26" fmla="*/ 740 w 746"/>
                <a:gd name="T27" fmla="*/ 151 h 1026"/>
                <a:gd name="T28" fmla="*/ 728 w 746"/>
                <a:gd name="T29" fmla="*/ 288 h 1026"/>
                <a:gd name="T30" fmla="*/ 730 w 746"/>
                <a:gd name="T31" fmla="*/ 361 h 1026"/>
                <a:gd name="T32" fmla="*/ 723 w 746"/>
                <a:gd name="T33" fmla="*/ 361 h 1026"/>
                <a:gd name="T34" fmla="*/ 628 w 746"/>
                <a:gd name="T35" fmla="*/ 459 h 1026"/>
                <a:gd name="T36" fmla="*/ 620 w 746"/>
                <a:gd name="T37" fmla="*/ 542 h 1026"/>
                <a:gd name="T38" fmla="*/ 516 w 746"/>
                <a:gd name="T39" fmla="*/ 649 h 1026"/>
                <a:gd name="T40" fmla="*/ 493 w 746"/>
                <a:gd name="T41" fmla="*/ 677 h 1026"/>
                <a:gd name="T42" fmla="*/ 455 w 746"/>
                <a:gd name="T43" fmla="*/ 725 h 1026"/>
                <a:gd name="T44" fmla="*/ 451 w 746"/>
                <a:gd name="T45" fmla="*/ 754 h 1026"/>
                <a:gd name="T46" fmla="*/ 389 w 746"/>
                <a:gd name="T47" fmla="*/ 820 h 1026"/>
                <a:gd name="T48" fmla="*/ 348 w 746"/>
                <a:gd name="T49" fmla="*/ 894 h 1026"/>
                <a:gd name="T50" fmla="*/ 325 w 746"/>
                <a:gd name="T51" fmla="*/ 970 h 1026"/>
                <a:gd name="T52" fmla="*/ 249 w 746"/>
                <a:gd name="T53" fmla="*/ 1000 h 1026"/>
                <a:gd name="T54" fmla="*/ 143 w 746"/>
                <a:gd name="T55" fmla="*/ 985 h 1026"/>
                <a:gd name="T56" fmla="*/ 61 w 746"/>
                <a:gd name="T57" fmla="*/ 807 h 1026"/>
                <a:gd name="T58" fmla="*/ 48 w 746"/>
                <a:gd name="T59" fmla="*/ 677 h 1026"/>
                <a:gd name="T60" fmla="*/ 40 w 746"/>
                <a:gd name="T61" fmla="*/ 644 h 1026"/>
                <a:gd name="T62" fmla="*/ 15 w 746"/>
                <a:gd name="T63" fmla="*/ 583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6" h="1026">
                  <a:moveTo>
                    <a:pt x="2" y="552"/>
                  </a:moveTo>
                  <a:cubicBezTo>
                    <a:pt x="0" y="543"/>
                    <a:pt x="0" y="535"/>
                    <a:pt x="0" y="529"/>
                  </a:cubicBezTo>
                  <a:cubicBezTo>
                    <a:pt x="21" y="525"/>
                    <a:pt x="43" y="517"/>
                    <a:pt x="63" y="502"/>
                  </a:cubicBezTo>
                  <a:cubicBezTo>
                    <a:pt x="91" y="483"/>
                    <a:pt x="104" y="451"/>
                    <a:pt x="117" y="422"/>
                  </a:cubicBezTo>
                  <a:cubicBezTo>
                    <a:pt x="132" y="390"/>
                    <a:pt x="145" y="361"/>
                    <a:pt x="175" y="346"/>
                  </a:cubicBezTo>
                  <a:cubicBezTo>
                    <a:pt x="181" y="344"/>
                    <a:pt x="188" y="341"/>
                    <a:pt x="194" y="338"/>
                  </a:cubicBezTo>
                  <a:cubicBezTo>
                    <a:pt x="218" y="329"/>
                    <a:pt x="244" y="319"/>
                    <a:pt x="255" y="282"/>
                  </a:cubicBezTo>
                  <a:cubicBezTo>
                    <a:pt x="259" y="272"/>
                    <a:pt x="262" y="260"/>
                    <a:pt x="264" y="250"/>
                  </a:cubicBezTo>
                  <a:cubicBezTo>
                    <a:pt x="265" y="239"/>
                    <a:pt x="267" y="229"/>
                    <a:pt x="270" y="221"/>
                  </a:cubicBezTo>
                  <a:lnTo>
                    <a:pt x="270" y="221"/>
                  </a:lnTo>
                  <a:cubicBezTo>
                    <a:pt x="272" y="214"/>
                    <a:pt x="275" y="207"/>
                    <a:pt x="280" y="202"/>
                  </a:cubicBezTo>
                  <a:cubicBezTo>
                    <a:pt x="282" y="201"/>
                    <a:pt x="285" y="199"/>
                    <a:pt x="287" y="198"/>
                  </a:cubicBezTo>
                  <a:cubicBezTo>
                    <a:pt x="302" y="186"/>
                    <a:pt x="323" y="186"/>
                    <a:pt x="346" y="188"/>
                  </a:cubicBezTo>
                  <a:cubicBezTo>
                    <a:pt x="366" y="188"/>
                    <a:pt x="386" y="188"/>
                    <a:pt x="404" y="181"/>
                  </a:cubicBezTo>
                  <a:cubicBezTo>
                    <a:pt x="432" y="171"/>
                    <a:pt x="445" y="151"/>
                    <a:pt x="458" y="133"/>
                  </a:cubicBezTo>
                  <a:cubicBezTo>
                    <a:pt x="463" y="125"/>
                    <a:pt x="468" y="117"/>
                    <a:pt x="475" y="110"/>
                  </a:cubicBezTo>
                  <a:cubicBezTo>
                    <a:pt x="486" y="97"/>
                    <a:pt x="503" y="89"/>
                    <a:pt x="519" y="81"/>
                  </a:cubicBezTo>
                  <a:cubicBezTo>
                    <a:pt x="532" y="74"/>
                    <a:pt x="545" y="67"/>
                    <a:pt x="557" y="57"/>
                  </a:cubicBezTo>
                  <a:cubicBezTo>
                    <a:pt x="567" y="51"/>
                    <a:pt x="575" y="39"/>
                    <a:pt x="582" y="29"/>
                  </a:cubicBezTo>
                  <a:cubicBezTo>
                    <a:pt x="592" y="18"/>
                    <a:pt x="600" y="6"/>
                    <a:pt x="611" y="1"/>
                  </a:cubicBezTo>
                  <a:cubicBezTo>
                    <a:pt x="620" y="0"/>
                    <a:pt x="623" y="0"/>
                    <a:pt x="629" y="3"/>
                  </a:cubicBezTo>
                  <a:cubicBezTo>
                    <a:pt x="634" y="5"/>
                    <a:pt x="639" y="6"/>
                    <a:pt x="646" y="8"/>
                  </a:cubicBezTo>
                  <a:cubicBezTo>
                    <a:pt x="667" y="11"/>
                    <a:pt x="679" y="8"/>
                    <a:pt x="699" y="1"/>
                  </a:cubicBezTo>
                  <a:cubicBezTo>
                    <a:pt x="702" y="1"/>
                    <a:pt x="705" y="0"/>
                    <a:pt x="708" y="0"/>
                  </a:cubicBezTo>
                  <a:lnTo>
                    <a:pt x="702" y="38"/>
                  </a:lnTo>
                  <a:cubicBezTo>
                    <a:pt x="700" y="49"/>
                    <a:pt x="699" y="62"/>
                    <a:pt x="700" y="76"/>
                  </a:cubicBezTo>
                  <a:cubicBezTo>
                    <a:pt x="704" y="94"/>
                    <a:pt x="713" y="109"/>
                    <a:pt x="723" y="122"/>
                  </a:cubicBezTo>
                  <a:cubicBezTo>
                    <a:pt x="730" y="132"/>
                    <a:pt x="736" y="142"/>
                    <a:pt x="740" y="151"/>
                  </a:cubicBezTo>
                  <a:cubicBezTo>
                    <a:pt x="745" y="168"/>
                    <a:pt x="743" y="188"/>
                    <a:pt x="740" y="206"/>
                  </a:cubicBezTo>
                  <a:lnTo>
                    <a:pt x="728" y="288"/>
                  </a:lnTo>
                  <a:cubicBezTo>
                    <a:pt x="725" y="306"/>
                    <a:pt x="723" y="324"/>
                    <a:pt x="727" y="344"/>
                  </a:cubicBezTo>
                  <a:cubicBezTo>
                    <a:pt x="727" y="349"/>
                    <a:pt x="728" y="356"/>
                    <a:pt x="730" y="361"/>
                  </a:cubicBezTo>
                  <a:cubicBezTo>
                    <a:pt x="730" y="362"/>
                    <a:pt x="732" y="362"/>
                    <a:pt x="732" y="362"/>
                  </a:cubicBezTo>
                  <a:cubicBezTo>
                    <a:pt x="728" y="362"/>
                    <a:pt x="727" y="362"/>
                    <a:pt x="723" y="361"/>
                  </a:cubicBezTo>
                  <a:cubicBezTo>
                    <a:pt x="702" y="356"/>
                    <a:pt x="679" y="351"/>
                    <a:pt x="659" y="364"/>
                  </a:cubicBezTo>
                  <a:cubicBezTo>
                    <a:pt x="624" y="387"/>
                    <a:pt x="628" y="453"/>
                    <a:pt x="628" y="459"/>
                  </a:cubicBezTo>
                  <a:cubicBezTo>
                    <a:pt x="629" y="468"/>
                    <a:pt x="631" y="476"/>
                    <a:pt x="631" y="483"/>
                  </a:cubicBezTo>
                  <a:cubicBezTo>
                    <a:pt x="634" y="507"/>
                    <a:pt x="636" y="520"/>
                    <a:pt x="620" y="542"/>
                  </a:cubicBezTo>
                  <a:cubicBezTo>
                    <a:pt x="598" y="568"/>
                    <a:pt x="575" y="585"/>
                    <a:pt x="544" y="604"/>
                  </a:cubicBezTo>
                  <a:cubicBezTo>
                    <a:pt x="524" y="618"/>
                    <a:pt x="519" y="636"/>
                    <a:pt x="516" y="649"/>
                  </a:cubicBezTo>
                  <a:cubicBezTo>
                    <a:pt x="514" y="657"/>
                    <a:pt x="511" y="665"/>
                    <a:pt x="506" y="672"/>
                  </a:cubicBezTo>
                  <a:cubicBezTo>
                    <a:pt x="503" y="675"/>
                    <a:pt x="499" y="675"/>
                    <a:pt x="493" y="677"/>
                  </a:cubicBezTo>
                  <a:cubicBezTo>
                    <a:pt x="486" y="679"/>
                    <a:pt x="478" y="680"/>
                    <a:pt x="470" y="687"/>
                  </a:cubicBezTo>
                  <a:cubicBezTo>
                    <a:pt x="458" y="695"/>
                    <a:pt x="455" y="713"/>
                    <a:pt x="455" y="725"/>
                  </a:cubicBezTo>
                  <a:lnTo>
                    <a:pt x="455" y="730"/>
                  </a:lnTo>
                  <a:cubicBezTo>
                    <a:pt x="453" y="738"/>
                    <a:pt x="451" y="746"/>
                    <a:pt x="451" y="754"/>
                  </a:cubicBezTo>
                  <a:cubicBezTo>
                    <a:pt x="412" y="756"/>
                    <a:pt x="402" y="782"/>
                    <a:pt x="394" y="804"/>
                  </a:cubicBezTo>
                  <a:cubicBezTo>
                    <a:pt x="392" y="809"/>
                    <a:pt x="391" y="815"/>
                    <a:pt x="389" y="820"/>
                  </a:cubicBezTo>
                  <a:cubicBezTo>
                    <a:pt x="382" y="832"/>
                    <a:pt x="376" y="845"/>
                    <a:pt x="367" y="856"/>
                  </a:cubicBezTo>
                  <a:cubicBezTo>
                    <a:pt x="361" y="870"/>
                    <a:pt x="354" y="881"/>
                    <a:pt x="348" y="894"/>
                  </a:cubicBezTo>
                  <a:cubicBezTo>
                    <a:pt x="343" y="908"/>
                    <a:pt x="341" y="921"/>
                    <a:pt x="339" y="932"/>
                  </a:cubicBezTo>
                  <a:cubicBezTo>
                    <a:pt x="338" y="947"/>
                    <a:pt x="336" y="959"/>
                    <a:pt x="325" y="970"/>
                  </a:cubicBezTo>
                  <a:cubicBezTo>
                    <a:pt x="315" y="980"/>
                    <a:pt x="303" y="982"/>
                    <a:pt x="292" y="983"/>
                  </a:cubicBezTo>
                  <a:cubicBezTo>
                    <a:pt x="278" y="987"/>
                    <a:pt x="262" y="988"/>
                    <a:pt x="249" y="1000"/>
                  </a:cubicBezTo>
                  <a:cubicBezTo>
                    <a:pt x="242" y="1006"/>
                    <a:pt x="236" y="1015"/>
                    <a:pt x="229" y="1025"/>
                  </a:cubicBezTo>
                  <a:cubicBezTo>
                    <a:pt x="208" y="983"/>
                    <a:pt x="173" y="982"/>
                    <a:pt x="143" y="985"/>
                  </a:cubicBezTo>
                  <a:cubicBezTo>
                    <a:pt x="138" y="985"/>
                    <a:pt x="132" y="985"/>
                    <a:pt x="127" y="987"/>
                  </a:cubicBezTo>
                  <a:cubicBezTo>
                    <a:pt x="152" y="917"/>
                    <a:pt x="129" y="850"/>
                    <a:pt x="61" y="807"/>
                  </a:cubicBezTo>
                  <a:cubicBezTo>
                    <a:pt x="33" y="789"/>
                    <a:pt x="30" y="777"/>
                    <a:pt x="43" y="751"/>
                  </a:cubicBezTo>
                  <a:cubicBezTo>
                    <a:pt x="59" y="718"/>
                    <a:pt x="56" y="705"/>
                    <a:pt x="48" y="677"/>
                  </a:cubicBezTo>
                  <a:lnTo>
                    <a:pt x="43" y="662"/>
                  </a:lnTo>
                  <a:cubicBezTo>
                    <a:pt x="41" y="656"/>
                    <a:pt x="40" y="649"/>
                    <a:pt x="40" y="644"/>
                  </a:cubicBezTo>
                  <a:cubicBezTo>
                    <a:pt x="35" y="627"/>
                    <a:pt x="30" y="611"/>
                    <a:pt x="21" y="595"/>
                  </a:cubicBezTo>
                  <a:lnTo>
                    <a:pt x="15" y="583"/>
                  </a:lnTo>
                  <a:cubicBezTo>
                    <a:pt x="8" y="573"/>
                    <a:pt x="3" y="563"/>
                    <a:pt x="2" y="55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85" name="Freeform 21">
              <a:extLst>
                <a:ext uri="{FF2B5EF4-FFF2-40B4-BE49-F238E27FC236}">
                  <a16:creationId xmlns:a16="http://schemas.microsoft.com/office/drawing/2014/main" id="{04EFA565-491D-394E-BA1B-C08E0EB1EA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950" y="2681288"/>
              <a:ext cx="306388" cy="244475"/>
            </a:xfrm>
            <a:custGeom>
              <a:avLst/>
              <a:gdLst>
                <a:gd name="T0" fmla="*/ 13 w 850"/>
                <a:gd name="T1" fmla="*/ 427 h 681"/>
                <a:gd name="T2" fmla="*/ 26 w 850"/>
                <a:gd name="T3" fmla="*/ 405 h 681"/>
                <a:gd name="T4" fmla="*/ 54 w 850"/>
                <a:gd name="T5" fmla="*/ 328 h 681"/>
                <a:gd name="T6" fmla="*/ 86 w 850"/>
                <a:gd name="T7" fmla="*/ 250 h 681"/>
                <a:gd name="T8" fmla="*/ 104 w 850"/>
                <a:gd name="T9" fmla="*/ 221 h 681"/>
                <a:gd name="T10" fmla="*/ 119 w 850"/>
                <a:gd name="T11" fmla="*/ 178 h 681"/>
                <a:gd name="T12" fmla="*/ 150 w 850"/>
                <a:gd name="T13" fmla="*/ 125 h 681"/>
                <a:gd name="T14" fmla="*/ 175 w 850"/>
                <a:gd name="T15" fmla="*/ 119 h 681"/>
                <a:gd name="T16" fmla="*/ 208 w 850"/>
                <a:gd name="T17" fmla="*/ 105 h 681"/>
                <a:gd name="T18" fmla="*/ 237 w 850"/>
                <a:gd name="T19" fmla="*/ 79 h 681"/>
                <a:gd name="T20" fmla="*/ 252 w 850"/>
                <a:gd name="T21" fmla="*/ 63 h 681"/>
                <a:gd name="T22" fmla="*/ 274 w 850"/>
                <a:gd name="T23" fmla="*/ 46 h 681"/>
                <a:gd name="T24" fmla="*/ 315 w 850"/>
                <a:gd name="T25" fmla="*/ 8 h 681"/>
                <a:gd name="T26" fmla="*/ 348 w 850"/>
                <a:gd name="T27" fmla="*/ 3 h 681"/>
                <a:gd name="T28" fmla="*/ 409 w 850"/>
                <a:gd name="T29" fmla="*/ 30 h 681"/>
                <a:gd name="T30" fmla="*/ 417 w 850"/>
                <a:gd name="T31" fmla="*/ 45 h 681"/>
                <a:gd name="T32" fmla="*/ 433 w 850"/>
                <a:gd name="T33" fmla="*/ 71 h 681"/>
                <a:gd name="T34" fmla="*/ 433 w 850"/>
                <a:gd name="T35" fmla="*/ 73 h 681"/>
                <a:gd name="T36" fmla="*/ 433 w 850"/>
                <a:gd name="T37" fmla="*/ 73 h 681"/>
                <a:gd name="T38" fmla="*/ 460 w 850"/>
                <a:gd name="T39" fmla="*/ 120 h 681"/>
                <a:gd name="T40" fmla="*/ 508 w 850"/>
                <a:gd name="T41" fmla="*/ 203 h 681"/>
                <a:gd name="T42" fmla="*/ 539 w 850"/>
                <a:gd name="T43" fmla="*/ 247 h 681"/>
                <a:gd name="T44" fmla="*/ 671 w 850"/>
                <a:gd name="T45" fmla="*/ 330 h 681"/>
                <a:gd name="T46" fmla="*/ 687 w 850"/>
                <a:gd name="T47" fmla="*/ 328 h 681"/>
                <a:gd name="T48" fmla="*/ 756 w 850"/>
                <a:gd name="T49" fmla="*/ 341 h 681"/>
                <a:gd name="T50" fmla="*/ 771 w 850"/>
                <a:gd name="T51" fmla="*/ 387 h 681"/>
                <a:gd name="T52" fmla="*/ 786 w 850"/>
                <a:gd name="T53" fmla="*/ 440 h 681"/>
                <a:gd name="T54" fmla="*/ 849 w 850"/>
                <a:gd name="T55" fmla="*/ 493 h 681"/>
                <a:gd name="T56" fmla="*/ 844 w 850"/>
                <a:gd name="T57" fmla="*/ 504 h 681"/>
                <a:gd name="T58" fmla="*/ 832 w 850"/>
                <a:gd name="T59" fmla="*/ 524 h 681"/>
                <a:gd name="T60" fmla="*/ 816 w 850"/>
                <a:gd name="T61" fmla="*/ 531 h 681"/>
                <a:gd name="T62" fmla="*/ 796 w 850"/>
                <a:gd name="T63" fmla="*/ 540 h 681"/>
                <a:gd name="T64" fmla="*/ 763 w 850"/>
                <a:gd name="T65" fmla="*/ 578 h 681"/>
                <a:gd name="T66" fmla="*/ 755 w 850"/>
                <a:gd name="T67" fmla="*/ 591 h 681"/>
                <a:gd name="T68" fmla="*/ 746 w 850"/>
                <a:gd name="T69" fmla="*/ 600 h 681"/>
                <a:gd name="T70" fmla="*/ 722 w 850"/>
                <a:gd name="T71" fmla="*/ 646 h 681"/>
                <a:gd name="T72" fmla="*/ 710 w 850"/>
                <a:gd name="T73" fmla="*/ 651 h 681"/>
                <a:gd name="T74" fmla="*/ 656 w 850"/>
                <a:gd name="T75" fmla="*/ 671 h 681"/>
                <a:gd name="T76" fmla="*/ 628 w 850"/>
                <a:gd name="T77" fmla="*/ 667 h 681"/>
                <a:gd name="T78" fmla="*/ 596 w 850"/>
                <a:gd name="T79" fmla="*/ 664 h 681"/>
                <a:gd name="T80" fmla="*/ 564 w 850"/>
                <a:gd name="T81" fmla="*/ 672 h 681"/>
                <a:gd name="T82" fmla="*/ 539 w 850"/>
                <a:gd name="T83" fmla="*/ 680 h 681"/>
                <a:gd name="T84" fmla="*/ 509 w 850"/>
                <a:gd name="T85" fmla="*/ 671 h 681"/>
                <a:gd name="T86" fmla="*/ 491 w 850"/>
                <a:gd name="T87" fmla="*/ 661 h 681"/>
                <a:gd name="T88" fmla="*/ 456 w 850"/>
                <a:gd name="T89" fmla="*/ 661 h 681"/>
                <a:gd name="T90" fmla="*/ 447 w 850"/>
                <a:gd name="T91" fmla="*/ 664 h 681"/>
                <a:gd name="T92" fmla="*/ 430 w 850"/>
                <a:gd name="T93" fmla="*/ 664 h 681"/>
                <a:gd name="T94" fmla="*/ 422 w 850"/>
                <a:gd name="T95" fmla="*/ 634 h 681"/>
                <a:gd name="T96" fmla="*/ 407 w 850"/>
                <a:gd name="T97" fmla="*/ 587 h 681"/>
                <a:gd name="T98" fmla="*/ 283 w 850"/>
                <a:gd name="T99" fmla="*/ 598 h 681"/>
                <a:gd name="T100" fmla="*/ 247 w 850"/>
                <a:gd name="T101" fmla="*/ 615 h 681"/>
                <a:gd name="T102" fmla="*/ 221 w 850"/>
                <a:gd name="T103" fmla="*/ 616 h 681"/>
                <a:gd name="T104" fmla="*/ 216 w 850"/>
                <a:gd name="T105" fmla="*/ 616 h 681"/>
                <a:gd name="T106" fmla="*/ 176 w 850"/>
                <a:gd name="T107" fmla="*/ 621 h 681"/>
                <a:gd name="T108" fmla="*/ 64 w 850"/>
                <a:gd name="T109" fmla="*/ 628 h 681"/>
                <a:gd name="T110" fmla="*/ 36 w 850"/>
                <a:gd name="T111" fmla="*/ 628 h 681"/>
                <a:gd name="T112" fmla="*/ 0 w 850"/>
                <a:gd name="T113" fmla="*/ 624 h 681"/>
                <a:gd name="T114" fmla="*/ 5 w 850"/>
                <a:gd name="T115" fmla="*/ 611 h 681"/>
                <a:gd name="T116" fmla="*/ 8 w 850"/>
                <a:gd name="T117" fmla="*/ 600 h 681"/>
                <a:gd name="T118" fmla="*/ 23 w 850"/>
                <a:gd name="T119" fmla="*/ 573 h 681"/>
                <a:gd name="T120" fmla="*/ 36 w 850"/>
                <a:gd name="T121" fmla="*/ 489 h 681"/>
                <a:gd name="T122" fmla="*/ 18 w 850"/>
                <a:gd name="T123" fmla="*/ 463 h 681"/>
                <a:gd name="T124" fmla="*/ 13 w 850"/>
                <a:gd name="T125" fmla="*/ 427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0" h="681">
                  <a:moveTo>
                    <a:pt x="13" y="427"/>
                  </a:moveTo>
                  <a:cubicBezTo>
                    <a:pt x="18" y="418"/>
                    <a:pt x="22" y="412"/>
                    <a:pt x="26" y="405"/>
                  </a:cubicBezTo>
                  <a:cubicBezTo>
                    <a:pt x="40" y="382"/>
                    <a:pt x="51" y="364"/>
                    <a:pt x="54" y="328"/>
                  </a:cubicBezTo>
                  <a:cubicBezTo>
                    <a:pt x="58" y="293"/>
                    <a:pt x="71" y="274"/>
                    <a:pt x="86" y="250"/>
                  </a:cubicBezTo>
                  <a:cubicBezTo>
                    <a:pt x="92" y="241"/>
                    <a:pt x="97" y="231"/>
                    <a:pt x="104" y="221"/>
                  </a:cubicBezTo>
                  <a:cubicBezTo>
                    <a:pt x="112" y="206"/>
                    <a:pt x="115" y="191"/>
                    <a:pt x="119" y="178"/>
                  </a:cubicBezTo>
                  <a:cubicBezTo>
                    <a:pt x="124" y="155"/>
                    <a:pt x="129" y="137"/>
                    <a:pt x="150" y="125"/>
                  </a:cubicBezTo>
                  <a:cubicBezTo>
                    <a:pt x="157" y="122"/>
                    <a:pt x="165" y="120"/>
                    <a:pt x="175" y="119"/>
                  </a:cubicBezTo>
                  <a:cubicBezTo>
                    <a:pt x="185" y="115"/>
                    <a:pt x="196" y="112"/>
                    <a:pt x="208" y="105"/>
                  </a:cubicBezTo>
                  <a:cubicBezTo>
                    <a:pt x="221" y="99"/>
                    <a:pt x="229" y="89"/>
                    <a:pt x="237" y="79"/>
                  </a:cubicBezTo>
                  <a:cubicBezTo>
                    <a:pt x="242" y="73"/>
                    <a:pt x="247" y="68"/>
                    <a:pt x="252" y="63"/>
                  </a:cubicBezTo>
                  <a:cubicBezTo>
                    <a:pt x="260" y="56"/>
                    <a:pt x="267" y="51"/>
                    <a:pt x="274" y="46"/>
                  </a:cubicBezTo>
                  <a:cubicBezTo>
                    <a:pt x="288" y="36"/>
                    <a:pt x="303" y="26"/>
                    <a:pt x="315" y="8"/>
                  </a:cubicBezTo>
                  <a:cubicBezTo>
                    <a:pt x="325" y="7"/>
                    <a:pt x="336" y="3"/>
                    <a:pt x="348" y="3"/>
                  </a:cubicBezTo>
                  <a:cubicBezTo>
                    <a:pt x="381" y="0"/>
                    <a:pt x="397" y="7"/>
                    <a:pt x="409" y="30"/>
                  </a:cubicBezTo>
                  <a:cubicBezTo>
                    <a:pt x="412" y="35"/>
                    <a:pt x="414" y="40"/>
                    <a:pt x="417" y="45"/>
                  </a:cubicBezTo>
                  <a:cubicBezTo>
                    <a:pt x="422" y="54"/>
                    <a:pt x="427" y="63"/>
                    <a:pt x="433" y="71"/>
                  </a:cubicBezTo>
                  <a:lnTo>
                    <a:pt x="433" y="73"/>
                  </a:lnTo>
                  <a:lnTo>
                    <a:pt x="433" y="73"/>
                  </a:lnTo>
                  <a:cubicBezTo>
                    <a:pt x="445" y="89"/>
                    <a:pt x="453" y="104"/>
                    <a:pt x="460" y="120"/>
                  </a:cubicBezTo>
                  <a:cubicBezTo>
                    <a:pt x="473" y="152"/>
                    <a:pt x="484" y="176"/>
                    <a:pt x="508" y="203"/>
                  </a:cubicBezTo>
                  <a:cubicBezTo>
                    <a:pt x="519" y="216"/>
                    <a:pt x="529" y="232"/>
                    <a:pt x="539" y="247"/>
                  </a:cubicBezTo>
                  <a:cubicBezTo>
                    <a:pt x="568" y="292"/>
                    <a:pt x="598" y="336"/>
                    <a:pt x="671" y="330"/>
                  </a:cubicBezTo>
                  <a:cubicBezTo>
                    <a:pt x="677" y="328"/>
                    <a:pt x="680" y="328"/>
                    <a:pt x="687" y="328"/>
                  </a:cubicBezTo>
                  <a:cubicBezTo>
                    <a:pt x="715" y="325"/>
                    <a:pt x="736" y="321"/>
                    <a:pt x="756" y="341"/>
                  </a:cubicBezTo>
                  <a:cubicBezTo>
                    <a:pt x="769" y="353"/>
                    <a:pt x="771" y="369"/>
                    <a:pt x="771" y="387"/>
                  </a:cubicBezTo>
                  <a:cubicBezTo>
                    <a:pt x="773" y="404"/>
                    <a:pt x="774" y="423"/>
                    <a:pt x="786" y="440"/>
                  </a:cubicBezTo>
                  <a:cubicBezTo>
                    <a:pt x="804" y="468"/>
                    <a:pt x="825" y="484"/>
                    <a:pt x="849" y="493"/>
                  </a:cubicBezTo>
                  <a:cubicBezTo>
                    <a:pt x="847" y="496"/>
                    <a:pt x="845" y="501"/>
                    <a:pt x="844" y="504"/>
                  </a:cubicBezTo>
                  <a:cubicBezTo>
                    <a:pt x="840" y="511"/>
                    <a:pt x="837" y="519"/>
                    <a:pt x="832" y="524"/>
                  </a:cubicBezTo>
                  <a:cubicBezTo>
                    <a:pt x="827" y="527"/>
                    <a:pt x="824" y="529"/>
                    <a:pt x="816" y="531"/>
                  </a:cubicBezTo>
                  <a:cubicBezTo>
                    <a:pt x="811" y="532"/>
                    <a:pt x="802" y="535"/>
                    <a:pt x="796" y="540"/>
                  </a:cubicBezTo>
                  <a:cubicBezTo>
                    <a:pt x="783" y="549"/>
                    <a:pt x="773" y="563"/>
                    <a:pt x="763" y="578"/>
                  </a:cubicBezTo>
                  <a:cubicBezTo>
                    <a:pt x="760" y="583"/>
                    <a:pt x="756" y="587"/>
                    <a:pt x="755" y="591"/>
                  </a:cubicBezTo>
                  <a:lnTo>
                    <a:pt x="746" y="600"/>
                  </a:lnTo>
                  <a:cubicBezTo>
                    <a:pt x="736" y="613"/>
                    <a:pt x="725" y="628"/>
                    <a:pt x="722" y="646"/>
                  </a:cubicBezTo>
                  <a:cubicBezTo>
                    <a:pt x="717" y="646"/>
                    <a:pt x="713" y="649"/>
                    <a:pt x="710" y="651"/>
                  </a:cubicBezTo>
                  <a:cubicBezTo>
                    <a:pt x="692" y="659"/>
                    <a:pt x="676" y="667"/>
                    <a:pt x="656" y="671"/>
                  </a:cubicBezTo>
                  <a:cubicBezTo>
                    <a:pt x="648" y="671"/>
                    <a:pt x="638" y="669"/>
                    <a:pt x="628" y="667"/>
                  </a:cubicBezTo>
                  <a:cubicBezTo>
                    <a:pt x="618" y="666"/>
                    <a:pt x="608" y="662"/>
                    <a:pt x="596" y="664"/>
                  </a:cubicBezTo>
                  <a:cubicBezTo>
                    <a:pt x="583" y="664"/>
                    <a:pt x="573" y="669"/>
                    <a:pt x="564" y="672"/>
                  </a:cubicBezTo>
                  <a:cubicBezTo>
                    <a:pt x="555" y="675"/>
                    <a:pt x="547" y="679"/>
                    <a:pt x="539" y="680"/>
                  </a:cubicBezTo>
                  <a:cubicBezTo>
                    <a:pt x="527" y="680"/>
                    <a:pt x="519" y="675"/>
                    <a:pt x="509" y="671"/>
                  </a:cubicBezTo>
                  <a:cubicBezTo>
                    <a:pt x="504" y="667"/>
                    <a:pt x="498" y="664"/>
                    <a:pt x="491" y="661"/>
                  </a:cubicBezTo>
                  <a:cubicBezTo>
                    <a:pt x="473" y="654"/>
                    <a:pt x="466" y="656"/>
                    <a:pt x="456" y="661"/>
                  </a:cubicBezTo>
                  <a:cubicBezTo>
                    <a:pt x="453" y="662"/>
                    <a:pt x="450" y="662"/>
                    <a:pt x="447" y="664"/>
                  </a:cubicBezTo>
                  <a:cubicBezTo>
                    <a:pt x="440" y="666"/>
                    <a:pt x="433" y="666"/>
                    <a:pt x="430" y="664"/>
                  </a:cubicBezTo>
                  <a:cubicBezTo>
                    <a:pt x="425" y="661"/>
                    <a:pt x="423" y="646"/>
                    <a:pt x="422" y="634"/>
                  </a:cubicBezTo>
                  <a:cubicBezTo>
                    <a:pt x="420" y="618"/>
                    <a:pt x="417" y="600"/>
                    <a:pt x="407" y="587"/>
                  </a:cubicBezTo>
                  <a:cubicBezTo>
                    <a:pt x="379" y="554"/>
                    <a:pt x="335" y="557"/>
                    <a:pt x="283" y="598"/>
                  </a:cubicBezTo>
                  <a:cubicBezTo>
                    <a:pt x="272" y="606"/>
                    <a:pt x="260" y="611"/>
                    <a:pt x="247" y="615"/>
                  </a:cubicBezTo>
                  <a:cubicBezTo>
                    <a:pt x="239" y="616"/>
                    <a:pt x="231" y="616"/>
                    <a:pt x="221" y="616"/>
                  </a:cubicBezTo>
                  <a:cubicBezTo>
                    <a:pt x="219" y="616"/>
                    <a:pt x="218" y="616"/>
                    <a:pt x="216" y="616"/>
                  </a:cubicBezTo>
                  <a:cubicBezTo>
                    <a:pt x="203" y="618"/>
                    <a:pt x="190" y="618"/>
                    <a:pt x="176" y="621"/>
                  </a:cubicBezTo>
                  <a:cubicBezTo>
                    <a:pt x="140" y="628"/>
                    <a:pt x="102" y="628"/>
                    <a:pt x="64" y="628"/>
                  </a:cubicBezTo>
                  <a:lnTo>
                    <a:pt x="36" y="628"/>
                  </a:lnTo>
                  <a:cubicBezTo>
                    <a:pt x="23" y="626"/>
                    <a:pt x="10" y="626"/>
                    <a:pt x="0" y="624"/>
                  </a:cubicBezTo>
                  <a:cubicBezTo>
                    <a:pt x="2" y="619"/>
                    <a:pt x="3" y="615"/>
                    <a:pt x="5" y="611"/>
                  </a:cubicBezTo>
                  <a:lnTo>
                    <a:pt x="8" y="600"/>
                  </a:lnTo>
                  <a:cubicBezTo>
                    <a:pt x="12" y="591"/>
                    <a:pt x="17" y="583"/>
                    <a:pt x="23" y="573"/>
                  </a:cubicBezTo>
                  <a:cubicBezTo>
                    <a:pt x="38" y="550"/>
                    <a:pt x="56" y="522"/>
                    <a:pt x="36" y="489"/>
                  </a:cubicBezTo>
                  <a:cubicBezTo>
                    <a:pt x="30" y="478"/>
                    <a:pt x="23" y="470"/>
                    <a:pt x="18" y="463"/>
                  </a:cubicBezTo>
                  <a:cubicBezTo>
                    <a:pt x="5" y="450"/>
                    <a:pt x="2" y="446"/>
                    <a:pt x="13" y="42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86" name="Freeform 22">
              <a:extLst>
                <a:ext uri="{FF2B5EF4-FFF2-40B4-BE49-F238E27FC236}">
                  <a16:creationId xmlns:a16="http://schemas.microsoft.com/office/drawing/2014/main" id="{C5997656-0505-034F-AEE1-D118E8B68F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8000" y="3890963"/>
              <a:ext cx="293688" cy="412750"/>
            </a:xfrm>
            <a:custGeom>
              <a:avLst/>
              <a:gdLst>
                <a:gd name="T0" fmla="*/ 539 w 816"/>
                <a:gd name="T1" fmla="*/ 1040 h 1146"/>
                <a:gd name="T2" fmla="*/ 343 w 816"/>
                <a:gd name="T3" fmla="*/ 1144 h 1146"/>
                <a:gd name="T4" fmla="*/ 273 w 816"/>
                <a:gd name="T5" fmla="*/ 1058 h 1146"/>
                <a:gd name="T6" fmla="*/ 198 w 816"/>
                <a:gd name="T7" fmla="*/ 963 h 1146"/>
                <a:gd name="T8" fmla="*/ 148 w 816"/>
                <a:gd name="T9" fmla="*/ 911 h 1146"/>
                <a:gd name="T10" fmla="*/ 155 w 816"/>
                <a:gd name="T11" fmla="*/ 832 h 1146"/>
                <a:gd name="T12" fmla="*/ 140 w 816"/>
                <a:gd name="T13" fmla="*/ 788 h 1146"/>
                <a:gd name="T14" fmla="*/ 66 w 816"/>
                <a:gd name="T15" fmla="*/ 613 h 1146"/>
                <a:gd name="T16" fmla="*/ 61 w 816"/>
                <a:gd name="T17" fmla="*/ 603 h 1146"/>
                <a:gd name="T18" fmla="*/ 53 w 816"/>
                <a:gd name="T19" fmla="*/ 580 h 1146"/>
                <a:gd name="T20" fmla="*/ 49 w 816"/>
                <a:gd name="T21" fmla="*/ 513 h 1146"/>
                <a:gd name="T22" fmla="*/ 59 w 816"/>
                <a:gd name="T23" fmla="*/ 425 h 1146"/>
                <a:gd name="T24" fmla="*/ 15 w 816"/>
                <a:gd name="T25" fmla="*/ 355 h 1146"/>
                <a:gd name="T26" fmla="*/ 7 w 816"/>
                <a:gd name="T27" fmla="*/ 341 h 1146"/>
                <a:gd name="T28" fmla="*/ 2 w 816"/>
                <a:gd name="T29" fmla="*/ 320 h 1146"/>
                <a:gd name="T30" fmla="*/ 0 w 816"/>
                <a:gd name="T31" fmla="*/ 318 h 1146"/>
                <a:gd name="T32" fmla="*/ 13 w 816"/>
                <a:gd name="T33" fmla="*/ 318 h 1146"/>
                <a:gd name="T34" fmla="*/ 21 w 816"/>
                <a:gd name="T35" fmla="*/ 323 h 1146"/>
                <a:gd name="T36" fmla="*/ 30 w 816"/>
                <a:gd name="T37" fmla="*/ 333 h 1146"/>
                <a:gd name="T38" fmla="*/ 63 w 816"/>
                <a:gd name="T39" fmla="*/ 341 h 1146"/>
                <a:gd name="T40" fmla="*/ 102 w 816"/>
                <a:gd name="T41" fmla="*/ 333 h 1146"/>
                <a:gd name="T42" fmla="*/ 142 w 816"/>
                <a:gd name="T43" fmla="*/ 350 h 1146"/>
                <a:gd name="T44" fmla="*/ 165 w 816"/>
                <a:gd name="T45" fmla="*/ 336 h 1146"/>
                <a:gd name="T46" fmla="*/ 214 w 816"/>
                <a:gd name="T47" fmla="*/ 289 h 1146"/>
                <a:gd name="T48" fmla="*/ 252 w 816"/>
                <a:gd name="T49" fmla="*/ 287 h 1146"/>
                <a:gd name="T50" fmla="*/ 359 w 816"/>
                <a:gd name="T51" fmla="*/ 259 h 1146"/>
                <a:gd name="T52" fmla="*/ 443 w 816"/>
                <a:gd name="T53" fmla="*/ 162 h 1146"/>
                <a:gd name="T54" fmla="*/ 445 w 816"/>
                <a:gd name="T55" fmla="*/ 126 h 1146"/>
                <a:gd name="T56" fmla="*/ 387 w 816"/>
                <a:gd name="T57" fmla="*/ 116 h 1146"/>
                <a:gd name="T58" fmla="*/ 353 w 816"/>
                <a:gd name="T59" fmla="*/ 122 h 1146"/>
                <a:gd name="T60" fmla="*/ 349 w 816"/>
                <a:gd name="T61" fmla="*/ 88 h 1146"/>
                <a:gd name="T62" fmla="*/ 351 w 816"/>
                <a:gd name="T63" fmla="*/ 45 h 1146"/>
                <a:gd name="T64" fmla="*/ 412 w 816"/>
                <a:gd name="T65" fmla="*/ 37 h 1146"/>
                <a:gd name="T66" fmla="*/ 463 w 816"/>
                <a:gd name="T67" fmla="*/ 45 h 1146"/>
                <a:gd name="T68" fmla="*/ 501 w 816"/>
                <a:gd name="T69" fmla="*/ 56 h 1146"/>
                <a:gd name="T70" fmla="*/ 580 w 816"/>
                <a:gd name="T71" fmla="*/ 32 h 1146"/>
                <a:gd name="T72" fmla="*/ 610 w 816"/>
                <a:gd name="T73" fmla="*/ 35 h 1146"/>
                <a:gd name="T74" fmla="*/ 651 w 816"/>
                <a:gd name="T75" fmla="*/ 101 h 1146"/>
                <a:gd name="T76" fmla="*/ 690 w 816"/>
                <a:gd name="T77" fmla="*/ 131 h 1146"/>
                <a:gd name="T78" fmla="*/ 692 w 816"/>
                <a:gd name="T79" fmla="*/ 137 h 1146"/>
                <a:gd name="T80" fmla="*/ 707 w 816"/>
                <a:gd name="T81" fmla="*/ 160 h 1146"/>
                <a:gd name="T82" fmla="*/ 726 w 816"/>
                <a:gd name="T83" fmla="*/ 251 h 1146"/>
                <a:gd name="T84" fmla="*/ 713 w 816"/>
                <a:gd name="T85" fmla="*/ 313 h 1146"/>
                <a:gd name="T86" fmla="*/ 712 w 816"/>
                <a:gd name="T87" fmla="*/ 355 h 1146"/>
                <a:gd name="T88" fmla="*/ 774 w 816"/>
                <a:gd name="T89" fmla="*/ 458 h 1146"/>
                <a:gd name="T90" fmla="*/ 781 w 816"/>
                <a:gd name="T91" fmla="*/ 514 h 1146"/>
                <a:gd name="T92" fmla="*/ 717 w 816"/>
                <a:gd name="T93" fmla="*/ 638 h 1146"/>
                <a:gd name="T94" fmla="*/ 715 w 816"/>
                <a:gd name="T95" fmla="*/ 709 h 1146"/>
                <a:gd name="T96" fmla="*/ 667 w 816"/>
                <a:gd name="T97" fmla="*/ 712 h 1146"/>
                <a:gd name="T98" fmla="*/ 628 w 816"/>
                <a:gd name="T99" fmla="*/ 730 h 1146"/>
                <a:gd name="T100" fmla="*/ 550 w 816"/>
                <a:gd name="T101" fmla="*/ 702 h 1146"/>
                <a:gd name="T102" fmla="*/ 539 w 816"/>
                <a:gd name="T103" fmla="*/ 762 h 1146"/>
                <a:gd name="T104" fmla="*/ 547 w 816"/>
                <a:gd name="T105" fmla="*/ 790 h 1146"/>
                <a:gd name="T106" fmla="*/ 563 w 816"/>
                <a:gd name="T107" fmla="*/ 842 h 1146"/>
                <a:gd name="T108" fmla="*/ 544 w 816"/>
                <a:gd name="T109" fmla="*/ 867 h 1146"/>
                <a:gd name="T110" fmla="*/ 440 w 816"/>
                <a:gd name="T111" fmla="*/ 946 h 1146"/>
                <a:gd name="T112" fmla="*/ 532 w 816"/>
                <a:gd name="T113" fmla="*/ 1014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16" h="1146">
                  <a:moveTo>
                    <a:pt x="532" y="1014"/>
                  </a:moveTo>
                  <a:cubicBezTo>
                    <a:pt x="535" y="1020"/>
                    <a:pt x="537" y="1030"/>
                    <a:pt x="539" y="1040"/>
                  </a:cubicBezTo>
                  <a:cubicBezTo>
                    <a:pt x="524" y="1050"/>
                    <a:pt x="509" y="1061"/>
                    <a:pt x="491" y="1073"/>
                  </a:cubicBezTo>
                  <a:cubicBezTo>
                    <a:pt x="448" y="1099"/>
                    <a:pt x="395" y="1139"/>
                    <a:pt x="343" y="1144"/>
                  </a:cubicBezTo>
                  <a:cubicBezTo>
                    <a:pt x="323" y="1145"/>
                    <a:pt x="298" y="1140"/>
                    <a:pt x="273" y="1139"/>
                  </a:cubicBezTo>
                  <a:cubicBezTo>
                    <a:pt x="278" y="1111"/>
                    <a:pt x="280" y="1083"/>
                    <a:pt x="273" y="1058"/>
                  </a:cubicBezTo>
                  <a:cubicBezTo>
                    <a:pt x="262" y="1030"/>
                    <a:pt x="244" y="1010"/>
                    <a:pt x="224" y="992"/>
                  </a:cubicBezTo>
                  <a:cubicBezTo>
                    <a:pt x="214" y="982"/>
                    <a:pt x="204" y="972"/>
                    <a:pt x="198" y="963"/>
                  </a:cubicBezTo>
                  <a:cubicBezTo>
                    <a:pt x="194" y="958"/>
                    <a:pt x="191" y="954"/>
                    <a:pt x="188" y="951"/>
                  </a:cubicBezTo>
                  <a:cubicBezTo>
                    <a:pt x="178" y="936"/>
                    <a:pt x="166" y="918"/>
                    <a:pt x="148" y="911"/>
                  </a:cubicBezTo>
                  <a:lnTo>
                    <a:pt x="153" y="857"/>
                  </a:lnTo>
                  <a:cubicBezTo>
                    <a:pt x="155" y="849"/>
                    <a:pt x="155" y="842"/>
                    <a:pt x="155" y="832"/>
                  </a:cubicBezTo>
                  <a:cubicBezTo>
                    <a:pt x="153" y="819"/>
                    <a:pt x="148" y="808"/>
                    <a:pt x="143" y="796"/>
                  </a:cubicBezTo>
                  <a:lnTo>
                    <a:pt x="140" y="788"/>
                  </a:lnTo>
                  <a:cubicBezTo>
                    <a:pt x="130" y="763"/>
                    <a:pt x="122" y="734"/>
                    <a:pt x="119" y="714"/>
                  </a:cubicBezTo>
                  <a:cubicBezTo>
                    <a:pt x="110" y="678"/>
                    <a:pt x="92" y="643"/>
                    <a:pt x="66" y="613"/>
                  </a:cubicBezTo>
                  <a:cubicBezTo>
                    <a:pt x="64" y="612"/>
                    <a:pt x="63" y="608"/>
                    <a:pt x="63" y="608"/>
                  </a:cubicBezTo>
                  <a:cubicBezTo>
                    <a:pt x="61" y="607"/>
                    <a:pt x="61" y="605"/>
                    <a:pt x="61" y="603"/>
                  </a:cubicBezTo>
                  <a:lnTo>
                    <a:pt x="61" y="598"/>
                  </a:lnTo>
                  <a:cubicBezTo>
                    <a:pt x="59" y="592"/>
                    <a:pt x="56" y="585"/>
                    <a:pt x="53" y="580"/>
                  </a:cubicBezTo>
                  <a:cubicBezTo>
                    <a:pt x="53" y="579"/>
                    <a:pt x="51" y="575"/>
                    <a:pt x="51" y="574"/>
                  </a:cubicBezTo>
                  <a:cubicBezTo>
                    <a:pt x="43" y="556"/>
                    <a:pt x="46" y="533"/>
                    <a:pt x="49" y="513"/>
                  </a:cubicBezTo>
                  <a:lnTo>
                    <a:pt x="58" y="458"/>
                  </a:lnTo>
                  <a:cubicBezTo>
                    <a:pt x="59" y="449"/>
                    <a:pt x="61" y="437"/>
                    <a:pt x="59" y="425"/>
                  </a:cubicBezTo>
                  <a:cubicBezTo>
                    <a:pt x="58" y="414"/>
                    <a:pt x="51" y="406"/>
                    <a:pt x="46" y="397"/>
                  </a:cubicBezTo>
                  <a:lnTo>
                    <a:pt x="15" y="355"/>
                  </a:lnTo>
                  <a:cubicBezTo>
                    <a:pt x="12" y="350"/>
                    <a:pt x="8" y="346"/>
                    <a:pt x="7" y="341"/>
                  </a:cubicBezTo>
                  <a:lnTo>
                    <a:pt x="7" y="341"/>
                  </a:lnTo>
                  <a:cubicBezTo>
                    <a:pt x="3" y="336"/>
                    <a:pt x="3" y="330"/>
                    <a:pt x="2" y="323"/>
                  </a:cubicBezTo>
                  <a:cubicBezTo>
                    <a:pt x="2" y="322"/>
                    <a:pt x="2" y="322"/>
                    <a:pt x="2" y="320"/>
                  </a:cubicBezTo>
                  <a:lnTo>
                    <a:pt x="2" y="318"/>
                  </a:lnTo>
                  <a:cubicBezTo>
                    <a:pt x="2" y="318"/>
                    <a:pt x="2" y="318"/>
                    <a:pt x="0" y="318"/>
                  </a:cubicBezTo>
                  <a:cubicBezTo>
                    <a:pt x="2" y="318"/>
                    <a:pt x="2" y="318"/>
                    <a:pt x="2" y="318"/>
                  </a:cubicBezTo>
                  <a:lnTo>
                    <a:pt x="13" y="318"/>
                  </a:lnTo>
                  <a:cubicBezTo>
                    <a:pt x="15" y="318"/>
                    <a:pt x="18" y="320"/>
                    <a:pt x="20" y="320"/>
                  </a:cubicBezTo>
                  <a:lnTo>
                    <a:pt x="21" y="323"/>
                  </a:lnTo>
                  <a:cubicBezTo>
                    <a:pt x="23" y="327"/>
                    <a:pt x="25" y="330"/>
                    <a:pt x="28" y="332"/>
                  </a:cubicBezTo>
                  <a:cubicBezTo>
                    <a:pt x="28" y="333"/>
                    <a:pt x="28" y="333"/>
                    <a:pt x="30" y="333"/>
                  </a:cubicBezTo>
                  <a:cubicBezTo>
                    <a:pt x="35" y="340"/>
                    <a:pt x="41" y="341"/>
                    <a:pt x="48" y="341"/>
                  </a:cubicBezTo>
                  <a:cubicBezTo>
                    <a:pt x="54" y="341"/>
                    <a:pt x="59" y="341"/>
                    <a:pt x="63" y="341"/>
                  </a:cubicBezTo>
                  <a:cubicBezTo>
                    <a:pt x="72" y="340"/>
                    <a:pt x="82" y="340"/>
                    <a:pt x="96" y="335"/>
                  </a:cubicBezTo>
                  <a:cubicBezTo>
                    <a:pt x="99" y="335"/>
                    <a:pt x="102" y="333"/>
                    <a:pt x="102" y="333"/>
                  </a:cubicBezTo>
                  <a:cubicBezTo>
                    <a:pt x="107" y="335"/>
                    <a:pt x="109" y="336"/>
                    <a:pt x="112" y="340"/>
                  </a:cubicBezTo>
                  <a:cubicBezTo>
                    <a:pt x="119" y="343"/>
                    <a:pt x="128" y="351"/>
                    <a:pt x="142" y="350"/>
                  </a:cubicBezTo>
                  <a:cubicBezTo>
                    <a:pt x="148" y="348"/>
                    <a:pt x="153" y="345"/>
                    <a:pt x="156" y="341"/>
                  </a:cubicBezTo>
                  <a:cubicBezTo>
                    <a:pt x="160" y="340"/>
                    <a:pt x="161" y="338"/>
                    <a:pt x="165" y="336"/>
                  </a:cubicBezTo>
                  <a:cubicBezTo>
                    <a:pt x="171" y="332"/>
                    <a:pt x="181" y="327"/>
                    <a:pt x="186" y="317"/>
                  </a:cubicBezTo>
                  <a:cubicBezTo>
                    <a:pt x="194" y="305"/>
                    <a:pt x="203" y="292"/>
                    <a:pt x="214" y="289"/>
                  </a:cubicBezTo>
                  <a:cubicBezTo>
                    <a:pt x="221" y="285"/>
                    <a:pt x="229" y="285"/>
                    <a:pt x="236" y="285"/>
                  </a:cubicBezTo>
                  <a:lnTo>
                    <a:pt x="252" y="287"/>
                  </a:lnTo>
                  <a:cubicBezTo>
                    <a:pt x="264" y="289"/>
                    <a:pt x="275" y="290"/>
                    <a:pt x="288" y="289"/>
                  </a:cubicBezTo>
                  <a:cubicBezTo>
                    <a:pt x="311" y="287"/>
                    <a:pt x="336" y="277"/>
                    <a:pt x="359" y="259"/>
                  </a:cubicBezTo>
                  <a:cubicBezTo>
                    <a:pt x="379" y="243"/>
                    <a:pt x="395" y="223"/>
                    <a:pt x="409" y="206"/>
                  </a:cubicBezTo>
                  <a:cubicBezTo>
                    <a:pt x="420" y="192"/>
                    <a:pt x="432" y="177"/>
                    <a:pt x="443" y="162"/>
                  </a:cubicBezTo>
                  <a:cubicBezTo>
                    <a:pt x="445" y="159"/>
                    <a:pt x="446" y="155"/>
                    <a:pt x="448" y="150"/>
                  </a:cubicBezTo>
                  <a:cubicBezTo>
                    <a:pt x="451" y="142"/>
                    <a:pt x="450" y="134"/>
                    <a:pt x="445" y="126"/>
                  </a:cubicBezTo>
                  <a:cubicBezTo>
                    <a:pt x="435" y="109"/>
                    <a:pt x="413" y="103"/>
                    <a:pt x="397" y="111"/>
                  </a:cubicBezTo>
                  <a:cubicBezTo>
                    <a:pt x="392" y="111"/>
                    <a:pt x="390" y="114"/>
                    <a:pt x="387" y="116"/>
                  </a:cubicBezTo>
                  <a:lnTo>
                    <a:pt x="384" y="117"/>
                  </a:lnTo>
                  <a:cubicBezTo>
                    <a:pt x="376" y="122"/>
                    <a:pt x="364" y="124"/>
                    <a:pt x="353" y="122"/>
                  </a:cubicBezTo>
                  <a:cubicBezTo>
                    <a:pt x="351" y="122"/>
                    <a:pt x="344" y="121"/>
                    <a:pt x="344" y="117"/>
                  </a:cubicBezTo>
                  <a:cubicBezTo>
                    <a:pt x="344" y="107"/>
                    <a:pt x="346" y="98"/>
                    <a:pt x="349" y="88"/>
                  </a:cubicBezTo>
                  <a:lnTo>
                    <a:pt x="351" y="81"/>
                  </a:lnTo>
                  <a:cubicBezTo>
                    <a:pt x="354" y="68"/>
                    <a:pt x="354" y="55"/>
                    <a:pt x="351" y="45"/>
                  </a:cubicBezTo>
                  <a:cubicBezTo>
                    <a:pt x="366" y="38"/>
                    <a:pt x="381" y="33"/>
                    <a:pt x="394" y="32"/>
                  </a:cubicBezTo>
                  <a:cubicBezTo>
                    <a:pt x="402" y="30"/>
                    <a:pt x="405" y="32"/>
                    <a:pt x="412" y="37"/>
                  </a:cubicBezTo>
                  <a:cubicBezTo>
                    <a:pt x="417" y="40"/>
                    <a:pt x="423" y="45"/>
                    <a:pt x="432" y="47"/>
                  </a:cubicBezTo>
                  <a:cubicBezTo>
                    <a:pt x="445" y="50"/>
                    <a:pt x="455" y="47"/>
                    <a:pt x="463" y="45"/>
                  </a:cubicBezTo>
                  <a:cubicBezTo>
                    <a:pt x="469" y="43"/>
                    <a:pt x="474" y="42"/>
                    <a:pt x="479" y="42"/>
                  </a:cubicBezTo>
                  <a:cubicBezTo>
                    <a:pt x="488" y="42"/>
                    <a:pt x="493" y="47"/>
                    <a:pt x="501" y="56"/>
                  </a:cubicBezTo>
                  <a:cubicBezTo>
                    <a:pt x="511" y="66"/>
                    <a:pt x="525" y="83"/>
                    <a:pt x="550" y="73"/>
                  </a:cubicBezTo>
                  <a:cubicBezTo>
                    <a:pt x="565" y="66"/>
                    <a:pt x="573" y="48"/>
                    <a:pt x="580" y="32"/>
                  </a:cubicBezTo>
                  <a:cubicBezTo>
                    <a:pt x="591" y="4"/>
                    <a:pt x="596" y="0"/>
                    <a:pt x="605" y="4"/>
                  </a:cubicBezTo>
                  <a:cubicBezTo>
                    <a:pt x="611" y="7"/>
                    <a:pt x="613" y="14"/>
                    <a:pt x="610" y="35"/>
                  </a:cubicBezTo>
                  <a:cubicBezTo>
                    <a:pt x="608" y="51"/>
                    <a:pt x="605" y="71"/>
                    <a:pt x="618" y="84"/>
                  </a:cubicBezTo>
                  <a:cubicBezTo>
                    <a:pt x="626" y="96"/>
                    <a:pt x="641" y="98"/>
                    <a:pt x="651" y="101"/>
                  </a:cubicBezTo>
                  <a:cubicBezTo>
                    <a:pt x="656" y="101"/>
                    <a:pt x="659" y="101"/>
                    <a:pt x="662" y="103"/>
                  </a:cubicBezTo>
                  <a:cubicBezTo>
                    <a:pt x="677" y="109"/>
                    <a:pt x="682" y="116"/>
                    <a:pt x="690" y="131"/>
                  </a:cubicBezTo>
                  <a:cubicBezTo>
                    <a:pt x="689" y="132"/>
                    <a:pt x="690" y="132"/>
                    <a:pt x="690" y="132"/>
                  </a:cubicBezTo>
                  <a:lnTo>
                    <a:pt x="692" y="137"/>
                  </a:lnTo>
                  <a:cubicBezTo>
                    <a:pt x="695" y="142"/>
                    <a:pt x="700" y="150"/>
                    <a:pt x="705" y="159"/>
                  </a:cubicBezTo>
                  <a:cubicBezTo>
                    <a:pt x="705" y="159"/>
                    <a:pt x="705" y="159"/>
                    <a:pt x="707" y="160"/>
                  </a:cubicBezTo>
                  <a:cubicBezTo>
                    <a:pt x="720" y="183"/>
                    <a:pt x="740" y="216"/>
                    <a:pt x="735" y="236"/>
                  </a:cubicBezTo>
                  <a:cubicBezTo>
                    <a:pt x="733" y="241"/>
                    <a:pt x="731" y="246"/>
                    <a:pt x="726" y="251"/>
                  </a:cubicBezTo>
                  <a:cubicBezTo>
                    <a:pt x="722" y="257"/>
                    <a:pt x="717" y="267"/>
                    <a:pt x="713" y="279"/>
                  </a:cubicBezTo>
                  <a:cubicBezTo>
                    <a:pt x="712" y="292"/>
                    <a:pt x="713" y="304"/>
                    <a:pt x="713" y="313"/>
                  </a:cubicBezTo>
                  <a:cubicBezTo>
                    <a:pt x="715" y="325"/>
                    <a:pt x="715" y="336"/>
                    <a:pt x="713" y="348"/>
                  </a:cubicBezTo>
                  <a:lnTo>
                    <a:pt x="712" y="355"/>
                  </a:lnTo>
                  <a:cubicBezTo>
                    <a:pt x="703" y="388"/>
                    <a:pt x="694" y="429"/>
                    <a:pt x="743" y="450"/>
                  </a:cubicBezTo>
                  <a:cubicBezTo>
                    <a:pt x="753" y="455"/>
                    <a:pt x="764" y="457"/>
                    <a:pt x="774" y="458"/>
                  </a:cubicBezTo>
                  <a:cubicBezTo>
                    <a:pt x="801" y="463"/>
                    <a:pt x="811" y="467"/>
                    <a:pt x="812" y="483"/>
                  </a:cubicBezTo>
                  <a:cubicBezTo>
                    <a:pt x="815" y="501"/>
                    <a:pt x="806" y="506"/>
                    <a:pt x="781" y="514"/>
                  </a:cubicBezTo>
                  <a:cubicBezTo>
                    <a:pt x="771" y="519"/>
                    <a:pt x="761" y="523"/>
                    <a:pt x="751" y="529"/>
                  </a:cubicBezTo>
                  <a:cubicBezTo>
                    <a:pt x="725" y="547"/>
                    <a:pt x="713" y="582"/>
                    <a:pt x="717" y="638"/>
                  </a:cubicBezTo>
                  <a:cubicBezTo>
                    <a:pt x="717" y="649"/>
                    <a:pt x="720" y="661"/>
                    <a:pt x="723" y="671"/>
                  </a:cubicBezTo>
                  <a:cubicBezTo>
                    <a:pt x="730" y="692"/>
                    <a:pt x="731" y="699"/>
                    <a:pt x="715" y="709"/>
                  </a:cubicBezTo>
                  <a:cubicBezTo>
                    <a:pt x="707" y="712"/>
                    <a:pt x="702" y="712"/>
                    <a:pt x="694" y="712"/>
                  </a:cubicBezTo>
                  <a:cubicBezTo>
                    <a:pt x="685" y="710"/>
                    <a:pt x="677" y="710"/>
                    <a:pt x="667" y="712"/>
                  </a:cubicBezTo>
                  <a:cubicBezTo>
                    <a:pt x="657" y="715"/>
                    <a:pt x="651" y="720"/>
                    <a:pt x="646" y="724"/>
                  </a:cubicBezTo>
                  <a:cubicBezTo>
                    <a:pt x="638" y="729"/>
                    <a:pt x="634" y="730"/>
                    <a:pt x="628" y="730"/>
                  </a:cubicBezTo>
                  <a:cubicBezTo>
                    <a:pt x="626" y="729"/>
                    <a:pt x="616" y="724"/>
                    <a:pt x="611" y="720"/>
                  </a:cubicBezTo>
                  <a:cubicBezTo>
                    <a:pt x="591" y="710"/>
                    <a:pt x="568" y="697"/>
                    <a:pt x="550" y="702"/>
                  </a:cubicBezTo>
                  <a:cubicBezTo>
                    <a:pt x="540" y="706"/>
                    <a:pt x="534" y="712"/>
                    <a:pt x="530" y="720"/>
                  </a:cubicBezTo>
                  <a:cubicBezTo>
                    <a:pt x="521" y="740"/>
                    <a:pt x="532" y="753"/>
                    <a:pt x="539" y="762"/>
                  </a:cubicBezTo>
                  <a:cubicBezTo>
                    <a:pt x="542" y="763"/>
                    <a:pt x="544" y="766"/>
                    <a:pt x="545" y="768"/>
                  </a:cubicBezTo>
                  <a:cubicBezTo>
                    <a:pt x="550" y="776"/>
                    <a:pt x="549" y="781"/>
                    <a:pt x="547" y="790"/>
                  </a:cubicBezTo>
                  <a:cubicBezTo>
                    <a:pt x="545" y="798"/>
                    <a:pt x="544" y="808"/>
                    <a:pt x="547" y="819"/>
                  </a:cubicBezTo>
                  <a:cubicBezTo>
                    <a:pt x="549" y="829"/>
                    <a:pt x="557" y="836"/>
                    <a:pt x="563" y="842"/>
                  </a:cubicBezTo>
                  <a:cubicBezTo>
                    <a:pt x="565" y="844"/>
                    <a:pt x="568" y="847"/>
                    <a:pt x="570" y="847"/>
                  </a:cubicBezTo>
                  <a:cubicBezTo>
                    <a:pt x="568" y="850"/>
                    <a:pt x="565" y="855"/>
                    <a:pt x="544" y="867"/>
                  </a:cubicBezTo>
                  <a:cubicBezTo>
                    <a:pt x="539" y="869"/>
                    <a:pt x="532" y="872"/>
                    <a:pt x="525" y="875"/>
                  </a:cubicBezTo>
                  <a:cubicBezTo>
                    <a:pt x="489" y="890"/>
                    <a:pt x="440" y="913"/>
                    <a:pt x="440" y="946"/>
                  </a:cubicBezTo>
                  <a:cubicBezTo>
                    <a:pt x="441" y="969"/>
                    <a:pt x="469" y="982"/>
                    <a:pt x="496" y="994"/>
                  </a:cubicBezTo>
                  <a:cubicBezTo>
                    <a:pt x="511" y="1000"/>
                    <a:pt x="527" y="1007"/>
                    <a:pt x="532" y="1014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87" name="Freeform 23">
              <a:extLst>
                <a:ext uri="{FF2B5EF4-FFF2-40B4-BE49-F238E27FC236}">
                  <a16:creationId xmlns:a16="http://schemas.microsoft.com/office/drawing/2014/main" id="{E62245E2-5A61-6C44-8B57-7A55B447CB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2150" y="2889250"/>
              <a:ext cx="238125" cy="168275"/>
            </a:xfrm>
            <a:custGeom>
              <a:avLst/>
              <a:gdLst>
                <a:gd name="T0" fmla="*/ 33 w 660"/>
                <a:gd name="T1" fmla="*/ 280 h 469"/>
                <a:gd name="T2" fmla="*/ 60 w 660"/>
                <a:gd name="T3" fmla="*/ 242 h 469"/>
                <a:gd name="T4" fmla="*/ 50 w 660"/>
                <a:gd name="T5" fmla="*/ 184 h 469"/>
                <a:gd name="T6" fmla="*/ 45 w 660"/>
                <a:gd name="T7" fmla="*/ 168 h 469"/>
                <a:gd name="T8" fmla="*/ 40 w 660"/>
                <a:gd name="T9" fmla="*/ 95 h 469"/>
                <a:gd name="T10" fmla="*/ 40 w 660"/>
                <a:gd name="T11" fmla="*/ 62 h 469"/>
                <a:gd name="T12" fmla="*/ 93 w 660"/>
                <a:gd name="T13" fmla="*/ 41 h 469"/>
                <a:gd name="T14" fmla="*/ 177 w 660"/>
                <a:gd name="T15" fmla="*/ 26 h 469"/>
                <a:gd name="T16" fmla="*/ 186 w 660"/>
                <a:gd name="T17" fmla="*/ 61 h 469"/>
                <a:gd name="T18" fmla="*/ 206 w 660"/>
                <a:gd name="T19" fmla="*/ 108 h 469"/>
                <a:gd name="T20" fmla="*/ 242 w 660"/>
                <a:gd name="T21" fmla="*/ 113 h 469"/>
                <a:gd name="T22" fmla="*/ 259 w 660"/>
                <a:gd name="T23" fmla="*/ 107 h 469"/>
                <a:gd name="T24" fmla="*/ 272 w 660"/>
                <a:gd name="T25" fmla="*/ 108 h 469"/>
                <a:gd name="T26" fmla="*/ 287 w 660"/>
                <a:gd name="T27" fmla="*/ 115 h 469"/>
                <a:gd name="T28" fmla="*/ 330 w 660"/>
                <a:gd name="T29" fmla="*/ 130 h 469"/>
                <a:gd name="T30" fmla="*/ 364 w 660"/>
                <a:gd name="T31" fmla="*/ 120 h 469"/>
                <a:gd name="T32" fmla="*/ 389 w 660"/>
                <a:gd name="T33" fmla="*/ 112 h 469"/>
                <a:gd name="T34" fmla="*/ 414 w 660"/>
                <a:gd name="T35" fmla="*/ 115 h 469"/>
                <a:gd name="T36" fmla="*/ 450 w 660"/>
                <a:gd name="T37" fmla="*/ 118 h 469"/>
                <a:gd name="T38" fmla="*/ 513 w 660"/>
                <a:gd name="T39" fmla="*/ 97 h 469"/>
                <a:gd name="T40" fmla="*/ 519 w 660"/>
                <a:gd name="T41" fmla="*/ 112 h 469"/>
                <a:gd name="T42" fmla="*/ 524 w 660"/>
                <a:gd name="T43" fmla="*/ 122 h 469"/>
                <a:gd name="T44" fmla="*/ 562 w 660"/>
                <a:gd name="T45" fmla="*/ 189 h 469"/>
                <a:gd name="T46" fmla="*/ 603 w 660"/>
                <a:gd name="T47" fmla="*/ 224 h 469"/>
                <a:gd name="T48" fmla="*/ 628 w 660"/>
                <a:gd name="T49" fmla="*/ 239 h 469"/>
                <a:gd name="T50" fmla="*/ 659 w 660"/>
                <a:gd name="T51" fmla="*/ 316 h 469"/>
                <a:gd name="T52" fmla="*/ 633 w 660"/>
                <a:gd name="T53" fmla="*/ 364 h 469"/>
                <a:gd name="T54" fmla="*/ 613 w 660"/>
                <a:gd name="T55" fmla="*/ 390 h 469"/>
                <a:gd name="T56" fmla="*/ 597 w 660"/>
                <a:gd name="T57" fmla="*/ 431 h 469"/>
                <a:gd name="T58" fmla="*/ 575 w 660"/>
                <a:gd name="T59" fmla="*/ 436 h 469"/>
                <a:gd name="T60" fmla="*/ 539 w 660"/>
                <a:gd name="T61" fmla="*/ 431 h 469"/>
                <a:gd name="T62" fmla="*/ 529 w 660"/>
                <a:gd name="T63" fmla="*/ 426 h 469"/>
                <a:gd name="T64" fmla="*/ 476 w 660"/>
                <a:gd name="T65" fmla="*/ 433 h 469"/>
                <a:gd name="T66" fmla="*/ 465 w 660"/>
                <a:gd name="T67" fmla="*/ 448 h 469"/>
                <a:gd name="T68" fmla="*/ 458 w 660"/>
                <a:gd name="T69" fmla="*/ 458 h 469"/>
                <a:gd name="T70" fmla="*/ 442 w 660"/>
                <a:gd name="T71" fmla="*/ 443 h 469"/>
                <a:gd name="T72" fmla="*/ 435 w 660"/>
                <a:gd name="T73" fmla="*/ 435 h 469"/>
                <a:gd name="T74" fmla="*/ 303 w 660"/>
                <a:gd name="T75" fmla="*/ 407 h 469"/>
                <a:gd name="T76" fmla="*/ 280 w 660"/>
                <a:gd name="T77" fmla="*/ 413 h 469"/>
                <a:gd name="T78" fmla="*/ 191 w 660"/>
                <a:gd name="T79" fmla="*/ 461 h 469"/>
                <a:gd name="T80" fmla="*/ 190 w 660"/>
                <a:gd name="T81" fmla="*/ 468 h 469"/>
                <a:gd name="T82" fmla="*/ 163 w 660"/>
                <a:gd name="T83" fmla="*/ 456 h 469"/>
                <a:gd name="T84" fmla="*/ 157 w 660"/>
                <a:gd name="T85" fmla="*/ 454 h 469"/>
                <a:gd name="T86" fmla="*/ 137 w 660"/>
                <a:gd name="T87" fmla="*/ 448 h 469"/>
                <a:gd name="T88" fmla="*/ 132 w 660"/>
                <a:gd name="T89" fmla="*/ 443 h 469"/>
                <a:gd name="T90" fmla="*/ 112 w 660"/>
                <a:gd name="T91" fmla="*/ 433 h 469"/>
                <a:gd name="T92" fmla="*/ 68 w 660"/>
                <a:gd name="T93" fmla="*/ 431 h 469"/>
                <a:gd name="T94" fmla="*/ 37 w 660"/>
                <a:gd name="T95" fmla="*/ 431 h 469"/>
                <a:gd name="T96" fmla="*/ 13 w 660"/>
                <a:gd name="T97" fmla="*/ 418 h 469"/>
                <a:gd name="T98" fmla="*/ 18 w 660"/>
                <a:gd name="T99" fmla="*/ 407 h 469"/>
                <a:gd name="T100" fmla="*/ 10 w 660"/>
                <a:gd name="T101" fmla="*/ 362 h 469"/>
                <a:gd name="T102" fmla="*/ 5 w 660"/>
                <a:gd name="T103" fmla="*/ 344 h 469"/>
                <a:gd name="T104" fmla="*/ 20 w 660"/>
                <a:gd name="T105" fmla="*/ 295 h 469"/>
                <a:gd name="T106" fmla="*/ 33 w 660"/>
                <a:gd name="T107" fmla="*/ 28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60" h="469">
                  <a:moveTo>
                    <a:pt x="33" y="280"/>
                  </a:moveTo>
                  <a:cubicBezTo>
                    <a:pt x="43" y="270"/>
                    <a:pt x="55" y="260"/>
                    <a:pt x="60" y="242"/>
                  </a:cubicBezTo>
                  <a:cubicBezTo>
                    <a:pt x="63" y="220"/>
                    <a:pt x="56" y="202"/>
                    <a:pt x="50" y="184"/>
                  </a:cubicBezTo>
                  <a:cubicBezTo>
                    <a:pt x="48" y="179"/>
                    <a:pt x="46" y="174"/>
                    <a:pt x="45" y="168"/>
                  </a:cubicBezTo>
                  <a:cubicBezTo>
                    <a:pt x="38" y="146"/>
                    <a:pt x="40" y="122"/>
                    <a:pt x="40" y="95"/>
                  </a:cubicBezTo>
                  <a:cubicBezTo>
                    <a:pt x="40" y="85"/>
                    <a:pt x="42" y="74"/>
                    <a:pt x="40" y="62"/>
                  </a:cubicBezTo>
                  <a:cubicBezTo>
                    <a:pt x="58" y="61"/>
                    <a:pt x="74" y="54"/>
                    <a:pt x="93" y="41"/>
                  </a:cubicBezTo>
                  <a:cubicBezTo>
                    <a:pt x="119" y="19"/>
                    <a:pt x="154" y="0"/>
                    <a:pt x="177" y="26"/>
                  </a:cubicBezTo>
                  <a:cubicBezTo>
                    <a:pt x="183" y="34"/>
                    <a:pt x="185" y="47"/>
                    <a:pt x="186" y="61"/>
                  </a:cubicBezTo>
                  <a:cubicBezTo>
                    <a:pt x="188" y="79"/>
                    <a:pt x="191" y="98"/>
                    <a:pt x="206" y="108"/>
                  </a:cubicBezTo>
                  <a:cubicBezTo>
                    <a:pt x="214" y="115"/>
                    <a:pt x="228" y="117"/>
                    <a:pt x="242" y="113"/>
                  </a:cubicBezTo>
                  <a:cubicBezTo>
                    <a:pt x="251" y="112"/>
                    <a:pt x="256" y="108"/>
                    <a:pt x="259" y="107"/>
                  </a:cubicBezTo>
                  <a:cubicBezTo>
                    <a:pt x="264" y="105"/>
                    <a:pt x="264" y="105"/>
                    <a:pt x="272" y="108"/>
                  </a:cubicBezTo>
                  <a:cubicBezTo>
                    <a:pt x="277" y="110"/>
                    <a:pt x="282" y="113"/>
                    <a:pt x="287" y="115"/>
                  </a:cubicBezTo>
                  <a:cubicBezTo>
                    <a:pt x="299" y="123"/>
                    <a:pt x="312" y="130"/>
                    <a:pt x="330" y="130"/>
                  </a:cubicBezTo>
                  <a:cubicBezTo>
                    <a:pt x="343" y="128"/>
                    <a:pt x="355" y="123"/>
                    <a:pt x="364" y="120"/>
                  </a:cubicBezTo>
                  <a:cubicBezTo>
                    <a:pt x="373" y="117"/>
                    <a:pt x="381" y="112"/>
                    <a:pt x="389" y="112"/>
                  </a:cubicBezTo>
                  <a:cubicBezTo>
                    <a:pt x="397" y="111"/>
                    <a:pt x="406" y="113"/>
                    <a:pt x="414" y="115"/>
                  </a:cubicBezTo>
                  <a:cubicBezTo>
                    <a:pt x="424" y="118"/>
                    <a:pt x="437" y="122"/>
                    <a:pt x="450" y="118"/>
                  </a:cubicBezTo>
                  <a:cubicBezTo>
                    <a:pt x="473" y="117"/>
                    <a:pt x="493" y="107"/>
                    <a:pt x="513" y="97"/>
                  </a:cubicBezTo>
                  <a:cubicBezTo>
                    <a:pt x="514" y="102"/>
                    <a:pt x="516" y="107"/>
                    <a:pt x="519" y="112"/>
                  </a:cubicBezTo>
                  <a:lnTo>
                    <a:pt x="524" y="122"/>
                  </a:lnTo>
                  <a:cubicBezTo>
                    <a:pt x="537" y="145"/>
                    <a:pt x="551" y="166"/>
                    <a:pt x="562" y="189"/>
                  </a:cubicBezTo>
                  <a:cubicBezTo>
                    <a:pt x="574" y="212"/>
                    <a:pt x="588" y="219"/>
                    <a:pt x="603" y="224"/>
                  </a:cubicBezTo>
                  <a:cubicBezTo>
                    <a:pt x="612" y="227"/>
                    <a:pt x="620" y="230"/>
                    <a:pt x="628" y="239"/>
                  </a:cubicBezTo>
                  <a:cubicBezTo>
                    <a:pt x="641" y="250"/>
                    <a:pt x="659" y="296"/>
                    <a:pt x="659" y="316"/>
                  </a:cubicBezTo>
                  <a:cubicBezTo>
                    <a:pt x="658" y="331"/>
                    <a:pt x="644" y="347"/>
                    <a:pt x="633" y="364"/>
                  </a:cubicBezTo>
                  <a:cubicBezTo>
                    <a:pt x="626" y="372"/>
                    <a:pt x="620" y="382"/>
                    <a:pt x="613" y="390"/>
                  </a:cubicBezTo>
                  <a:cubicBezTo>
                    <a:pt x="607" y="403"/>
                    <a:pt x="600" y="418"/>
                    <a:pt x="597" y="431"/>
                  </a:cubicBezTo>
                  <a:cubicBezTo>
                    <a:pt x="590" y="431"/>
                    <a:pt x="584" y="433"/>
                    <a:pt x="575" y="436"/>
                  </a:cubicBezTo>
                  <a:cubicBezTo>
                    <a:pt x="555" y="441"/>
                    <a:pt x="554" y="440"/>
                    <a:pt x="539" y="431"/>
                  </a:cubicBezTo>
                  <a:lnTo>
                    <a:pt x="529" y="426"/>
                  </a:lnTo>
                  <a:cubicBezTo>
                    <a:pt x="506" y="416"/>
                    <a:pt x="498" y="415"/>
                    <a:pt x="476" y="433"/>
                  </a:cubicBezTo>
                  <a:cubicBezTo>
                    <a:pt x="471" y="438"/>
                    <a:pt x="468" y="443"/>
                    <a:pt x="465" y="448"/>
                  </a:cubicBezTo>
                  <a:cubicBezTo>
                    <a:pt x="462" y="454"/>
                    <a:pt x="460" y="458"/>
                    <a:pt x="458" y="458"/>
                  </a:cubicBezTo>
                  <a:cubicBezTo>
                    <a:pt x="453" y="458"/>
                    <a:pt x="450" y="454"/>
                    <a:pt x="442" y="443"/>
                  </a:cubicBezTo>
                  <a:cubicBezTo>
                    <a:pt x="440" y="440"/>
                    <a:pt x="437" y="436"/>
                    <a:pt x="435" y="435"/>
                  </a:cubicBezTo>
                  <a:cubicBezTo>
                    <a:pt x="392" y="382"/>
                    <a:pt x="346" y="390"/>
                    <a:pt x="303" y="407"/>
                  </a:cubicBezTo>
                  <a:cubicBezTo>
                    <a:pt x="297" y="408"/>
                    <a:pt x="289" y="411"/>
                    <a:pt x="280" y="413"/>
                  </a:cubicBezTo>
                  <a:cubicBezTo>
                    <a:pt x="247" y="425"/>
                    <a:pt x="208" y="436"/>
                    <a:pt x="191" y="461"/>
                  </a:cubicBezTo>
                  <a:cubicBezTo>
                    <a:pt x="191" y="463"/>
                    <a:pt x="190" y="464"/>
                    <a:pt x="190" y="468"/>
                  </a:cubicBezTo>
                  <a:cubicBezTo>
                    <a:pt x="178" y="463"/>
                    <a:pt x="170" y="459"/>
                    <a:pt x="163" y="456"/>
                  </a:cubicBezTo>
                  <a:lnTo>
                    <a:pt x="157" y="454"/>
                  </a:lnTo>
                  <a:cubicBezTo>
                    <a:pt x="150" y="453"/>
                    <a:pt x="145" y="451"/>
                    <a:pt x="137" y="448"/>
                  </a:cubicBezTo>
                  <a:cubicBezTo>
                    <a:pt x="135" y="448"/>
                    <a:pt x="134" y="446"/>
                    <a:pt x="132" y="443"/>
                  </a:cubicBezTo>
                  <a:cubicBezTo>
                    <a:pt x="127" y="440"/>
                    <a:pt x="121" y="435"/>
                    <a:pt x="112" y="433"/>
                  </a:cubicBezTo>
                  <a:cubicBezTo>
                    <a:pt x="96" y="428"/>
                    <a:pt x="81" y="430"/>
                    <a:pt x="68" y="431"/>
                  </a:cubicBezTo>
                  <a:cubicBezTo>
                    <a:pt x="56" y="433"/>
                    <a:pt x="45" y="433"/>
                    <a:pt x="37" y="431"/>
                  </a:cubicBezTo>
                  <a:cubicBezTo>
                    <a:pt x="28" y="428"/>
                    <a:pt x="20" y="423"/>
                    <a:pt x="13" y="418"/>
                  </a:cubicBezTo>
                  <a:cubicBezTo>
                    <a:pt x="15" y="415"/>
                    <a:pt x="17" y="411"/>
                    <a:pt x="18" y="407"/>
                  </a:cubicBezTo>
                  <a:cubicBezTo>
                    <a:pt x="22" y="390"/>
                    <a:pt x="17" y="375"/>
                    <a:pt x="10" y="362"/>
                  </a:cubicBezTo>
                  <a:cubicBezTo>
                    <a:pt x="9" y="357"/>
                    <a:pt x="5" y="351"/>
                    <a:pt x="5" y="344"/>
                  </a:cubicBezTo>
                  <a:cubicBezTo>
                    <a:pt x="0" y="326"/>
                    <a:pt x="10" y="306"/>
                    <a:pt x="20" y="295"/>
                  </a:cubicBezTo>
                  <a:cubicBezTo>
                    <a:pt x="23" y="290"/>
                    <a:pt x="28" y="285"/>
                    <a:pt x="33" y="280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88" name="Freeform 24">
              <a:extLst>
                <a:ext uri="{FF2B5EF4-FFF2-40B4-BE49-F238E27FC236}">
                  <a16:creationId xmlns:a16="http://schemas.microsoft.com/office/drawing/2014/main" id="{BABA4EB2-C9C5-384C-AE8F-1238817C84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8025" y="3205163"/>
              <a:ext cx="196850" cy="198437"/>
            </a:xfrm>
            <a:custGeom>
              <a:avLst/>
              <a:gdLst>
                <a:gd name="T0" fmla="*/ 382 w 549"/>
                <a:gd name="T1" fmla="*/ 382 h 551"/>
                <a:gd name="T2" fmla="*/ 387 w 549"/>
                <a:gd name="T3" fmla="*/ 464 h 551"/>
                <a:gd name="T4" fmla="*/ 394 w 549"/>
                <a:gd name="T5" fmla="*/ 482 h 551"/>
                <a:gd name="T6" fmla="*/ 394 w 549"/>
                <a:gd name="T7" fmla="*/ 502 h 551"/>
                <a:gd name="T8" fmla="*/ 369 w 549"/>
                <a:gd name="T9" fmla="*/ 524 h 551"/>
                <a:gd name="T10" fmla="*/ 351 w 549"/>
                <a:gd name="T11" fmla="*/ 533 h 551"/>
                <a:gd name="T12" fmla="*/ 333 w 549"/>
                <a:gd name="T13" fmla="*/ 550 h 551"/>
                <a:gd name="T14" fmla="*/ 316 w 549"/>
                <a:gd name="T15" fmla="*/ 538 h 551"/>
                <a:gd name="T16" fmla="*/ 291 w 549"/>
                <a:gd name="T17" fmla="*/ 509 h 551"/>
                <a:gd name="T18" fmla="*/ 255 w 549"/>
                <a:gd name="T19" fmla="*/ 471 h 551"/>
                <a:gd name="T20" fmla="*/ 237 w 549"/>
                <a:gd name="T21" fmla="*/ 461 h 551"/>
                <a:gd name="T22" fmla="*/ 221 w 549"/>
                <a:gd name="T23" fmla="*/ 451 h 551"/>
                <a:gd name="T24" fmla="*/ 216 w 549"/>
                <a:gd name="T25" fmla="*/ 421 h 551"/>
                <a:gd name="T26" fmla="*/ 216 w 549"/>
                <a:gd name="T27" fmla="*/ 413 h 551"/>
                <a:gd name="T28" fmla="*/ 169 w 549"/>
                <a:gd name="T29" fmla="*/ 339 h 551"/>
                <a:gd name="T30" fmla="*/ 150 w 549"/>
                <a:gd name="T31" fmla="*/ 313 h 551"/>
                <a:gd name="T32" fmla="*/ 132 w 549"/>
                <a:gd name="T33" fmla="*/ 273 h 551"/>
                <a:gd name="T34" fmla="*/ 56 w 549"/>
                <a:gd name="T35" fmla="*/ 262 h 551"/>
                <a:gd name="T36" fmla="*/ 56 w 549"/>
                <a:gd name="T37" fmla="*/ 262 h 551"/>
                <a:gd name="T38" fmla="*/ 39 w 549"/>
                <a:gd name="T39" fmla="*/ 245 h 551"/>
                <a:gd name="T40" fmla="*/ 20 w 549"/>
                <a:gd name="T41" fmla="*/ 235 h 551"/>
                <a:gd name="T42" fmla="*/ 3 w 549"/>
                <a:gd name="T43" fmla="*/ 227 h 551"/>
                <a:gd name="T44" fmla="*/ 1 w 549"/>
                <a:gd name="T45" fmla="*/ 206 h 551"/>
                <a:gd name="T46" fmla="*/ 3 w 549"/>
                <a:gd name="T47" fmla="*/ 196 h 551"/>
                <a:gd name="T48" fmla="*/ 6 w 549"/>
                <a:gd name="T49" fmla="*/ 183 h 551"/>
                <a:gd name="T50" fmla="*/ 13 w 549"/>
                <a:gd name="T51" fmla="*/ 184 h 551"/>
                <a:gd name="T52" fmla="*/ 102 w 549"/>
                <a:gd name="T53" fmla="*/ 132 h 551"/>
                <a:gd name="T54" fmla="*/ 230 w 549"/>
                <a:gd name="T55" fmla="*/ 0 h 551"/>
                <a:gd name="T56" fmla="*/ 244 w 549"/>
                <a:gd name="T57" fmla="*/ 15 h 551"/>
                <a:gd name="T58" fmla="*/ 272 w 549"/>
                <a:gd name="T59" fmla="*/ 54 h 551"/>
                <a:gd name="T60" fmla="*/ 295 w 549"/>
                <a:gd name="T61" fmla="*/ 90 h 551"/>
                <a:gd name="T62" fmla="*/ 303 w 549"/>
                <a:gd name="T63" fmla="*/ 92 h 551"/>
                <a:gd name="T64" fmla="*/ 331 w 549"/>
                <a:gd name="T65" fmla="*/ 87 h 551"/>
                <a:gd name="T66" fmla="*/ 359 w 549"/>
                <a:gd name="T67" fmla="*/ 67 h 551"/>
                <a:gd name="T68" fmla="*/ 379 w 549"/>
                <a:gd name="T69" fmla="*/ 54 h 551"/>
                <a:gd name="T70" fmla="*/ 418 w 549"/>
                <a:gd name="T71" fmla="*/ 38 h 551"/>
                <a:gd name="T72" fmla="*/ 426 w 549"/>
                <a:gd name="T73" fmla="*/ 34 h 551"/>
                <a:gd name="T74" fmla="*/ 445 w 549"/>
                <a:gd name="T75" fmla="*/ 34 h 551"/>
                <a:gd name="T76" fmla="*/ 468 w 549"/>
                <a:gd name="T77" fmla="*/ 36 h 551"/>
                <a:gd name="T78" fmla="*/ 474 w 549"/>
                <a:gd name="T79" fmla="*/ 34 h 551"/>
                <a:gd name="T80" fmla="*/ 479 w 549"/>
                <a:gd name="T81" fmla="*/ 47 h 551"/>
                <a:gd name="T82" fmla="*/ 492 w 549"/>
                <a:gd name="T83" fmla="*/ 87 h 551"/>
                <a:gd name="T84" fmla="*/ 497 w 549"/>
                <a:gd name="T85" fmla="*/ 112 h 551"/>
                <a:gd name="T86" fmla="*/ 514 w 549"/>
                <a:gd name="T87" fmla="*/ 168 h 551"/>
                <a:gd name="T88" fmla="*/ 527 w 549"/>
                <a:gd name="T89" fmla="*/ 188 h 551"/>
                <a:gd name="T90" fmla="*/ 540 w 549"/>
                <a:gd name="T91" fmla="*/ 206 h 551"/>
                <a:gd name="T92" fmla="*/ 542 w 549"/>
                <a:gd name="T93" fmla="*/ 212 h 551"/>
                <a:gd name="T94" fmla="*/ 548 w 549"/>
                <a:gd name="T95" fmla="*/ 225 h 551"/>
                <a:gd name="T96" fmla="*/ 504 w 549"/>
                <a:gd name="T97" fmla="*/ 283 h 551"/>
                <a:gd name="T98" fmla="*/ 463 w 549"/>
                <a:gd name="T99" fmla="*/ 304 h 551"/>
                <a:gd name="T100" fmla="*/ 382 w 549"/>
                <a:gd name="T101" fmla="*/ 382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9" h="551">
                  <a:moveTo>
                    <a:pt x="382" y="382"/>
                  </a:moveTo>
                  <a:cubicBezTo>
                    <a:pt x="379" y="403"/>
                    <a:pt x="380" y="440"/>
                    <a:pt x="387" y="464"/>
                  </a:cubicBezTo>
                  <a:cubicBezTo>
                    <a:pt x="389" y="471"/>
                    <a:pt x="392" y="477"/>
                    <a:pt x="394" y="482"/>
                  </a:cubicBezTo>
                  <a:cubicBezTo>
                    <a:pt x="398" y="491"/>
                    <a:pt x="400" y="494"/>
                    <a:pt x="394" y="502"/>
                  </a:cubicBezTo>
                  <a:cubicBezTo>
                    <a:pt x="389" y="512"/>
                    <a:pt x="379" y="517"/>
                    <a:pt x="369" y="524"/>
                  </a:cubicBezTo>
                  <a:cubicBezTo>
                    <a:pt x="362" y="527"/>
                    <a:pt x="356" y="530"/>
                    <a:pt x="351" y="533"/>
                  </a:cubicBezTo>
                  <a:cubicBezTo>
                    <a:pt x="344" y="538"/>
                    <a:pt x="338" y="545"/>
                    <a:pt x="333" y="550"/>
                  </a:cubicBezTo>
                  <a:cubicBezTo>
                    <a:pt x="326" y="547"/>
                    <a:pt x="321" y="542"/>
                    <a:pt x="316" y="538"/>
                  </a:cubicBezTo>
                  <a:cubicBezTo>
                    <a:pt x="306" y="530"/>
                    <a:pt x="298" y="520"/>
                    <a:pt x="291" y="509"/>
                  </a:cubicBezTo>
                  <a:cubicBezTo>
                    <a:pt x="282" y="496"/>
                    <a:pt x="272" y="481"/>
                    <a:pt x="255" y="471"/>
                  </a:cubicBezTo>
                  <a:cubicBezTo>
                    <a:pt x="250" y="466"/>
                    <a:pt x="244" y="463"/>
                    <a:pt x="237" y="461"/>
                  </a:cubicBezTo>
                  <a:cubicBezTo>
                    <a:pt x="229" y="458"/>
                    <a:pt x="224" y="456"/>
                    <a:pt x="221" y="451"/>
                  </a:cubicBezTo>
                  <a:cubicBezTo>
                    <a:pt x="216" y="445"/>
                    <a:pt x="216" y="433"/>
                    <a:pt x="216" y="421"/>
                  </a:cubicBezTo>
                  <a:lnTo>
                    <a:pt x="216" y="413"/>
                  </a:lnTo>
                  <a:cubicBezTo>
                    <a:pt x="216" y="370"/>
                    <a:pt x="209" y="354"/>
                    <a:pt x="169" y="339"/>
                  </a:cubicBezTo>
                  <a:cubicBezTo>
                    <a:pt x="155" y="334"/>
                    <a:pt x="153" y="328"/>
                    <a:pt x="150" y="313"/>
                  </a:cubicBezTo>
                  <a:cubicBezTo>
                    <a:pt x="148" y="301"/>
                    <a:pt x="145" y="288"/>
                    <a:pt x="132" y="273"/>
                  </a:cubicBezTo>
                  <a:cubicBezTo>
                    <a:pt x="110" y="252"/>
                    <a:pt x="81" y="252"/>
                    <a:pt x="56" y="262"/>
                  </a:cubicBezTo>
                  <a:lnTo>
                    <a:pt x="56" y="262"/>
                  </a:lnTo>
                  <a:cubicBezTo>
                    <a:pt x="51" y="255"/>
                    <a:pt x="46" y="250"/>
                    <a:pt x="39" y="245"/>
                  </a:cubicBezTo>
                  <a:cubicBezTo>
                    <a:pt x="33" y="240"/>
                    <a:pt x="26" y="237"/>
                    <a:pt x="20" y="235"/>
                  </a:cubicBezTo>
                  <a:cubicBezTo>
                    <a:pt x="13" y="232"/>
                    <a:pt x="6" y="230"/>
                    <a:pt x="3" y="227"/>
                  </a:cubicBezTo>
                  <a:cubicBezTo>
                    <a:pt x="0" y="220"/>
                    <a:pt x="0" y="212"/>
                    <a:pt x="1" y="206"/>
                  </a:cubicBezTo>
                  <a:cubicBezTo>
                    <a:pt x="1" y="202"/>
                    <a:pt x="3" y="199"/>
                    <a:pt x="3" y="196"/>
                  </a:cubicBezTo>
                  <a:cubicBezTo>
                    <a:pt x="5" y="192"/>
                    <a:pt x="5" y="188"/>
                    <a:pt x="6" y="183"/>
                  </a:cubicBezTo>
                  <a:cubicBezTo>
                    <a:pt x="8" y="184"/>
                    <a:pt x="11" y="184"/>
                    <a:pt x="13" y="184"/>
                  </a:cubicBezTo>
                  <a:cubicBezTo>
                    <a:pt x="54" y="189"/>
                    <a:pt x="82" y="171"/>
                    <a:pt x="102" y="132"/>
                  </a:cubicBezTo>
                  <a:cubicBezTo>
                    <a:pt x="132" y="77"/>
                    <a:pt x="179" y="36"/>
                    <a:pt x="230" y="0"/>
                  </a:cubicBezTo>
                  <a:cubicBezTo>
                    <a:pt x="235" y="5"/>
                    <a:pt x="240" y="10"/>
                    <a:pt x="244" y="15"/>
                  </a:cubicBezTo>
                  <a:cubicBezTo>
                    <a:pt x="255" y="28"/>
                    <a:pt x="267" y="39"/>
                    <a:pt x="272" y="54"/>
                  </a:cubicBezTo>
                  <a:cubicBezTo>
                    <a:pt x="277" y="71"/>
                    <a:pt x="282" y="84"/>
                    <a:pt x="295" y="90"/>
                  </a:cubicBezTo>
                  <a:cubicBezTo>
                    <a:pt x="296" y="90"/>
                    <a:pt x="300" y="92"/>
                    <a:pt x="303" y="92"/>
                  </a:cubicBezTo>
                  <a:cubicBezTo>
                    <a:pt x="311" y="94"/>
                    <a:pt x="319" y="92"/>
                    <a:pt x="331" y="87"/>
                  </a:cubicBezTo>
                  <a:cubicBezTo>
                    <a:pt x="342" y="82"/>
                    <a:pt x="351" y="75"/>
                    <a:pt x="359" y="67"/>
                  </a:cubicBezTo>
                  <a:cubicBezTo>
                    <a:pt x="366" y="62"/>
                    <a:pt x="372" y="57"/>
                    <a:pt x="379" y="54"/>
                  </a:cubicBezTo>
                  <a:cubicBezTo>
                    <a:pt x="390" y="47"/>
                    <a:pt x="405" y="43"/>
                    <a:pt x="418" y="38"/>
                  </a:cubicBezTo>
                  <a:lnTo>
                    <a:pt x="426" y="34"/>
                  </a:lnTo>
                  <a:cubicBezTo>
                    <a:pt x="433" y="31"/>
                    <a:pt x="438" y="33"/>
                    <a:pt x="445" y="34"/>
                  </a:cubicBezTo>
                  <a:cubicBezTo>
                    <a:pt x="451" y="34"/>
                    <a:pt x="458" y="36"/>
                    <a:pt x="468" y="36"/>
                  </a:cubicBezTo>
                  <a:cubicBezTo>
                    <a:pt x="469" y="36"/>
                    <a:pt x="473" y="34"/>
                    <a:pt x="474" y="34"/>
                  </a:cubicBezTo>
                  <a:cubicBezTo>
                    <a:pt x="476" y="39"/>
                    <a:pt x="478" y="43"/>
                    <a:pt x="479" y="47"/>
                  </a:cubicBezTo>
                  <a:cubicBezTo>
                    <a:pt x="484" y="61"/>
                    <a:pt x="489" y="74"/>
                    <a:pt x="492" y="87"/>
                  </a:cubicBezTo>
                  <a:cubicBezTo>
                    <a:pt x="496" y="95"/>
                    <a:pt x="496" y="104"/>
                    <a:pt x="497" y="112"/>
                  </a:cubicBezTo>
                  <a:cubicBezTo>
                    <a:pt x="501" y="130"/>
                    <a:pt x="504" y="150"/>
                    <a:pt x="514" y="168"/>
                  </a:cubicBezTo>
                  <a:cubicBezTo>
                    <a:pt x="517" y="174"/>
                    <a:pt x="522" y="181"/>
                    <a:pt x="527" y="188"/>
                  </a:cubicBezTo>
                  <a:cubicBezTo>
                    <a:pt x="532" y="194"/>
                    <a:pt x="537" y="199"/>
                    <a:pt x="540" y="206"/>
                  </a:cubicBezTo>
                  <a:cubicBezTo>
                    <a:pt x="540" y="209"/>
                    <a:pt x="542" y="211"/>
                    <a:pt x="542" y="212"/>
                  </a:cubicBezTo>
                  <a:cubicBezTo>
                    <a:pt x="543" y="217"/>
                    <a:pt x="545" y="222"/>
                    <a:pt x="548" y="225"/>
                  </a:cubicBezTo>
                  <a:cubicBezTo>
                    <a:pt x="537" y="248"/>
                    <a:pt x="524" y="270"/>
                    <a:pt x="504" y="283"/>
                  </a:cubicBezTo>
                  <a:cubicBezTo>
                    <a:pt x="492" y="291"/>
                    <a:pt x="479" y="296"/>
                    <a:pt x="463" y="304"/>
                  </a:cubicBezTo>
                  <a:cubicBezTo>
                    <a:pt x="428" y="319"/>
                    <a:pt x="389" y="336"/>
                    <a:pt x="382" y="38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89" name="Freeform 25">
              <a:extLst>
                <a:ext uri="{FF2B5EF4-FFF2-40B4-BE49-F238E27FC236}">
                  <a16:creationId xmlns:a16="http://schemas.microsoft.com/office/drawing/2014/main" id="{77941E73-6D9C-A84B-A53D-5A58D051A3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3725" y="3305175"/>
              <a:ext cx="292100" cy="287338"/>
            </a:xfrm>
            <a:custGeom>
              <a:avLst/>
              <a:gdLst>
                <a:gd name="T0" fmla="*/ 0 w 813"/>
                <a:gd name="T1" fmla="*/ 542 h 798"/>
                <a:gd name="T2" fmla="*/ 58 w 813"/>
                <a:gd name="T3" fmla="*/ 487 h 798"/>
                <a:gd name="T4" fmla="*/ 94 w 813"/>
                <a:gd name="T5" fmla="*/ 445 h 798"/>
                <a:gd name="T6" fmla="*/ 157 w 813"/>
                <a:gd name="T7" fmla="*/ 329 h 798"/>
                <a:gd name="T8" fmla="*/ 185 w 813"/>
                <a:gd name="T9" fmla="*/ 278 h 798"/>
                <a:gd name="T10" fmla="*/ 196 w 813"/>
                <a:gd name="T11" fmla="*/ 197 h 798"/>
                <a:gd name="T12" fmla="*/ 201 w 813"/>
                <a:gd name="T13" fmla="*/ 171 h 798"/>
                <a:gd name="T14" fmla="*/ 224 w 813"/>
                <a:gd name="T15" fmla="*/ 141 h 798"/>
                <a:gd name="T16" fmla="*/ 224 w 813"/>
                <a:gd name="T17" fmla="*/ 110 h 798"/>
                <a:gd name="T18" fmla="*/ 239 w 813"/>
                <a:gd name="T19" fmla="*/ 82 h 798"/>
                <a:gd name="T20" fmla="*/ 264 w 813"/>
                <a:gd name="T21" fmla="*/ 49 h 798"/>
                <a:gd name="T22" fmla="*/ 290 w 813"/>
                <a:gd name="T23" fmla="*/ 36 h 798"/>
                <a:gd name="T24" fmla="*/ 335 w 813"/>
                <a:gd name="T25" fmla="*/ 51 h 798"/>
                <a:gd name="T26" fmla="*/ 364 w 813"/>
                <a:gd name="T27" fmla="*/ 18 h 798"/>
                <a:gd name="T28" fmla="*/ 386 w 813"/>
                <a:gd name="T29" fmla="*/ 3 h 798"/>
                <a:gd name="T30" fmla="*/ 440 w 813"/>
                <a:gd name="T31" fmla="*/ 38 h 798"/>
                <a:gd name="T32" fmla="*/ 504 w 813"/>
                <a:gd name="T33" fmla="*/ 133 h 798"/>
                <a:gd name="T34" fmla="*/ 516 w 813"/>
                <a:gd name="T35" fmla="*/ 188 h 798"/>
                <a:gd name="T36" fmla="*/ 555 w 813"/>
                <a:gd name="T37" fmla="*/ 212 h 798"/>
                <a:gd name="T38" fmla="*/ 613 w 813"/>
                <a:gd name="T39" fmla="*/ 278 h 798"/>
                <a:gd name="T40" fmla="*/ 643 w 813"/>
                <a:gd name="T41" fmla="*/ 334 h 798"/>
                <a:gd name="T42" fmla="*/ 641 w 813"/>
                <a:gd name="T43" fmla="*/ 375 h 798"/>
                <a:gd name="T44" fmla="*/ 669 w 813"/>
                <a:gd name="T45" fmla="*/ 435 h 798"/>
                <a:gd name="T46" fmla="*/ 713 w 813"/>
                <a:gd name="T47" fmla="*/ 466 h 798"/>
                <a:gd name="T48" fmla="*/ 730 w 813"/>
                <a:gd name="T49" fmla="*/ 529 h 798"/>
                <a:gd name="T50" fmla="*/ 812 w 813"/>
                <a:gd name="T51" fmla="*/ 632 h 798"/>
                <a:gd name="T52" fmla="*/ 793 w 813"/>
                <a:gd name="T53" fmla="*/ 725 h 798"/>
                <a:gd name="T54" fmla="*/ 769 w 813"/>
                <a:gd name="T55" fmla="*/ 723 h 798"/>
                <a:gd name="T56" fmla="*/ 720 w 813"/>
                <a:gd name="T57" fmla="*/ 688 h 798"/>
                <a:gd name="T58" fmla="*/ 682 w 813"/>
                <a:gd name="T59" fmla="*/ 670 h 798"/>
                <a:gd name="T60" fmla="*/ 662 w 813"/>
                <a:gd name="T61" fmla="*/ 629 h 798"/>
                <a:gd name="T62" fmla="*/ 601 w 813"/>
                <a:gd name="T63" fmla="*/ 627 h 798"/>
                <a:gd name="T64" fmla="*/ 545 w 813"/>
                <a:gd name="T65" fmla="*/ 627 h 798"/>
                <a:gd name="T66" fmla="*/ 456 w 813"/>
                <a:gd name="T67" fmla="*/ 675 h 798"/>
                <a:gd name="T68" fmla="*/ 433 w 813"/>
                <a:gd name="T69" fmla="*/ 713 h 798"/>
                <a:gd name="T70" fmla="*/ 410 w 813"/>
                <a:gd name="T71" fmla="*/ 736 h 798"/>
                <a:gd name="T72" fmla="*/ 368 w 813"/>
                <a:gd name="T73" fmla="*/ 763 h 798"/>
                <a:gd name="T74" fmla="*/ 343 w 813"/>
                <a:gd name="T75" fmla="*/ 774 h 798"/>
                <a:gd name="T76" fmla="*/ 310 w 813"/>
                <a:gd name="T77" fmla="*/ 774 h 798"/>
                <a:gd name="T78" fmla="*/ 247 w 813"/>
                <a:gd name="T79" fmla="*/ 786 h 798"/>
                <a:gd name="T80" fmla="*/ 186 w 813"/>
                <a:gd name="T81" fmla="*/ 789 h 798"/>
                <a:gd name="T82" fmla="*/ 86 w 813"/>
                <a:gd name="T83" fmla="*/ 721 h 798"/>
                <a:gd name="T84" fmla="*/ 73 w 813"/>
                <a:gd name="T85" fmla="*/ 707 h 798"/>
                <a:gd name="T86" fmla="*/ 25 w 813"/>
                <a:gd name="T87" fmla="*/ 674 h 798"/>
                <a:gd name="T88" fmla="*/ 3 w 813"/>
                <a:gd name="T89" fmla="*/ 552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13" h="798">
                  <a:moveTo>
                    <a:pt x="3" y="552"/>
                  </a:moveTo>
                  <a:cubicBezTo>
                    <a:pt x="3" y="548"/>
                    <a:pt x="2" y="545"/>
                    <a:pt x="0" y="542"/>
                  </a:cubicBezTo>
                  <a:cubicBezTo>
                    <a:pt x="7" y="538"/>
                    <a:pt x="13" y="534"/>
                    <a:pt x="20" y="530"/>
                  </a:cubicBezTo>
                  <a:cubicBezTo>
                    <a:pt x="43" y="519"/>
                    <a:pt x="51" y="502"/>
                    <a:pt x="58" y="487"/>
                  </a:cubicBezTo>
                  <a:cubicBezTo>
                    <a:pt x="63" y="478"/>
                    <a:pt x="68" y="469"/>
                    <a:pt x="76" y="461"/>
                  </a:cubicBezTo>
                  <a:cubicBezTo>
                    <a:pt x="81" y="456"/>
                    <a:pt x="87" y="450"/>
                    <a:pt x="94" y="445"/>
                  </a:cubicBezTo>
                  <a:cubicBezTo>
                    <a:pt x="117" y="425"/>
                    <a:pt x="142" y="403"/>
                    <a:pt x="153" y="372"/>
                  </a:cubicBezTo>
                  <a:cubicBezTo>
                    <a:pt x="158" y="357"/>
                    <a:pt x="158" y="342"/>
                    <a:pt x="157" y="329"/>
                  </a:cubicBezTo>
                  <a:cubicBezTo>
                    <a:pt x="157" y="311"/>
                    <a:pt x="155" y="301"/>
                    <a:pt x="165" y="291"/>
                  </a:cubicBezTo>
                  <a:cubicBezTo>
                    <a:pt x="170" y="286"/>
                    <a:pt x="176" y="281"/>
                    <a:pt x="185" y="278"/>
                  </a:cubicBezTo>
                  <a:cubicBezTo>
                    <a:pt x="201" y="268"/>
                    <a:pt x="226" y="253"/>
                    <a:pt x="213" y="221"/>
                  </a:cubicBezTo>
                  <a:cubicBezTo>
                    <a:pt x="209" y="211"/>
                    <a:pt x="203" y="204"/>
                    <a:pt x="196" y="197"/>
                  </a:cubicBezTo>
                  <a:cubicBezTo>
                    <a:pt x="186" y="188"/>
                    <a:pt x="186" y="186"/>
                    <a:pt x="191" y="179"/>
                  </a:cubicBezTo>
                  <a:cubicBezTo>
                    <a:pt x="193" y="176"/>
                    <a:pt x="196" y="174"/>
                    <a:pt x="201" y="171"/>
                  </a:cubicBezTo>
                  <a:cubicBezTo>
                    <a:pt x="208" y="166"/>
                    <a:pt x="216" y="161"/>
                    <a:pt x="223" y="150"/>
                  </a:cubicBezTo>
                  <a:cubicBezTo>
                    <a:pt x="224" y="146"/>
                    <a:pt x="224" y="143"/>
                    <a:pt x="224" y="141"/>
                  </a:cubicBezTo>
                  <a:cubicBezTo>
                    <a:pt x="227" y="133"/>
                    <a:pt x="226" y="125"/>
                    <a:pt x="226" y="118"/>
                  </a:cubicBezTo>
                  <a:cubicBezTo>
                    <a:pt x="224" y="115"/>
                    <a:pt x="224" y="112"/>
                    <a:pt x="224" y="110"/>
                  </a:cubicBezTo>
                  <a:cubicBezTo>
                    <a:pt x="224" y="109"/>
                    <a:pt x="224" y="107"/>
                    <a:pt x="224" y="105"/>
                  </a:cubicBezTo>
                  <a:cubicBezTo>
                    <a:pt x="226" y="94"/>
                    <a:pt x="231" y="89"/>
                    <a:pt x="239" y="82"/>
                  </a:cubicBezTo>
                  <a:cubicBezTo>
                    <a:pt x="246" y="76"/>
                    <a:pt x="255" y="67"/>
                    <a:pt x="260" y="54"/>
                  </a:cubicBezTo>
                  <a:lnTo>
                    <a:pt x="264" y="49"/>
                  </a:lnTo>
                  <a:cubicBezTo>
                    <a:pt x="267" y="41"/>
                    <a:pt x="272" y="29"/>
                    <a:pt x="275" y="29"/>
                  </a:cubicBezTo>
                  <a:cubicBezTo>
                    <a:pt x="277" y="28"/>
                    <a:pt x="282" y="29"/>
                    <a:pt x="290" y="36"/>
                  </a:cubicBezTo>
                  <a:cubicBezTo>
                    <a:pt x="293" y="38"/>
                    <a:pt x="297" y="41"/>
                    <a:pt x="298" y="43"/>
                  </a:cubicBezTo>
                  <a:cubicBezTo>
                    <a:pt x="305" y="51"/>
                    <a:pt x="315" y="59"/>
                    <a:pt x="335" y="51"/>
                  </a:cubicBezTo>
                  <a:cubicBezTo>
                    <a:pt x="344" y="48"/>
                    <a:pt x="351" y="36"/>
                    <a:pt x="358" y="26"/>
                  </a:cubicBezTo>
                  <a:cubicBezTo>
                    <a:pt x="359" y="23"/>
                    <a:pt x="363" y="20"/>
                    <a:pt x="364" y="18"/>
                  </a:cubicBezTo>
                  <a:cubicBezTo>
                    <a:pt x="366" y="16"/>
                    <a:pt x="366" y="15"/>
                    <a:pt x="368" y="13"/>
                  </a:cubicBezTo>
                  <a:cubicBezTo>
                    <a:pt x="372" y="10"/>
                    <a:pt x="379" y="6"/>
                    <a:pt x="386" y="3"/>
                  </a:cubicBezTo>
                  <a:cubicBezTo>
                    <a:pt x="400" y="0"/>
                    <a:pt x="417" y="1"/>
                    <a:pt x="427" y="13"/>
                  </a:cubicBezTo>
                  <a:cubicBezTo>
                    <a:pt x="435" y="20"/>
                    <a:pt x="437" y="28"/>
                    <a:pt x="440" y="38"/>
                  </a:cubicBezTo>
                  <a:cubicBezTo>
                    <a:pt x="442" y="54"/>
                    <a:pt x="447" y="74"/>
                    <a:pt x="475" y="84"/>
                  </a:cubicBezTo>
                  <a:cubicBezTo>
                    <a:pt x="503" y="94"/>
                    <a:pt x="504" y="99"/>
                    <a:pt x="504" y="133"/>
                  </a:cubicBezTo>
                  <a:lnTo>
                    <a:pt x="504" y="141"/>
                  </a:lnTo>
                  <a:cubicBezTo>
                    <a:pt x="504" y="155"/>
                    <a:pt x="504" y="173"/>
                    <a:pt x="516" y="188"/>
                  </a:cubicBezTo>
                  <a:cubicBezTo>
                    <a:pt x="522" y="199"/>
                    <a:pt x="534" y="202"/>
                    <a:pt x="544" y="206"/>
                  </a:cubicBezTo>
                  <a:cubicBezTo>
                    <a:pt x="549" y="207"/>
                    <a:pt x="552" y="209"/>
                    <a:pt x="555" y="212"/>
                  </a:cubicBezTo>
                  <a:cubicBezTo>
                    <a:pt x="567" y="219"/>
                    <a:pt x="575" y="232"/>
                    <a:pt x="585" y="244"/>
                  </a:cubicBezTo>
                  <a:cubicBezTo>
                    <a:pt x="593" y="255"/>
                    <a:pt x="601" y="268"/>
                    <a:pt x="613" y="278"/>
                  </a:cubicBezTo>
                  <a:cubicBezTo>
                    <a:pt x="621" y="283"/>
                    <a:pt x="629" y="290"/>
                    <a:pt x="638" y="295"/>
                  </a:cubicBezTo>
                  <a:cubicBezTo>
                    <a:pt x="636" y="306"/>
                    <a:pt x="639" y="319"/>
                    <a:pt x="643" y="334"/>
                  </a:cubicBezTo>
                  <a:cubicBezTo>
                    <a:pt x="648" y="351"/>
                    <a:pt x="648" y="352"/>
                    <a:pt x="644" y="364"/>
                  </a:cubicBezTo>
                  <a:cubicBezTo>
                    <a:pt x="643" y="367"/>
                    <a:pt x="643" y="370"/>
                    <a:pt x="641" y="375"/>
                  </a:cubicBezTo>
                  <a:lnTo>
                    <a:pt x="641" y="380"/>
                  </a:lnTo>
                  <a:cubicBezTo>
                    <a:pt x="634" y="408"/>
                    <a:pt x="636" y="418"/>
                    <a:pt x="669" y="435"/>
                  </a:cubicBezTo>
                  <a:lnTo>
                    <a:pt x="677" y="438"/>
                  </a:lnTo>
                  <a:cubicBezTo>
                    <a:pt x="694" y="446"/>
                    <a:pt x="704" y="451"/>
                    <a:pt x="713" y="466"/>
                  </a:cubicBezTo>
                  <a:cubicBezTo>
                    <a:pt x="718" y="476"/>
                    <a:pt x="720" y="486"/>
                    <a:pt x="722" y="497"/>
                  </a:cubicBezTo>
                  <a:cubicBezTo>
                    <a:pt x="723" y="507"/>
                    <a:pt x="725" y="519"/>
                    <a:pt x="730" y="529"/>
                  </a:cubicBezTo>
                  <a:cubicBezTo>
                    <a:pt x="738" y="550"/>
                    <a:pt x="769" y="621"/>
                    <a:pt x="812" y="632"/>
                  </a:cubicBezTo>
                  <a:lnTo>
                    <a:pt x="812" y="632"/>
                  </a:lnTo>
                  <a:cubicBezTo>
                    <a:pt x="812" y="639"/>
                    <a:pt x="812" y="646"/>
                    <a:pt x="812" y="652"/>
                  </a:cubicBezTo>
                  <a:cubicBezTo>
                    <a:pt x="811" y="672"/>
                    <a:pt x="809" y="703"/>
                    <a:pt x="793" y="725"/>
                  </a:cubicBezTo>
                  <a:cubicBezTo>
                    <a:pt x="789" y="728"/>
                    <a:pt x="786" y="731"/>
                    <a:pt x="783" y="735"/>
                  </a:cubicBezTo>
                  <a:cubicBezTo>
                    <a:pt x="779" y="730"/>
                    <a:pt x="774" y="726"/>
                    <a:pt x="769" y="723"/>
                  </a:cubicBezTo>
                  <a:cubicBezTo>
                    <a:pt x="765" y="720"/>
                    <a:pt x="758" y="715"/>
                    <a:pt x="753" y="711"/>
                  </a:cubicBezTo>
                  <a:cubicBezTo>
                    <a:pt x="743" y="703"/>
                    <a:pt x="732" y="695"/>
                    <a:pt x="720" y="688"/>
                  </a:cubicBezTo>
                  <a:cubicBezTo>
                    <a:pt x="715" y="687"/>
                    <a:pt x="709" y="683"/>
                    <a:pt x="704" y="682"/>
                  </a:cubicBezTo>
                  <a:cubicBezTo>
                    <a:pt x="695" y="679"/>
                    <a:pt x="687" y="675"/>
                    <a:pt x="682" y="670"/>
                  </a:cubicBezTo>
                  <a:cubicBezTo>
                    <a:pt x="679" y="667"/>
                    <a:pt x="677" y="662"/>
                    <a:pt x="676" y="655"/>
                  </a:cubicBezTo>
                  <a:cubicBezTo>
                    <a:pt x="674" y="647"/>
                    <a:pt x="671" y="637"/>
                    <a:pt x="662" y="629"/>
                  </a:cubicBezTo>
                  <a:cubicBezTo>
                    <a:pt x="648" y="616"/>
                    <a:pt x="628" y="621"/>
                    <a:pt x="616" y="624"/>
                  </a:cubicBezTo>
                  <a:lnTo>
                    <a:pt x="601" y="627"/>
                  </a:lnTo>
                  <a:cubicBezTo>
                    <a:pt x="587" y="632"/>
                    <a:pt x="577" y="636"/>
                    <a:pt x="562" y="632"/>
                  </a:cubicBezTo>
                  <a:cubicBezTo>
                    <a:pt x="555" y="631"/>
                    <a:pt x="550" y="629"/>
                    <a:pt x="545" y="627"/>
                  </a:cubicBezTo>
                  <a:cubicBezTo>
                    <a:pt x="531" y="624"/>
                    <a:pt x="516" y="621"/>
                    <a:pt x="499" y="624"/>
                  </a:cubicBezTo>
                  <a:cubicBezTo>
                    <a:pt x="463" y="632"/>
                    <a:pt x="460" y="657"/>
                    <a:pt x="456" y="675"/>
                  </a:cubicBezTo>
                  <a:cubicBezTo>
                    <a:pt x="455" y="685"/>
                    <a:pt x="453" y="695"/>
                    <a:pt x="447" y="703"/>
                  </a:cubicBezTo>
                  <a:cubicBezTo>
                    <a:pt x="443" y="707"/>
                    <a:pt x="438" y="710"/>
                    <a:pt x="433" y="713"/>
                  </a:cubicBezTo>
                  <a:cubicBezTo>
                    <a:pt x="428" y="718"/>
                    <a:pt x="422" y="723"/>
                    <a:pt x="417" y="728"/>
                  </a:cubicBezTo>
                  <a:cubicBezTo>
                    <a:pt x="414" y="731"/>
                    <a:pt x="412" y="735"/>
                    <a:pt x="410" y="736"/>
                  </a:cubicBezTo>
                  <a:cubicBezTo>
                    <a:pt x="402" y="744"/>
                    <a:pt x="399" y="748"/>
                    <a:pt x="387" y="753"/>
                  </a:cubicBezTo>
                  <a:cubicBezTo>
                    <a:pt x="381" y="756"/>
                    <a:pt x="374" y="759"/>
                    <a:pt x="368" y="763"/>
                  </a:cubicBezTo>
                  <a:cubicBezTo>
                    <a:pt x="366" y="763"/>
                    <a:pt x="366" y="763"/>
                    <a:pt x="364" y="764"/>
                  </a:cubicBezTo>
                  <a:cubicBezTo>
                    <a:pt x="358" y="767"/>
                    <a:pt x="349" y="771"/>
                    <a:pt x="343" y="774"/>
                  </a:cubicBezTo>
                  <a:cubicBezTo>
                    <a:pt x="340" y="776"/>
                    <a:pt x="336" y="776"/>
                    <a:pt x="333" y="777"/>
                  </a:cubicBezTo>
                  <a:cubicBezTo>
                    <a:pt x="326" y="777"/>
                    <a:pt x="318" y="776"/>
                    <a:pt x="310" y="774"/>
                  </a:cubicBezTo>
                  <a:cubicBezTo>
                    <a:pt x="300" y="772"/>
                    <a:pt x="290" y="771"/>
                    <a:pt x="279" y="772"/>
                  </a:cubicBezTo>
                  <a:cubicBezTo>
                    <a:pt x="265" y="772"/>
                    <a:pt x="255" y="779"/>
                    <a:pt x="247" y="786"/>
                  </a:cubicBezTo>
                  <a:cubicBezTo>
                    <a:pt x="239" y="789"/>
                    <a:pt x="234" y="792"/>
                    <a:pt x="227" y="794"/>
                  </a:cubicBezTo>
                  <a:cubicBezTo>
                    <a:pt x="216" y="797"/>
                    <a:pt x="198" y="792"/>
                    <a:pt x="186" y="789"/>
                  </a:cubicBezTo>
                  <a:cubicBezTo>
                    <a:pt x="158" y="781"/>
                    <a:pt x="140" y="766"/>
                    <a:pt x="120" y="749"/>
                  </a:cubicBezTo>
                  <a:cubicBezTo>
                    <a:pt x="109" y="739"/>
                    <a:pt x="99" y="731"/>
                    <a:pt x="86" y="721"/>
                  </a:cubicBezTo>
                  <a:cubicBezTo>
                    <a:pt x="83" y="720"/>
                    <a:pt x="79" y="718"/>
                    <a:pt x="76" y="716"/>
                  </a:cubicBezTo>
                  <a:cubicBezTo>
                    <a:pt x="74" y="713"/>
                    <a:pt x="73" y="710"/>
                    <a:pt x="73" y="707"/>
                  </a:cubicBezTo>
                  <a:cubicBezTo>
                    <a:pt x="66" y="693"/>
                    <a:pt x="53" y="687"/>
                    <a:pt x="41" y="682"/>
                  </a:cubicBezTo>
                  <a:cubicBezTo>
                    <a:pt x="35" y="680"/>
                    <a:pt x="28" y="677"/>
                    <a:pt x="25" y="674"/>
                  </a:cubicBezTo>
                  <a:cubicBezTo>
                    <a:pt x="12" y="657"/>
                    <a:pt x="10" y="632"/>
                    <a:pt x="10" y="606"/>
                  </a:cubicBezTo>
                  <a:cubicBezTo>
                    <a:pt x="10" y="588"/>
                    <a:pt x="10" y="568"/>
                    <a:pt x="3" y="55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0" name="Freeform 26">
              <a:extLst>
                <a:ext uri="{FF2B5EF4-FFF2-40B4-BE49-F238E27FC236}">
                  <a16:creationId xmlns:a16="http://schemas.microsoft.com/office/drawing/2014/main" id="{1090B00C-6821-AA4C-8CB9-10D35EB4D5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36763" y="3040063"/>
              <a:ext cx="176212" cy="188912"/>
            </a:xfrm>
            <a:custGeom>
              <a:avLst/>
              <a:gdLst>
                <a:gd name="T0" fmla="*/ 77 w 489"/>
                <a:gd name="T1" fmla="*/ 420 h 526"/>
                <a:gd name="T2" fmla="*/ 77 w 489"/>
                <a:gd name="T3" fmla="*/ 420 h 526"/>
                <a:gd name="T4" fmla="*/ 79 w 489"/>
                <a:gd name="T5" fmla="*/ 374 h 526"/>
                <a:gd name="T6" fmla="*/ 66 w 489"/>
                <a:gd name="T7" fmla="*/ 291 h 526"/>
                <a:gd name="T8" fmla="*/ 59 w 489"/>
                <a:gd name="T9" fmla="*/ 285 h 526"/>
                <a:gd name="T10" fmla="*/ 15 w 489"/>
                <a:gd name="T11" fmla="*/ 201 h 526"/>
                <a:gd name="T12" fmla="*/ 11 w 489"/>
                <a:gd name="T13" fmla="*/ 178 h 526"/>
                <a:gd name="T14" fmla="*/ 0 w 489"/>
                <a:gd name="T15" fmla="*/ 87 h 526"/>
                <a:gd name="T16" fmla="*/ 5 w 489"/>
                <a:gd name="T17" fmla="*/ 59 h 526"/>
                <a:gd name="T18" fmla="*/ 6 w 489"/>
                <a:gd name="T19" fmla="*/ 56 h 526"/>
                <a:gd name="T20" fmla="*/ 81 w 489"/>
                <a:gd name="T21" fmla="*/ 20 h 526"/>
                <a:gd name="T22" fmla="*/ 105 w 489"/>
                <a:gd name="T23" fmla="*/ 11 h 526"/>
                <a:gd name="T24" fmla="*/ 158 w 489"/>
                <a:gd name="T25" fmla="*/ 1 h 526"/>
                <a:gd name="T26" fmla="*/ 206 w 489"/>
                <a:gd name="T27" fmla="*/ 31 h 526"/>
                <a:gd name="T28" fmla="*/ 212 w 489"/>
                <a:gd name="T29" fmla="*/ 38 h 526"/>
                <a:gd name="T30" fmla="*/ 255 w 489"/>
                <a:gd name="T31" fmla="*/ 62 h 526"/>
                <a:gd name="T32" fmla="*/ 280 w 489"/>
                <a:gd name="T33" fmla="*/ 41 h 526"/>
                <a:gd name="T34" fmla="*/ 287 w 489"/>
                <a:gd name="T35" fmla="*/ 33 h 526"/>
                <a:gd name="T36" fmla="*/ 310 w 489"/>
                <a:gd name="T37" fmla="*/ 31 h 526"/>
                <a:gd name="T38" fmla="*/ 319 w 489"/>
                <a:gd name="T39" fmla="*/ 36 h 526"/>
                <a:gd name="T40" fmla="*/ 374 w 489"/>
                <a:gd name="T41" fmla="*/ 41 h 526"/>
                <a:gd name="T42" fmla="*/ 379 w 489"/>
                <a:gd name="T43" fmla="*/ 39 h 526"/>
                <a:gd name="T44" fmla="*/ 405 w 489"/>
                <a:gd name="T45" fmla="*/ 44 h 526"/>
                <a:gd name="T46" fmla="*/ 408 w 489"/>
                <a:gd name="T47" fmla="*/ 48 h 526"/>
                <a:gd name="T48" fmla="*/ 425 w 489"/>
                <a:gd name="T49" fmla="*/ 74 h 526"/>
                <a:gd name="T50" fmla="*/ 461 w 489"/>
                <a:gd name="T51" fmla="*/ 94 h 526"/>
                <a:gd name="T52" fmla="*/ 478 w 489"/>
                <a:gd name="T53" fmla="*/ 100 h 526"/>
                <a:gd name="T54" fmla="*/ 486 w 489"/>
                <a:gd name="T55" fmla="*/ 143 h 526"/>
                <a:gd name="T56" fmla="*/ 484 w 489"/>
                <a:gd name="T57" fmla="*/ 155 h 526"/>
                <a:gd name="T58" fmla="*/ 486 w 489"/>
                <a:gd name="T59" fmla="*/ 158 h 526"/>
                <a:gd name="T60" fmla="*/ 474 w 489"/>
                <a:gd name="T61" fmla="*/ 211 h 526"/>
                <a:gd name="T62" fmla="*/ 460 w 489"/>
                <a:gd name="T63" fmla="*/ 227 h 526"/>
                <a:gd name="T64" fmla="*/ 433 w 489"/>
                <a:gd name="T65" fmla="*/ 265 h 526"/>
                <a:gd name="T66" fmla="*/ 425 w 489"/>
                <a:gd name="T67" fmla="*/ 306 h 526"/>
                <a:gd name="T68" fmla="*/ 397 w 489"/>
                <a:gd name="T69" fmla="*/ 346 h 526"/>
                <a:gd name="T70" fmla="*/ 387 w 489"/>
                <a:gd name="T71" fmla="*/ 362 h 526"/>
                <a:gd name="T72" fmla="*/ 374 w 489"/>
                <a:gd name="T73" fmla="*/ 384 h 526"/>
                <a:gd name="T74" fmla="*/ 326 w 489"/>
                <a:gd name="T75" fmla="*/ 451 h 526"/>
                <a:gd name="T76" fmla="*/ 303 w 489"/>
                <a:gd name="T77" fmla="*/ 468 h 526"/>
                <a:gd name="T78" fmla="*/ 301 w 489"/>
                <a:gd name="T79" fmla="*/ 468 h 526"/>
                <a:gd name="T80" fmla="*/ 287 w 489"/>
                <a:gd name="T81" fmla="*/ 466 h 526"/>
                <a:gd name="T82" fmla="*/ 254 w 489"/>
                <a:gd name="T83" fmla="*/ 468 h 526"/>
                <a:gd name="T84" fmla="*/ 245 w 489"/>
                <a:gd name="T85" fmla="*/ 471 h 526"/>
                <a:gd name="T86" fmla="*/ 204 w 489"/>
                <a:gd name="T87" fmla="*/ 487 h 526"/>
                <a:gd name="T88" fmla="*/ 179 w 489"/>
                <a:gd name="T89" fmla="*/ 505 h 526"/>
                <a:gd name="T90" fmla="*/ 158 w 489"/>
                <a:gd name="T91" fmla="*/ 520 h 526"/>
                <a:gd name="T92" fmla="*/ 142 w 489"/>
                <a:gd name="T93" fmla="*/ 524 h 526"/>
                <a:gd name="T94" fmla="*/ 133 w 489"/>
                <a:gd name="T95" fmla="*/ 504 h 526"/>
                <a:gd name="T96" fmla="*/ 100 w 489"/>
                <a:gd name="T97" fmla="*/ 456 h 526"/>
                <a:gd name="T98" fmla="*/ 91 w 489"/>
                <a:gd name="T99" fmla="*/ 443 h 526"/>
                <a:gd name="T100" fmla="*/ 77 w 489"/>
                <a:gd name="T101" fmla="*/ 42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89" h="526">
                  <a:moveTo>
                    <a:pt x="77" y="420"/>
                  </a:moveTo>
                  <a:lnTo>
                    <a:pt x="77" y="420"/>
                  </a:lnTo>
                  <a:cubicBezTo>
                    <a:pt x="72" y="403"/>
                    <a:pt x="76" y="390"/>
                    <a:pt x="79" y="374"/>
                  </a:cubicBezTo>
                  <a:cubicBezTo>
                    <a:pt x="84" y="349"/>
                    <a:pt x="89" y="321"/>
                    <a:pt x="66" y="291"/>
                  </a:cubicBezTo>
                  <a:lnTo>
                    <a:pt x="59" y="285"/>
                  </a:lnTo>
                  <a:cubicBezTo>
                    <a:pt x="34" y="255"/>
                    <a:pt x="21" y="239"/>
                    <a:pt x="15" y="201"/>
                  </a:cubicBezTo>
                  <a:cubicBezTo>
                    <a:pt x="15" y="194"/>
                    <a:pt x="13" y="186"/>
                    <a:pt x="11" y="178"/>
                  </a:cubicBezTo>
                  <a:cubicBezTo>
                    <a:pt x="6" y="153"/>
                    <a:pt x="0" y="115"/>
                    <a:pt x="0" y="87"/>
                  </a:cubicBezTo>
                  <a:cubicBezTo>
                    <a:pt x="0" y="76"/>
                    <a:pt x="2" y="67"/>
                    <a:pt x="5" y="59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18" y="38"/>
                    <a:pt x="54" y="28"/>
                    <a:pt x="81" y="20"/>
                  </a:cubicBezTo>
                  <a:cubicBezTo>
                    <a:pt x="91" y="16"/>
                    <a:pt x="99" y="13"/>
                    <a:pt x="105" y="11"/>
                  </a:cubicBezTo>
                  <a:cubicBezTo>
                    <a:pt x="127" y="3"/>
                    <a:pt x="143" y="0"/>
                    <a:pt x="158" y="1"/>
                  </a:cubicBezTo>
                  <a:cubicBezTo>
                    <a:pt x="176" y="3"/>
                    <a:pt x="191" y="13"/>
                    <a:pt x="206" y="31"/>
                  </a:cubicBezTo>
                  <a:cubicBezTo>
                    <a:pt x="209" y="33"/>
                    <a:pt x="211" y="36"/>
                    <a:pt x="212" y="38"/>
                  </a:cubicBezTo>
                  <a:cubicBezTo>
                    <a:pt x="219" y="49"/>
                    <a:pt x="232" y="67"/>
                    <a:pt x="255" y="62"/>
                  </a:cubicBezTo>
                  <a:cubicBezTo>
                    <a:pt x="270" y="61"/>
                    <a:pt x="277" y="49"/>
                    <a:pt x="280" y="41"/>
                  </a:cubicBezTo>
                  <a:cubicBezTo>
                    <a:pt x="283" y="38"/>
                    <a:pt x="285" y="34"/>
                    <a:pt x="287" y="33"/>
                  </a:cubicBezTo>
                  <a:cubicBezTo>
                    <a:pt x="296" y="24"/>
                    <a:pt x="296" y="24"/>
                    <a:pt x="310" y="31"/>
                  </a:cubicBezTo>
                  <a:lnTo>
                    <a:pt x="319" y="36"/>
                  </a:lnTo>
                  <a:cubicBezTo>
                    <a:pt x="338" y="44"/>
                    <a:pt x="346" y="48"/>
                    <a:pt x="374" y="41"/>
                  </a:cubicBezTo>
                  <a:cubicBezTo>
                    <a:pt x="376" y="41"/>
                    <a:pt x="379" y="39"/>
                    <a:pt x="379" y="39"/>
                  </a:cubicBezTo>
                  <a:cubicBezTo>
                    <a:pt x="399" y="34"/>
                    <a:pt x="402" y="36"/>
                    <a:pt x="405" y="44"/>
                  </a:cubicBezTo>
                  <a:cubicBezTo>
                    <a:pt x="407" y="44"/>
                    <a:pt x="407" y="46"/>
                    <a:pt x="408" y="48"/>
                  </a:cubicBezTo>
                  <a:cubicBezTo>
                    <a:pt x="412" y="54"/>
                    <a:pt x="415" y="64"/>
                    <a:pt x="425" y="74"/>
                  </a:cubicBezTo>
                  <a:cubicBezTo>
                    <a:pt x="436" y="90"/>
                    <a:pt x="451" y="94"/>
                    <a:pt x="461" y="94"/>
                  </a:cubicBezTo>
                  <a:cubicBezTo>
                    <a:pt x="469" y="95"/>
                    <a:pt x="473" y="95"/>
                    <a:pt x="478" y="100"/>
                  </a:cubicBezTo>
                  <a:cubicBezTo>
                    <a:pt x="488" y="107"/>
                    <a:pt x="486" y="127"/>
                    <a:pt x="486" y="143"/>
                  </a:cubicBezTo>
                  <a:cubicBezTo>
                    <a:pt x="486" y="146"/>
                    <a:pt x="486" y="151"/>
                    <a:pt x="484" y="155"/>
                  </a:cubicBezTo>
                  <a:lnTo>
                    <a:pt x="486" y="158"/>
                  </a:lnTo>
                  <a:cubicBezTo>
                    <a:pt x="486" y="179"/>
                    <a:pt x="486" y="194"/>
                    <a:pt x="474" y="211"/>
                  </a:cubicBezTo>
                  <a:cubicBezTo>
                    <a:pt x="469" y="217"/>
                    <a:pt x="464" y="222"/>
                    <a:pt x="460" y="227"/>
                  </a:cubicBezTo>
                  <a:cubicBezTo>
                    <a:pt x="450" y="237"/>
                    <a:pt x="440" y="248"/>
                    <a:pt x="433" y="265"/>
                  </a:cubicBezTo>
                  <a:cubicBezTo>
                    <a:pt x="428" y="278"/>
                    <a:pt x="427" y="293"/>
                    <a:pt x="425" y="306"/>
                  </a:cubicBezTo>
                  <a:cubicBezTo>
                    <a:pt x="413" y="318"/>
                    <a:pt x="405" y="333"/>
                    <a:pt x="397" y="346"/>
                  </a:cubicBezTo>
                  <a:cubicBezTo>
                    <a:pt x="394" y="352"/>
                    <a:pt x="390" y="357"/>
                    <a:pt x="387" y="362"/>
                  </a:cubicBezTo>
                  <a:cubicBezTo>
                    <a:pt x="382" y="369"/>
                    <a:pt x="379" y="375"/>
                    <a:pt x="374" y="384"/>
                  </a:cubicBezTo>
                  <a:cubicBezTo>
                    <a:pt x="362" y="403"/>
                    <a:pt x="344" y="433"/>
                    <a:pt x="326" y="451"/>
                  </a:cubicBezTo>
                  <a:cubicBezTo>
                    <a:pt x="318" y="459"/>
                    <a:pt x="311" y="466"/>
                    <a:pt x="303" y="468"/>
                  </a:cubicBezTo>
                  <a:lnTo>
                    <a:pt x="301" y="468"/>
                  </a:lnTo>
                  <a:cubicBezTo>
                    <a:pt x="296" y="468"/>
                    <a:pt x="291" y="468"/>
                    <a:pt x="287" y="466"/>
                  </a:cubicBezTo>
                  <a:cubicBezTo>
                    <a:pt x="278" y="464"/>
                    <a:pt x="267" y="463"/>
                    <a:pt x="254" y="468"/>
                  </a:cubicBezTo>
                  <a:lnTo>
                    <a:pt x="245" y="471"/>
                  </a:lnTo>
                  <a:cubicBezTo>
                    <a:pt x="232" y="476"/>
                    <a:pt x="217" y="482"/>
                    <a:pt x="204" y="487"/>
                  </a:cubicBezTo>
                  <a:cubicBezTo>
                    <a:pt x="196" y="492"/>
                    <a:pt x="188" y="499"/>
                    <a:pt x="179" y="505"/>
                  </a:cubicBezTo>
                  <a:cubicBezTo>
                    <a:pt x="173" y="512"/>
                    <a:pt x="165" y="517"/>
                    <a:pt x="158" y="520"/>
                  </a:cubicBezTo>
                  <a:cubicBezTo>
                    <a:pt x="147" y="525"/>
                    <a:pt x="143" y="524"/>
                    <a:pt x="142" y="524"/>
                  </a:cubicBezTo>
                  <a:cubicBezTo>
                    <a:pt x="140" y="522"/>
                    <a:pt x="135" y="512"/>
                    <a:pt x="133" y="504"/>
                  </a:cubicBezTo>
                  <a:cubicBezTo>
                    <a:pt x="127" y="484"/>
                    <a:pt x="114" y="469"/>
                    <a:pt x="100" y="456"/>
                  </a:cubicBezTo>
                  <a:cubicBezTo>
                    <a:pt x="97" y="451"/>
                    <a:pt x="92" y="446"/>
                    <a:pt x="91" y="443"/>
                  </a:cubicBezTo>
                  <a:cubicBezTo>
                    <a:pt x="84" y="435"/>
                    <a:pt x="79" y="428"/>
                    <a:pt x="77" y="420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1" name="Freeform 27">
              <a:extLst>
                <a:ext uri="{FF2B5EF4-FFF2-40B4-BE49-F238E27FC236}">
                  <a16:creationId xmlns:a16="http://schemas.microsoft.com/office/drawing/2014/main" id="{96EBEC7E-8DB4-B948-BE6C-F47B50A4B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4688" y="3916363"/>
              <a:ext cx="222250" cy="385762"/>
            </a:xfrm>
            <a:custGeom>
              <a:avLst/>
              <a:gdLst>
                <a:gd name="T0" fmla="*/ 587 w 616"/>
                <a:gd name="T1" fmla="*/ 693 h 1070"/>
                <a:gd name="T2" fmla="*/ 521 w 616"/>
                <a:gd name="T3" fmla="*/ 846 h 1070"/>
                <a:gd name="T4" fmla="*/ 499 w 616"/>
                <a:gd name="T5" fmla="*/ 1009 h 1070"/>
                <a:gd name="T6" fmla="*/ 468 w 616"/>
                <a:gd name="T7" fmla="*/ 1037 h 1070"/>
                <a:gd name="T8" fmla="*/ 361 w 616"/>
                <a:gd name="T9" fmla="*/ 1054 h 1070"/>
                <a:gd name="T10" fmla="*/ 320 w 616"/>
                <a:gd name="T11" fmla="*/ 1019 h 1070"/>
                <a:gd name="T12" fmla="*/ 208 w 616"/>
                <a:gd name="T13" fmla="*/ 1013 h 1070"/>
                <a:gd name="T14" fmla="*/ 97 w 616"/>
                <a:gd name="T15" fmla="*/ 960 h 1070"/>
                <a:gd name="T16" fmla="*/ 40 w 616"/>
                <a:gd name="T17" fmla="*/ 899 h 1070"/>
                <a:gd name="T18" fmla="*/ 69 w 616"/>
                <a:gd name="T19" fmla="*/ 828 h 1070"/>
                <a:gd name="T20" fmla="*/ 129 w 616"/>
                <a:gd name="T21" fmla="*/ 779 h 1070"/>
                <a:gd name="T22" fmla="*/ 106 w 616"/>
                <a:gd name="T23" fmla="*/ 743 h 1070"/>
                <a:gd name="T24" fmla="*/ 101 w 616"/>
                <a:gd name="T25" fmla="*/ 685 h 1070"/>
                <a:gd name="T26" fmla="*/ 88 w 616"/>
                <a:gd name="T27" fmla="*/ 662 h 1070"/>
                <a:gd name="T28" fmla="*/ 132 w 616"/>
                <a:gd name="T29" fmla="*/ 673 h 1070"/>
                <a:gd name="T30" fmla="*/ 195 w 616"/>
                <a:gd name="T31" fmla="*/ 677 h 1070"/>
                <a:gd name="T32" fmla="*/ 224 w 616"/>
                <a:gd name="T33" fmla="*/ 668 h 1070"/>
                <a:gd name="T34" fmla="*/ 282 w 616"/>
                <a:gd name="T35" fmla="*/ 593 h 1070"/>
                <a:gd name="T36" fmla="*/ 302 w 616"/>
                <a:gd name="T37" fmla="*/ 481 h 1070"/>
                <a:gd name="T38" fmla="*/ 373 w 616"/>
                <a:gd name="T39" fmla="*/ 410 h 1070"/>
                <a:gd name="T40" fmla="*/ 288 w 616"/>
                <a:gd name="T41" fmla="*/ 357 h 1070"/>
                <a:gd name="T42" fmla="*/ 272 w 616"/>
                <a:gd name="T43" fmla="*/ 283 h 1070"/>
                <a:gd name="T44" fmla="*/ 274 w 616"/>
                <a:gd name="T45" fmla="*/ 214 h 1070"/>
                <a:gd name="T46" fmla="*/ 295 w 616"/>
                <a:gd name="T47" fmla="*/ 173 h 1070"/>
                <a:gd name="T48" fmla="*/ 252 w 616"/>
                <a:gd name="T49" fmla="*/ 59 h 1070"/>
                <a:gd name="T50" fmla="*/ 262 w 616"/>
                <a:gd name="T51" fmla="*/ 16 h 1070"/>
                <a:gd name="T52" fmla="*/ 295 w 616"/>
                <a:gd name="T53" fmla="*/ 3 h 1070"/>
                <a:gd name="T54" fmla="*/ 338 w 616"/>
                <a:gd name="T55" fmla="*/ 3 h 1070"/>
                <a:gd name="T56" fmla="*/ 381 w 616"/>
                <a:gd name="T57" fmla="*/ 14 h 1070"/>
                <a:gd name="T58" fmla="*/ 424 w 616"/>
                <a:gd name="T59" fmla="*/ 34 h 1070"/>
                <a:gd name="T60" fmla="*/ 491 w 616"/>
                <a:gd name="T61" fmla="*/ 9 h 1070"/>
                <a:gd name="T62" fmla="*/ 547 w 616"/>
                <a:gd name="T63" fmla="*/ 82 h 1070"/>
                <a:gd name="T64" fmla="*/ 521 w 616"/>
                <a:gd name="T65" fmla="*/ 214 h 1070"/>
                <a:gd name="T66" fmla="*/ 529 w 616"/>
                <a:gd name="T67" fmla="*/ 303 h 1070"/>
                <a:gd name="T68" fmla="*/ 483 w 616"/>
                <a:gd name="T69" fmla="*/ 382 h 1070"/>
                <a:gd name="T70" fmla="*/ 570 w 616"/>
                <a:gd name="T71" fmla="*/ 484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16" h="1070">
                  <a:moveTo>
                    <a:pt x="595" y="631"/>
                  </a:moveTo>
                  <a:cubicBezTo>
                    <a:pt x="590" y="650"/>
                    <a:pt x="588" y="672"/>
                    <a:pt x="587" y="693"/>
                  </a:cubicBezTo>
                  <a:cubicBezTo>
                    <a:pt x="582" y="736"/>
                    <a:pt x="577" y="780"/>
                    <a:pt x="552" y="815"/>
                  </a:cubicBezTo>
                  <a:cubicBezTo>
                    <a:pt x="544" y="827"/>
                    <a:pt x="532" y="836"/>
                    <a:pt x="521" y="846"/>
                  </a:cubicBezTo>
                  <a:cubicBezTo>
                    <a:pt x="494" y="873"/>
                    <a:pt x="463" y="902"/>
                    <a:pt x="475" y="955"/>
                  </a:cubicBezTo>
                  <a:cubicBezTo>
                    <a:pt x="480" y="975"/>
                    <a:pt x="489" y="993"/>
                    <a:pt x="499" y="1009"/>
                  </a:cubicBezTo>
                  <a:cubicBezTo>
                    <a:pt x="501" y="1014"/>
                    <a:pt x="504" y="1019"/>
                    <a:pt x="506" y="1026"/>
                  </a:cubicBezTo>
                  <a:cubicBezTo>
                    <a:pt x="494" y="1033"/>
                    <a:pt x="483" y="1037"/>
                    <a:pt x="468" y="1037"/>
                  </a:cubicBezTo>
                  <a:cubicBezTo>
                    <a:pt x="442" y="1036"/>
                    <a:pt x="414" y="1014"/>
                    <a:pt x="389" y="1023"/>
                  </a:cubicBezTo>
                  <a:cubicBezTo>
                    <a:pt x="371" y="1028"/>
                    <a:pt x="373" y="1044"/>
                    <a:pt x="361" y="1054"/>
                  </a:cubicBezTo>
                  <a:cubicBezTo>
                    <a:pt x="346" y="1069"/>
                    <a:pt x="338" y="1069"/>
                    <a:pt x="326" y="1047"/>
                  </a:cubicBezTo>
                  <a:cubicBezTo>
                    <a:pt x="321" y="1039"/>
                    <a:pt x="325" y="1028"/>
                    <a:pt x="320" y="1019"/>
                  </a:cubicBezTo>
                  <a:cubicBezTo>
                    <a:pt x="308" y="1006"/>
                    <a:pt x="312" y="1014"/>
                    <a:pt x="297" y="1014"/>
                  </a:cubicBezTo>
                  <a:cubicBezTo>
                    <a:pt x="262" y="1011"/>
                    <a:pt x="239" y="1031"/>
                    <a:pt x="208" y="1013"/>
                  </a:cubicBezTo>
                  <a:cubicBezTo>
                    <a:pt x="185" y="1000"/>
                    <a:pt x="163" y="983"/>
                    <a:pt x="140" y="970"/>
                  </a:cubicBezTo>
                  <a:cubicBezTo>
                    <a:pt x="124" y="958"/>
                    <a:pt x="111" y="957"/>
                    <a:pt x="97" y="960"/>
                  </a:cubicBezTo>
                  <a:cubicBezTo>
                    <a:pt x="96" y="949"/>
                    <a:pt x="94" y="939"/>
                    <a:pt x="88" y="930"/>
                  </a:cubicBezTo>
                  <a:cubicBezTo>
                    <a:pt x="79" y="917"/>
                    <a:pt x="61" y="909"/>
                    <a:pt x="40" y="899"/>
                  </a:cubicBezTo>
                  <a:cubicBezTo>
                    <a:pt x="27" y="894"/>
                    <a:pt x="0" y="883"/>
                    <a:pt x="0" y="876"/>
                  </a:cubicBezTo>
                  <a:cubicBezTo>
                    <a:pt x="0" y="860"/>
                    <a:pt x="51" y="838"/>
                    <a:pt x="69" y="828"/>
                  </a:cubicBezTo>
                  <a:cubicBezTo>
                    <a:pt x="78" y="825"/>
                    <a:pt x="84" y="822"/>
                    <a:pt x="89" y="820"/>
                  </a:cubicBezTo>
                  <a:cubicBezTo>
                    <a:pt x="111" y="808"/>
                    <a:pt x="130" y="797"/>
                    <a:pt x="129" y="779"/>
                  </a:cubicBezTo>
                  <a:cubicBezTo>
                    <a:pt x="130" y="767"/>
                    <a:pt x="122" y="761"/>
                    <a:pt x="116" y="754"/>
                  </a:cubicBezTo>
                  <a:cubicBezTo>
                    <a:pt x="112" y="751"/>
                    <a:pt x="107" y="746"/>
                    <a:pt x="106" y="743"/>
                  </a:cubicBezTo>
                  <a:cubicBezTo>
                    <a:pt x="106" y="736"/>
                    <a:pt x="106" y="731"/>
                    <a:pt x="107" y="726"/>
                  </a:cubicBezTo>
                  <a:cubicBezTo>
                    <a:pt x="109" y="715"/>
                    <a:pt x="112" y="701"/>
                    <a:pt x="101" y="685"/>
                  </a:cubicBezTo>
                  <a:cubicBezTo>
                    <a:pt x="99" y="680"/>
                    <a:pt x="96" y="677"/>
                    <a:pt x="92" y="673"/>
                  </a:cubicBezTo>
                  <a:cubicBezTo>
                    <a:pt x="86" y="665"/>
                    <a:pt x="86" y="667"/>
                    <a:pt x="88" y="662"/>
                  </a:cubicBezTo>
                  <a:cubicBezTo>
                    <a:pt x="89" y="659"/>
                    <a:pt x="91" y="659"/>
                    <a:pt x="91" y="659"/>
                  </a:cubicBezTo>
                  <a:cubicBezTo>
                    <a:pt x="99" y="655"/>
                    <a:pt x="119" y="667"/>
                    <a:pt x="132" y="673"/>
                  </a:cubicBezTo>
                  <a:cubicBezTo>
                    <a:pt x="142" y="680"/>
                    <a:pt x="152" y="685"/>
                    <a:pt x="158" y="687"/>
                  </a:cubicBezTo>
                  <a:cubicBezTo>
                    <a:pt x="175" y="688"/>
                    <a:pt x="186" y="682"/>
                    <a:pt x="195" y="677"/>
                  </a:cubicBezTo>
                  <a:cubicBezTo>
                    <a:pt x="198" y="673"/>
                    <a:pt x="203" y="670"/>
                    <a:pt x="208" y="668"/>
                  </a:cubicBezTo>
                  <a:cubicBezTo>
                    <a:pt x="214" y="667"/>
                    <a:pt x="219" y="668"/>
                    <a:pt x="224" y="668"/>
                  </a:cubicBezTo>
                  <a:cubicBezTo>
                    <a:pt x="236" y="668"/>
                    <a:pt x="247" y="670"/>
                    <a:pt x="262" y="662"/>
                  </a:cubicBezTo>
                  <a:cubicBezTo>
                    <a:pt x="297" y="642"/>
                    <a:pt x="288" y="614"/>
                    <a:pt x="282" y="593"/>
                  </a:cubicBezTo>
                  <a:cubicBezTo>
                    <a:pt x="280" y="584"/>
                    <a:pt x="277" y="576"/>
                    <a:pt x="277" y="566"/>
                  </a:cubicBezTo>
                  <a:cubicBezTo>
                    <a:pt x="275" y="522"/>
                    <a:pt x="284" y="494"/>
                    <a:pt x="302" y="481"/>
                  </a:cubicBezTo>
                  <a:cubicBezTo>
                    <a:pt x="307" y="476"/>
                    <a:pt x="315" y="474"/>
                    <a:pt x="325" y="471"/>
                  </a:cubicBezTo>
                  <a:cubicBezTo>
                    <a:pt x="346" y="463"/>
                    <a:pt x="377" y="451"/>
                    <a:pt x="373" y="410"/>
                  </a:cubicBezTo>
                  <a:cubicBezTo>
                    <a:pt x="368" y="372"/>
                    <a:pt x="336" y="367"/>
                    <a:pt x="313" y="362"/>
                  </a:cubicBezTo>
                  <a:cubicBezTo>
                    <a:pt x="303" y="360"/>
                    <a:pt x="295" y="359"/>
                    <a:pt x="288" y="357"/>
                  </a:cubicBezTo>
                  <a:cubicBezTo>
                    <a:pt x="260" y="344"/>
                    <a:pt x="262" y="326"/>
                    <a:pt x="270" y="291"/>
                  </a:cubicBezTo>
                  <a:lnTo>
                    <a:pt x="272" y="283"/>
                  </a:lnTo>
                  <a:cubicBezTo>
                    <a:pt x="275" y="268"/>
                    <a:pt x="275" y="255"/>
                    <a:pt x="274" y="242"/>
                  </a:cubicBezTo>
                  <a:cubicBezTo>
                    <a:pt x="274" y="232"/>
                    <a:pt x="272" y="224"/>
                    <a:pt x="274" y="214"/>
                  </a:cubicBezTo>
                  <a:cubicBezTo>
                    <a:pt x="275" y="207"/>
                    <a:pt x="279" y="202"/>
                    <a:pt x="284" y="196"/>
                  </a:cubicBezTo>
                  <a:cubicBezTo>
                    <a:pt x="288" y="189"/>
                    <a:pt x="292" y="182"/>
                    <a:pt x="295" y="173"/>
                  </a:cubicBezTo>
                  <a:cubicBezTo>
                    <a:pt x="303" y="141"/>
                    <a:pt x="280" y="105"/>
                    <a:pt x="262" y="75"/>
                  </a:cubicBezTo>
                  <a:cubicBezTo>
                    <a:pt x="259" y="70"/>
                    <a:pt x="256" y="64"/>
                    <a:pt x="252" y="59"/>
                  </a:cubicBezTo>
                  <a:cubicBezTo>
                    <a:pt x="257" y="51"/>
                    <a:pt x="259" y="41"/>
                    <a:pt x="260" y="33"/>
                  </a:cubicBezTo>
                  <a:cubicBezTo>
                    <a:pt x="260" y="26"/>
                    <a:pt x="260" y="21"/>
                    <a:pt x="262" y="16"/>
                  </a:cubicBezTo>
                  <a:cubicBezTo>
                    <a:pt x="262" y="1"/>
                    <a:pt x="262" y="1"/>
                    <a:pt x="277" y="0"/>
                  </a:cubicBezTo>
                  <a:cubicBezTo>
                    <a:pt x="282" y="0"/>
                    <a:pt x="288" y="1"/>
                    <a:pt x="295" y="3"/>
                  </a:cubicBezTo>
                  <a:cubicBezTo>
                    <a:pt x="303" y="5"/>
                    <a:pt x="312" y="6"/>
                    <a:pt x="321" y="6"/>
                  </a:cubicBezTo>
                  <a:cubicBezTo>
                    <a:pt x="326" y="5"/>
                    <a:pt x="331" y="5"/>
                    <a:pt x="338" y="3"/>
                  </a:cubicBezTo>
                  <a:cubicBezTo>
                    <a:pt x="345" y="1"/>
                    <a:pt x="349" y="0"/>
                    <a:pt x="354" y="1"/>
                  </a:cubicBezTo>
                  <a:cubicBezTo>
                    <a:pt x="363" y="3"/>
                    <a:pt x="373" y="9"/>
                    <a:pt x="381" y="14"/>
                  </a:cubicBezTo>
                  <a:cubicBezTo>
                    <a:pt x="392" y="23"/>
                    <a:pt x="405" y="33"/>
                    <a:pt x="422" y="34"/>
                  </a:cubicBezTo>
                  <a:cubicBezTo>
                    <a:pt x="424" y="34"/>
                    <a:pt x="424" y="34"/>
                    <a:pt x="424" y="34"/>
                  </a:cubicBezTo>
                  <a:cubicBezTo>
                    <a:pt x="443" y="36"/>
                    <a:pt x="457" y="28"/>
                    <a:pt x="466" y="19"/>
                  </a:cubicBezTo>
                  <a:cubicBezTo>
                    <a:pt x="475" y="14"/>
                    <a:pt x="483" y="9"/>
                    <a:pt x="491" y="9"/>
                  </a:cubicBezTo>
                  <a:cubicBezTo>
                    <a:pt x="509" y="9"/>
                    <a:pt x="532" y="24"/>
                    <a:pt x="541" y="41"/>
                  </a:cubicBezTo>
                  <a:cubicBezTo>
                    <a:pt x="547" y="52"/>
                    <a:pt x="547" y="67"/>
                    <a:pt x="547" y="82"/>
                  </a:cubicBezTo>
                  <a:cubicBezTo>
                    <a:pt x="547" y="94"/>
                    <a:pt x="547" y="107"/>
                    <a:pt x="550" y="118"/>
                  </a:cubicBezTo>
                  <a:cubicBezTo>
                    <a:pt x="522" y="141"/>
                    <a:pt x="513" y="174"/>
                    <a:pt x="521" y="214"/>
                  </a:cubicBezTo>
                  <a:cubicBezTo>
                    <a:pt x="522" y="222"/>
                    <a:pt x="526" y="229"/>
                    <a:pt x="527" y="235"/>
                  </a:cubicBezTo>
                  <a:cubicBezTo>
                    <a:pt x="534" y="260"/>
                    <a:pt x="539" y="280"/>
                    <a:pt x="529" y="303"/>
                  </a:cubicBezTo>
                  <a:cubicBezTo>
                    <a:pt x="524" y="313"/>
                    <a:pt x="517" y="321"/>
                    <a:pt x="511" y="331"/>
                  </a:cubicBezTo>
                  <a:cubicBezTo>
                    <a:pt x="498" y="346"/>
                    <a:pt x="486" y="360"/>
                    <a:pt x="483" y="382"/>
                  </a:cubicBezTo>
                  <a:cubicBezTo>
                    <a:pt x="476" y="426"/>
                    <a:pt x="513" y="449"/>
                    <a:pt x="542" y="466"/>
                  </a:cubicBezTo>
                  <a:cubicBezTo>
                    <a:pt x="554" y="472"/>
                    <a:pt x="564" y="479"/>
                    <a:pt x="570" y="484"/>
                  </a:cubicBezTo>
                  <a:cubicBezTo>
                    <a:pt x="615" y="522"/>
                    <a:pt x="608" y="573"/>
                    <a:pt x="595" y="63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2" name="Freeform 28">
              <a:extLst>
                <a:ext uri="{FF2B5EF4-FFF2-40B4-BE49-F238E27FC236}">
                  <a16:creationId xmlns:a16="http://schemas.microsoft.com/office/drawing/2014/main" id="{78429D4F-0AC2-2D42-8625-0CC9EF2268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3438" y="3292475"/>
              <a:ext cx="204787" cy="231775"/>
            </a:xfrm>
            <a:custGeom>
              <a:avLst/>
              <a:gdLst>
                <a:gd name="T0" fmla="*/ 159 w 568"/>
                <a:gd name="T1" fmla="*/ 642 h 643"/>
                <a:gd name="T2" fmla="*/ 150 w 568"/>
                <a:gd name="T3" fmla="*/ 639 h 643"/>
                <a:gd name="T4" fmla="*/ 91 w 568"/>
                <a:gd name="T5" fmla="*/ 555 h 643"/>
                <a:gd name="T6" fmla="*/ 86 w 568"/>
                <a:gd name="T7" fmla="*/ 530 h 643"/>
                <a:gd name="T8" fmla="*/ 73 w 568"/>
                <a:gd name="T9" fmla="*/ 489 h 643"/>
                <a:gd name="T10" fmla="*/ 27 w 568"/>
                <a:gd name="T11" fmla="*/ 451 h 643"/>
                <a:gd name="T12" fmla="*/ 19 w 568"/>
                <a:gd name="T13" fmla="*/ 446 h 643"/>
                <a:gd name="T14" fmla="*/ 4 w 568"/>
                <a:gd name="T15" fmla="*/ 421 h 643"/>
                <a:gd name="T16" fmla="*/ 7 w 568"/>
                <a:gd name="T17" fmla="*/ 406 h 643"/>
                <a:gd name="T18" fmla="*/ 5 w 568"/>
                <a:gd name="T19" fmla="*/ 364 h 643"/>
                <a:gd name="T20" fmla="*/ 0 w 568"/>
                <a:gd name="T21" fmla="*/ 342 h 643"/>
                <a:gd name="T22" fmla="*/ 10 w 568"/>
                <a:gd name="T23" fmla="*/ 317 h 643"/>
                <a:gd name="T24" fmla="*/ 20 w 568"/>
                <a:gd name="T25" fmla="*/ 311 h 643"/>
                <a:gd name="T26" fmla="*/ 35 w 568"/>
                <a:gd name="T27" fmla="*/ 303 h 643"/>
                <a:gd name="T28" fmla="*/ 70 w 568"/>
                <a:gd name="T29" fmla="*/ 271 h 643"/>
                <a:gd name="T30" fmla="*/ 70 w 568"/>
                <a:gd name="T31" fmla="*/ 225 h 643"/>
                <a:gd name="T32" fmla="*/ 65 w 568"/>
                <a:gd name="T33" fmla="*/ 214 h 643"/>
                <a:gd name="T34" fmla="*/ 61 w 568"/>
                <a:gd name="T35" fmla="*/ 141 h 643"/>
                <a:gd name="T36" fmla="*/ 126 w 568"/>
                <a:gd name="T37" fmla="*/ 84 h 643"/>
                <a:gd name="T38" fmla="*/ 173 w 568"/>
                <a:gd name="T39" fmla="*/ 60 h 643"/>
                <a:gd name="T40" fmla="*/ 223 w 568"/>
                <a:gd name="T41" fmla="*/ 0 h 643"/>
                <a:gd name="T42" fmla="*/ 236 w 568"/>
                <a:gd name="T43" fmla="*/ 6 h 643"/>
                <a:gd name="T44" fmla="*/ 280 w 568"/>
                <a:gd name="T45" fmla="*/ 14 h 643"/>
                <a:gd name="T46" fmla="*/ 290 w 568"/>
                <a:gd name="T47" fmla="*/ 13 h 643"/>
                <a:gd name="T48" fmla="*/ 300 w 568"/>
                <a:gd name="T49" fmla="*/ 13 h 643"/>
                <a:gd name="T50" fmla="*/ 333 w 568"/>
                <a:gd name="T51" fmla="*/ 37 h 643"/>
                <a:gd name="T52" fmla="*/ 341 w 568"/>
                <a:gd name="T53" fmla="*/ 52 h 643"/>
                <a:gd name="T54" fmla="*/ 366 w 568"/>
                <a:gd name="T55" fmla="*/ 88 h 643"/>
                <a:gd name="T56" fmla="*/ 420 w 568"/>
                <a:gd name="T57" fmla="*/ 108 h 643"/>
                <a:gd name="T58" fmla="*/ 475 w 568"/>
                <a:gd name="T59" fmla="*/ 82 h 643"/>
                <a:gd name="T60" fmla="*/ 478 w 568"/>
                <a:gd name="T61" fmla="*/ 79 h 643"/>
                <a:gd name="T62" fmla="*/ 486 w 568"/>
                <a:gd name="T63" fmla="*/ 82 h 643"/>
                <a:gd name="T64" fmla="*/ 567 w 568"/>
                <a:gd name="T65" fmla="*/ 141 h 643"/>
                <a:gd name="T66" fmla="*/ 501 w 568"/>
                <a:gd name="T67" fmla="*/ 233 h 643"/>
                <a:gd name="T68" fmla="*/ 501 w 568"/>
                <a:gd name="T69" fmla="*/ 263 h 643"/>
                <a:gd name="T70" fmla="*/ 491 w 568"/>
                <a:gd name="T71" fmla="*/ 309 h 643"/>
                <a:gd name="T72" fmla="*/ 483 w 568"/>
                <a:gd name="T73" fmla="*/ 392 h 643"/>
                <a:gd name="T74" fmla="*/ 486 w 568"/>
                <a:gd name="T75" fmla="*/ 401 h 643"/>
                <a:gd name="T76" fmla="*/ 477 w 568"/>
                <a:gd name="T77" fmla="*/ 497 h 643"/>
                <a:gd name="T78" fmla="*/ 430 w 568"/>
                <a:gd name="T79" fmla="*/ 527 h 643"/>
                <a:gd name="T80" fmla="*/ 394 w 568"/>
                <a:gd name="T81" fmla="*/ 543 h 643"/>
                <a:gd name="T82" fmla="*/ 378 w 568"/>
                <a:gd name="T83" fmla="*/ 553 h 643"/>
                <a:gd name="T84" fmla="*/ 369 w 568"/>
                <a:gd name="T85" fmla="*/ 556 h 643"/>
                <a:gd name="T86" fmla="*/ 366 w 568"/>
                <a:gd name="T87" fmla="*/ 558 h 643"/>
                <a:gd name="T88" fmla="*/ 322 w 568"/>
                <a:gd name="T89" fmla="*/ 573 h 643"/>
                <a:gd name="T90" fmla="*/ 256 w 568"/>
                <a:gd name="T91" fmla="*/ 599 h 643"/>
                <a:gd name="T92" fmla="*/ 213 w 568"/>
                <a:gd name="T93" fmla="*/ 622 h 643"/>
                <a:gd name="T94" fmla="*/ 208 w 568"/>
                <a:gd name="T95" fmla="*/ 624 h 643"/>
                <a:gd name="T96" fmla="*/ 187 w 568"/>
                <a:gd name="T97" fmla="*/ 634 h 643"/>
                <a:gd name="T98" fmla="*/ 177 w 568"/>
                <a:gd name="T99" fmla="*/ 639 h 643"/>
                <a:gd name="T100" fmla="*/ 159 w 568"/>
                <a:gd name="T101" fmla="*/ 6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68" h="643">
                  <a:moveTo>
                    <a:pt x="159" y="642"/>
                  </a:moveTo>
                  <a:cubicBezTo>
                    <a:pt x="155" y="642"/>
                    <a:pt x="152" y="640"/>
                    <a:pt x="150" y="639"/>
                  </a:cubicBezTo>
                  <a:cubicBezTo>
                    <a:pt x="129" y="627"/>
                    <a:pt x="106" y="589"/>
                    <a:pt x="91" y="555"/>
                  </a:cubicBezTo>
                  <a:cubicBezTo>
                    <a:pt x="88" y="546"/>
                    <a:pt x="88" y="538"/>
                    <a:pt x="86" y="530"/>
                  </a:cubicBezTo>
                  <a:cubicBezTo>
                    <a:pt x="84" y="517"/>
                    <a:pt x="81" y="502"/>
                    <a:pt x="73" y="489"/>
                  </a:cubicBezTo>
                  <a:cubicBezTo>
                    <a:pt x="60" y="466"/>
                    <a:pt x="45" y="459"/>
                    <a:pt x="27" y="451"/>
                  </a:cubicBezTo>
                  <a:lnTo>
                    <a:pt x="19" y="446"/>
                  </a:lnTo>
                  <a:cubicBezTo>
                    <a:pt x="0" y="438"/>
                    <a:pt x="0" y="438"/>
                    <a:pt x="4" y="421"/>
                  </a:cubicBezTo>
                  <a:lnTo>
                    <a:pt x="7" y="406"/>
                  </a:lnTo>
                  <a:cubicBezTo>
                    <a:pt x="12" y="392"/>
                    <a:pt x="12" y="385"/>
                    <a:pt x="5" y="364"/>
                  </a:cubicBezTo>
                  <a:cubicBezTo>
                    <a:pt x="4" y="354"/>
                    <a:pt x="2" y="347"/>
                    <a:pt x="0" y="342"/>
                  </a:cubicBezTo>
                  <a:cubicBezTo>
                    <a:pt x="0" y="332"/>
                    <a:pt x="2" y="326"/>
                    <a:pt x="10" y="317"/>
                  </a:cubicBezTo>
                  <a:cubicBezTo>
                    <a:pt x="14" y="316"/>
                    <a:pt x="15" y="314"/>
                    <a:pt x="20" y="311"/>
                  </a:cubicBezTo>
                  <a:cubicBezTo>
                    <a:pt x="23" y="308"/>
                    <a:pt x="28" y="304"/>
                    <a:pt x="35" y="303"/>
                  </a:cubicBezTo>
                  <a:cubicBezTo>
                    <a:pt x="47" y="294"/>
                    <a:pt x="61" y="288"/>
                    <a:pt x="70" y="271"/>
                  </a:cubicBezTo>
                  <a:cubicBezTo>
                    <a:pt x="83" y="250"/>
                    <a:pt x="76" y="237"/>
                    <a:pt x="70" y="225"/>
                  </a:cubicBezTo>
                  <a:cubicBezTo>
                    <a:pt x="68" y="222"/>
                    <a:pt x="66" y="219"/>
                    <a:pt x="65" y="214"/>
                  </a:cubicBezTo>
                  <a:cubicBezTo>
                    <a:pt x="60" y="194"/>
                    <a:pt x="58" y="161"/>
                    <a:pt x="61" y="141"/>
                  </a:cubicBezTo>
                  <a:cubicBezTo>
                    <a:pt x="66" y="110"/>
                    <a:pt x="94" y="98"/>
                    <a:pt x="126" y="84"/>
                  </a:cubicBezTo>
                  <a:cubicBezTo>
                    <a:pt x="142" y="77"/>
                    <a:pt x="159" y="70"/>
                    <a:pt x="173" y="60"/>
                  </a:cubicBezTo>
                  <a:cubicBezTo>
                    <a:pt x="193" y="46"/>
                    <a:pt x="210" y="24"/>
                    <a:pt x="223" y="0"/>
                  </a:cubicBezTo>
                  <a:cubicBezTo>
                    <a:pt x="228" y="3"/>
                    <a:pt x="231" y="4"/>
                    <a:pt x="236" y="6"/>
                  </a:cubicBezTo>
                  <a:cubicBezTo>
                    <a:pt x="249" y="11"/>
                    <a:pt x="264" y="16"/>
                    <a:pt x="280" y="14"/>
                  </a:cubicBezTo>
                  <a:cubicBezTo>
                    <a:pt x="284" y="14"/>
                    <a:pt x="287" y="14"/>
                    <a:pt x="290" y="13"/>
                  </a:cubicBezTo>
                  <a:cubicBezTo>
                    <a:pt x="294" y="13"/>
                    <a:pt x="297" y="13"/>
                    <a:pt x="300" y="13"/>
                  </a:cubicBezTo>
                  <a:cubicBezTo>
                    <a:pt x="317" y="11"/>
                    <a:pt x="328" y="29"/>
                    <a:pt x="333" y="37"/>
                  </a:cubicBezTo>
                  <a:cubicBezTo>
                    <a:pt x="336" y="42"/>
                    <a:pt x="338" y="47"/>
                    <a:pt x="341" y="52"/>
                  </a:cubicBezTo>
                  <a:cubicBezTo>
                    <a:pt x="348" y="64"/>
                    <a:pt x="355" y="77"/>
                    <a:pt x="366" y="88"/>
                  </a:cubicBezTo>
                  <a:cubicBezTo>
                    <a:pt x="379" y="102"/>
                    <a:pt x="399" y="108"/>
                    <a:pt x="420" y="108"/>
                  </a:cubicBezTo>
                  <a:cubicBezTo>
                    <a:pt x="440" y="107"/>
                    <a:pt x="460" y="98"/>
                    <a:pt x="475" y="82"/>
                  </a:cubicBezTo>
                  <a:lnTo>
                    <a:pt x="478" y="79"/>
                  </a:lnTo>
                  <a:cubicBezTo>
                    <a:pt x="478" y="79"/>
                    <a:pt x="480" y="79"/>
                    <a:pt x="486" y="82"/>
                  </a:cubicBezTo>
                  <a:cubicBezTo>
                    <a:pt x="514" y="100"/>
                    <a:pt x="542" y="120"/>
                    <a:pt x="567" y="141"/>
                  </a:cubicBezTo>
                  <a:cubicBezTo>
                    <a:pt x="531" y="153"/>
                    <a:pt x="508" y="186"/>
                    <a:pt x="501" y="233"/>
                  </a:cubicBezTo>
                  <a:cubicBezTo>
                    <a:pt x="501" y="245"/>
                    <a:pt x="501" y="253"/>
                    <a:pt x="501" y="263"/>
                  </a:cubicBezTo>
                  <a:cubicBezTo>
                    <a:pt x="500" y="280"/>
                    <a:pt x="500" y="293"/>
                    <a:pt x="491" y="309"/>
                  </a:cubicBezTo>
                  <a:cubicBezTo>
                    <a:pt x="478" y="337"/>
                    <a:pt x="477" y="357"/>
                    <a:pt x="483" y="392"/>
                  </a:cubicBezTo>
                  <a:lnTo>
                    <a:pt x="486" y="401"/>
                  </a:lnTo>
                  <a:cubicBezTo>
                    <a:pt x="495" y="439"/>
                    <a:pt x="500" y="462"/>
                    <a:pt x="477" y="497"/>
                  </a:cubicBezTo>
                  <a:cubicBezTo>
                    <a:pt x="465" y="515"/>
                    <a:pt x="452" y="518"/>
                    <a:pt x="430" y="527"/>
                  </a:cubicBezTo>
                  <a:cubicBezTo>
                    <a:pt x="416" y="532"/>
                    <a:pt x="404" y="537"/>
                    <a:pt x="394" y="543"/>
                  </a:cubicBezTo>
                  <a:cubicBezTo>
                    <a:pt x="388" y="546"/>
                    <a:pt x="383" y="550"/>
                    <a:pt x="378" y="553"/>
                  </a:cubicBezTo>
                  <a:lnTo>
                    <a:pt x="369" y="556"/>
                  </a:lnTo>
                  <a:lnTo>
                    <a:pt x="366" y="558"/>
                  </a:lnTo>
                  <a:cubicBezTo>
                    <a:pt x="353" y="566"/>
                    <a:pt x="338" y="568"/>
                    <a:pt x="322" y="573"/>
                  </a:cubicBezTo>
                  <a:cubicBezTo>
                    <a:pt x="299" y="576"/>
                    <a:pt x="276" y="581"/>
                    <a:pt x="256" y="599"/>
                  </a:cubicBezTo>
                  <a:cubicBezTo>
                    <a:pt x="239" y="614"/>
                    <a:pt x="234" y="616"/>
                    <a:pt x="213" y="622"/>
                  </a:cubicBezTo>
                  <a:lnTo>
                    <a:pt x="208" y="624"/>
                  </a:lnTo>
                  <a:cubicBezTo>
                    <a:pt x="200" y="627"/>
                    <a:pt x="193" y="630"/>
                    <a:pt x="187" y="634"/>
                  </a:cubicBezTo>
                  <a:cubicBezTo>
                    <a:pt x="183" y="635"/>
                    <a:pt x="180" y="637"/>
                    <a:pt x="177" y="639"/>
                  </a:cubicBezTo>
                  <a:cubicBezTo>
                    <a:pt x="170" y="640"/>
                    <a:pt x="163" y="642"/>
                    <a:pt x="159" y="64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3" name="Freeform 29">
              <a:extLst>
                <a:ext uri="{FF2B5EF4-FFF2-40B4-BE49-F238E27FC236}">
                  <a16:creationId xmlns:a16="http://schemas.microsoft.com/office/drawing/2014/main" id="{53BF7E47-24FD-6347-8854-4C4CECA634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4238" y="2855913"/>
              <a:ext cx="223837" cy="290512"/>
            </a:xfrm>
            <a:custGeom>
              <a:avLst/>
              <a:gdLst>
                <a:gd name="T0" fmla="*/ 104 w 622"/>
                <a:gd name="T1" fmla="*/ 58 h 805"/>
                <a:gd name="T2" fmla="*/ 129 w 622"/>
                <a:gd name="T3" fmla="*/ 17 h 805"/>
                <a:gd name="T4" fmla="*/ 129 w 622"/>
                <a:gd name="T5" fmla="*/ 17 h 805"/>
                <a:gd name="T6" fmla="*/ 224 w 622"/>
                <a:gd name="T7" fmla="*/ 9 h 805"/>
                <a:gd name="T8" fmla="*/ 289 w 622"/>
                <a:gd name="T9" fmla="*/ 42 h 805"/>
                <a:gd name="T10" fmla="*/ 343 w 622"/>
                <a:gd name="T11" fmla="*/ 94 h 805"/>
                <a:gd name="T12" fmla="*/ 379 w 622"/>
                <a:gd name="T13" fmla="*/ 117 h 805"/>
                <a:gd name="T14" fmla="*/ 465 w 622"/>
                <a:gd name="T15" fmla="*/ 152 h 805"/>
                <a:gd name="T16" fmla="*/ 546 w 622"/>
                <a:gd name="T17" fmla="*/ 177 h 805"/>
                <a:gd name="T18" fmla="*/ 610 w 622"/>
                <a:gd name="T19" fmla="*/ 246 h 805"/>
                <a:gd name="T20" fmla="*/ 621 w 622"/>
                <a:gd name="T21" fmla="*/ 277 h 805"/>
                <a:gd name="T22" fmla="*/ 620 w 622"/>
                <a:gd name="T23" fmla="*/ 284 h 805"/>
                <a:gd name="T24" fmla="*/ 537 w 622"/>
                <a:gd name="T25" fmla="*/ 373 h 805"/>
                <a:gd name="T26" fmla="*/ 506 w 622"/>
                <a:gd name="T27" fmla="*/ 514 h 805"/>
                <a:gd name="T28" fmla="*/ 514 w 622"/>
                <a:gd name="T29" fmla="*/ 541 h 805"/>
                <a:gd name="T30" fmla="*/ 528 w 622"/>
                <a:gd name="T31" fmla="*/ 579 h 805"/>
                <a:gd name="T32" fmla="*/ 536 w 622"/>
                <a:gd name="T33" fmla="*/ 595 h 805"/>
                <a:gd name="T34" fmla="*/ 570 w 622"/>
                <a:gd name="T35" fmla="*/ 645 h 805"/>
                <a:gd name="T36" fmla="*/ 560 w 622"/>
                <a:gd name="T37" fmla="*/ 725 h 805"/>
                <a:gd name="T38" fmla="*/ 455 w 622"/>
                <a:gd name="T39" fmla="*/ 778 h 805"/>
                <a:gd name="T40" fmla="*/ 422 w 622"/>
                <a:gd name="T41" fmla="*/ 794 h 805"/>
                <a:gd name="T42" fmla="*/ 364 w 622"/>
                <a:gd name="T43" fmla="*/ 768 h 805"/>
                <a:gd name="T44" fmla="*/ 305 w 622"/>
                <a:gd name="T45" fmla="*/ 785 h 805"/>
                <a:gd name="T46" fmla="*/ 241 w 622"/>
                <a:gd name="T47" fmla="*/ 770 h 805"/>
                <a:gd name="T48" fmla="*/ 165 w 622"/>
                <a:gd name="T49" fmla="*/ 783 h 805"/>
                <a:gd name="T50" fmla="*/ 132 w 622"/>
                <a:gd name="T51" fmla="*/ 803 h 805"/>
                <a:gd name="T52" fmla="*/ 129 w 622"/>
                <a:gd name="T53" fmla="*/ 788 h 805"/>
                <a:gd name="T54" fmla="*/ 167 w 622"/>
                <a:gd name="T55" fmla="*/ 738 h 805"/>
                <a:gd name="T56" fmla="*/ 183 w 622"/>
                <a:gd name="T57" fmla="*/ 668 h 805"/>
                <a:gd name="T58" fmla="*/ 165 w 622"/>
                <a:gd name="T59" fmla="*/ 592 h 805"/>
                <a:gd name="T60" fmla="*/ 116 w 622"/>
                <a:gd name="T61" fmla="*/ 572 h 805"/>
                <a:gd name="T62" fmla="*/ 86 w 622"/>
                <a:gd name="T63" fmla="*/ 528 h 805"/>
                <a:gd name="T64" fmla="*/ 117 w 622"/>
                <a:gd name="T65" fmla="*/ 473 h 805"/>
                <a:gd name="T66" fmla="*/ 109 w 622"/>
                <a:gd name="T67" fmla="*/ 312 h 805"/>
                <a:gd name="T68" fmla="*/ 48 w 622"/>
                <a:gd name="T69" fmla="*/ 271 h 805"/>
                <a:gd name="T70" fmla="*/ 5 w 622"/>
                <a:gd name="T71" fmla="*/ 191 h 805"/>
                <a:gd name="T72" fmla="*/ 10 w 622"/>
                <a:gd name="T73" fmla="*/ 147 h 805"/>
                <a:gd name="T74" fmla="*/ 28 w 622"/>
                <a:gd name="T75" fmla="*/ 122 h 805"/>
                <a:gd name="T76" fmla="*/ 65 w 622"/>
                <a:gd name="T77" fmla="*/ 78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22" h="805">
                  <a:moveTo>
                    <a:pt x="78" y="71"/>
                  </a:moveTo>
                  <a:cubicBezTo>
                    <a:pt x="86" y="70"/>
                    <a:pt x="96" y="66"/>
                    <a:pt x="104" y="58"/>
                  </a:cubicBezTo>
                  <a:cubicBezTo>
                    <a:pt x="112" y="51"/>
                    <a:pt x="117" y="40"/>
                    <a:pt x="121" y="32"/>
                  </a:cubicBezTo>
                  <a:cubicBezTo>
                    <a:pt x="124" y="25"/>
                    <a:pt x="126" y="20"/>
                    <a:pt x="129" y="17"/>
                  </a:cubicBezTo>
                  <a:lnTo>
                    <a:pt x="129" y="17"/>
                  </a:lnTo>
                  <a:lnTo>
                    <a:pt x="129" y="17"/>
                  </a:lnTo>
                  <a:cubicBezTo>
                    <a:pt x="160" y="22"/>
                    <a:pt x="190" y="17"/>
                    <a:pt x="215" y="12"/>
                  </a:cubicBezTo>
                  <a:lnTo>
                    <a:pt x="224" y="9"/>
                  </a:lnTo>
                  <a:cubicBezTo>
                    <a:pt x="247" y="4"/>
                    <a:pt x="262" y="0"/>
                    <a:pt x="274" y="15"/>
                  </a:cubicBezTo>
                  <a:cubicBezTo>
                    <a:pt x="282" y="23"/>
                    <a:pt x="285" y="32"/>
                    <a:pt x="289" y="42"/>
                  </a:cubicBezTo>
                  <a:cubicBezTo>
                    <a:pt x="295" y="56"/>
                    <a:pt x="302" y="71"/>
                    <a:pt x="325" y="84"/>
                  </a:cubicBezTo>
                  <a:cubicBezTo>
                    <a:pt x="332" y="89"/>
                    <a:pt x="336" y="91"/>
                    <a:pt x="343" y="94"/>
                  </a:cubicBezTo>
                  <a:cubicBezTo>
                    <a:pt x="353" y="98"/>
                    <a:pt x="360" y="103"/>
                    <a:pt x="368" y="109"/>
                  </a:cubicBezTo>
                  <a:cubicBezTo>
                    <a:pt x="373" y="112"/>
                    <a:pt x="376" y="114"/>
                    <a:pt x="379" y="117"/>
                  </a:cubicBezTo>
                  <a:cubicBezTo>
                    <a:pt x="391" y="127"/>
                    <a:pt x="402" y="137"/>
                    <a:pt x="419" y="142"/>
                  </a:cubicBezTo>
                  <a:cubicBezTo>
                    <a:pt x="435" y="149"/>
                    <a:pt x="450" y="150"/>
                    <a:pt x="465" y="152"/>
                  </a:cubicBezTo>
                  <a:cubicBezTo>
                    <a:pt x="481" y="154"/>
                    <a:pt x="496" y="155"/>
                    <a:pt x="513" y="163"/>
                  </a:cubicBezTo>
                  <a:cubicBezTo>
                    <a:pt x="523" y="170"/>
                    <a:pt x="534" y="173"/>
                    <a:pt x="546" y="177"/>
                  </a:cubicBezTo>
                  <a:cubicBezTo>
                    <a:pt x="565" y="185"/>
                    <a:pt x="584" y="191"/>
                    <a:pt x="595" y="206"/>
                  </a:cubicBezTo>
                  <a:cubicBezTo>
                    <a:pt x="603" y="218"/>
                    <a:pt x="607" y="231"/>
                    <a:pt x="610" y="246"/>
                  </a:cubicBezTo>
                  <a:cubicBezTo>
                    <a:pt x="613" y="256"/>
                    <a:pt x="617" y="266"/>
                    <a:pt x="621" y="277"/>
                  </a:cubicBezTo>
                  <a:lnTo>
                    <a:pt x="621" y="277"/>
                  </a:lnTo>
                  <a:cubicBezTo>
                    <a:pt x="620" y="279"/>
                    <a:pt x="620" y="280"/>
                    <a:pt x="620" y="282"/>
                  </a:cubicBezTo>
                  <a:lnTo>
                    <a:pt x="620" y="284"/>
                  </a:lnTo>
                  <a:cubicBezTo>
                    <a:pt x="590" y="297"/>
                    <a:pt x="567" y="327"/>
                    <a:pt x="551" y="353"/>
                  </a:cubicBezTo>
                  <a:cubicBezTo>
                    <a:pt x="547" y="358"/>
                    <a:pt x="542" y="366"/>
                    <a:pt x="537" y="373"/>
                  </a:cubicBezTo>
                  <a:cubicBezTo>
                    <a:pt x="514" y="406"/>
                    <a:pt x="485" y="447"/>
                    <a:pt x="493" y="486"/>
                  </a:cubicBezTo>
                  <a:cubicBezTo>
                    <a:pt x="495" y="498"/>
                    <a:pt x="501" y="506"/>
                    <a:pt x="506" y="514"/>
                  </a:cubicBezTo>
                  <a:cubicBezTo>
                    <a:pt x="509" y="519"/>
                    <a:pt x="513" y="526"/>
                    <a:pt x="514" y="531"/>
                  </a:cubicBezTo>
                  <a:cubicBezTo>
                    <a:pt x="516" y="534"/>
                    <a:pt x="516" y="537"/>
                    <a:pt x="514" y="541"/>
                  </a:cubicBezTo>
                  <a:cubicBezTo>
                    <a:pt x="514" y="547"/>
                    <a:pt x="514" y="556"/>
                    <a:pt x="518" y="564"/>
                  </a:cubicBezTo>
                  <a:cubicBezTo>
                    <a:pt x="519" y="570"/>
                    <a:pt x="524" y="575"/>
                    <a:pt x="528" y="579"/>
                  </a:cubicBezTo>
                  <a:cubicBezTo>
                    <a:pt x="529" y="580"/>
                    <a:pt x="531" y="582"/>
                    <a:pt x="531" y="582"/>
                  </a:cubicBezTo>
                  <a:cubicBezTo>
                    <a:pt x="534" y="587"/>
                    <a:pt x="536" y="590"/>
                    <a:pt x="536" y="595"/>
                  </a:cubicBezTo>
                  <a:cubicBezTo>
                    <a:pt x="539" y="607"/>
                    <a:pt x="542" y="618"/>
                    <a:pt x="552" y="628"/>
                  </a:cubicBezTo>
                  <a:cubicBezTo>
                    <a:pt x="559" y="636"/>
                    <a:pt x="565" y="640"/>
                    <a:pt x="570" y="645"/>
                  </a:cubicBezTo>
                  <a:cubicBezTo>
                    <a:pt x="580" y="651"/>
                    <a:pt x="584" y="653"/>
                    <a:pt x="584" y="668"/>
                  </a:cubicBezTo>
                  <a:cubicBezTo>
                    <a:pt x="582" y="686"/>
                    <a:pt x="572" y="705"/>
                    <a:pt x="560" y="725"/>
                  </a:cubicBezTo>
                  <a:cubicBezTo>
                    <a:pt x="551" y="742"/>
                    <a:pt x="541" y="758"/>
                    <a:pt x="537" y="778"/>
                  </a:cubicBezTo>
                  <a:cubicBezTo>
                    <a:pt x="509" y="773"/>
                    <a:pt x="480" y="770"/>
                    <a:pt x="455" y="778"/>
                  </a:cubicBezTo>
                  <a:cubicBezTo>
                    <a:pt x="447" y="780"/>
                    <a:pt x="442" y="785"/>
                    <a:pt x="435" y="788"/>
                  </a:cubicBezTo>
                  <a:cubicBezTo>
                    <a:pt x="430" y="793"/>
                    <a:pt x="427" y="796"/>
                    <a:pt x="422" y="794"/>
                  </a:cubicBezTo>
                  <a:cubicBezTo>
                    <a:pt x="416" y="793"/>
                    <a:pt x="411" y="789"/>
                    <a:pt x="404" y="785"/>
                  </a:cubicBezTo>
                  <a:cubicBezTo>
                    <a:pt x="394" y="776"/>
                    <a:pt x="383" y="768"/>
                    <a:pt x="364" y="768"/>
                  </a:cubicBezTo>
                  <a:cubicBezTo>
                    <a:pt x="351" y="768"/>
                    <a:pt x="338" y="773"/>
                    <a:pt x="327" y="778"/>
                  </a:cubicBezTo>
                  <a:cubicBezTo>
                    <a:pt x="318" y="781"/>
                    <a:pt x="312" y="783"/>
                    <a:pt x="305" y="785"/>
                  </a:cubicBezTo>
                  <a:cubicBezTo>
                    <a:pt x="284" y="789"/>
                    <a:pt x="272" y="785"/>
                    <a:pt x="251" y="775"/>
                  </a:cubicBezTo>
                  <a:cubicBezTo>
                    <a:pt x="247" y="773"/>
                    <a:pt x="244" y="771"/>
                    <a:pt x="241" y="770"/>
                  </a:cubicBezTo>
                  <a:cubicBezTo>
                    <a:pt x="228" y="763"/>
                    <a:pt x="208" y="753"/>
                    <a:pt x="190" y="761"/>
                  </a:cubicBezTo>
                  <a:cubicBezTo>
                    <a:pt x="178" y="766"/>
                    <a:pt x="170" y="775"/>
                    <a:pt x="165" y="783"/>
                  </a:cubicBezTo>
                  <a:cubicBezTo>
                    <a:pt x="159" y="789"/>
                    <a:pt x="154" y="796"/>
                    <a:pt x="145" y="799"/>
                  </a:cubicBezTo>
                  <a:cubicBezTo>
                    <a:pt x="142" y="799"/>
                    <a:pt x="137" y="801"/>
                    <a:pt x="132" y="803"/>
                  </a:cubicBezTo>
                  <a:cubicBezTo>
                    <a:pt x="131" y="803"/>
                    <a:pt x="127" y="803"/>
                    <a:pt x="126" y="804"/>
                  </a:cubicBezTo>
                  <a:cubicBezTo>
                    <a:pt x="126" y="798"/>
                    <a:pt x="127" y="793"/>
                    <a:pt x="129" y="788"/>
                  </a:cubicBezTo>
                  <a:cubicBezTo>
                    <a:pt x="134" y="776"/>
                    <a:pt x="142" y="768"/>
                    <a:pt x="150" y="758"/>
                  </a:cubicBezTo>
                  <a:cubicBezTo>
                    <a:pt x="157" y="752"/>
                    <a:pt x="162" y="745"/>
                    <a:pt x="167" y="738"/>
                  </a:cubicBezTo>
                  <a:cubicBezTo>
                    <a:pt x="183" y="715"/>
                    <a:pt x="183" y="694"/>
                    <a:pt x="183" y="671"/>
                  </a:cubicBezTo>
                  <a:lnTo>
                    <a:pt x="183" y="668"/>
                  </a:lnTo>
                  <a:cubicBezTo>
                    <a:pt x="183" y="664"/>
                    <a:pt x="183" y="659"/>
                    <a:pt x="183" y="656"/>
                  </a:cubicBezTo>
                  <a:cubicBezTo>
                    <a:pt x="183" y="635"/>
                    <a:pt x="185" y="607"/>
                    <a:pt x="165" y="592"/>
                  </a:cubicBezTo>
                  <a:cubicBezTo>
                    <a:pt x="155" y="584"/>
                    <a:pt x="144" y="582"/>
                    <a:pt x="135" y="582"/>
                  </a:cubicBezTo>
                  <a:cubicBezTo>
                    <a:pt x="127" y="580"/>
                    <a:pt x="122" y="579"/>
                    <a:pt x="116" y="572"/>
                  </a:cubicBezTo>
                  <a:cubicBezTo>
                    <a:pt x="109" y="562"/>
                    <a:pt x="106" y="556"/>
                    <a:pt x="103" y="549"/>
                  </a:cubicBezTo>
                  <a:cubicBezTo>
                    <a:pt x="98" y="537"/>
                    <a:pt x="93" y="531"/>
                    <a:pt x="86" y="528"/>
                  </a:cubicBezTo>
                  <a:cubicBezTo>
                    <a:pt x="89" y="518"/>
                    <a:pt x="94" y="506"/>
                    <a:pt x="101" y="496"/>
                  </a:cubicBezTo>
                  <a:cubicBezTo>
                    <a:pt x="104" y="488"/>
                    <a:pt x="111" y="481"/>
                    <a:pt x="117" y="473"/>
                  </a:cubicBezTo>
                  <a:cubicBezTo>
                    <a:pt x="131" y="455"/>
                    <a:pt x="147" y="434"/>
                    <a:pt x="149" y="411"/>
                  </a:cubicBezTo>
                  <a:cubicBezTo>
                    <a:pt x="150" y="384"/>
                    <a:pt x="129" y="330"/>
                    <a:pt x="109" y="312"/>
                  </a:cubicBezTo>
                  <a:cubicBezTo>
                    <a:pt x="98" y="300"/>
                    <a:pt x="86" y="295"/>
                    <a:pt x="76" y="292"/>
                  </a:cubicBezTo>
                  <a:cubicBezTo>
                    <a:pt x="63" y="287"/>
                    <a:pt x="55" y="285"/>
                    <a:pt x="48" y="271"/>
                  </a:cubicBezTo>
                  <a:cubicBezTo>
                    <a:pt x="37" y="246"/>
                    <a:pt x="25" y="224"/>
                    <a:pt x="10" y="201"/>
                  </a:cubicBezTo>
                  <a:lnTo>
                    <a:pt x="5" y="191"/>
                  </a:lnTo>
                  <a:cubicBezTo>
                    <a:pt x="2" y="187"/>
                    <a:pt x="0" y="183"/>
                    <a:pt x="0" y="178"/>
                  </a:cubicBezTo>
                  <a:lnTo>
                    <a:pt x="10" y="147"/>
                  </a:lnTo>
                  <a:cubicBezTo>
                    <a:pt x="14" y="144"/>
                    <a:pt x="17" y="139"/>
                    <a:pt x="22" y="132"/>
                  </a:cubicBezTo>
                  <a:lnTo>
                    <a:pt x="28" y="122"/>
                  </a:lnTo>
                  <a:cubicBezTo>
                    <a:pt x="32" y="119"/>
                    <a:pt x="37" y="114"/>
                    <a:pt x="40" y="107"/>
                  </a:cubicBezTo>
                  <a:cubicBezTo>
                    <a:pt x="47" y="96"/>
                    <a:pt x="56" y="84"/>
                    <a:pt x="65" y="78"/>
                  </a:cubicBezTo>
                  <a:cubicBezTo>
                    <a:pt x="68" y="75"/>
                    <a:pt x="73" y="75"/>
                    <a:pt x="78" y="7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4" name="Freeform 30">
              <a:extLst>
                <a:ext uri="{FF2B5EF4-FFF2-40B4-BE49-F238E27FC236}">
                  <a16:creationId xmlns:a16="http://schemas.microsoft.com/office/drawing/2014/main" id="{2A86EFD6-8A72-0146-BE8F-132A1B3B70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5313" y="3538538"/>
              <a:ext cx="439737" cy="415925"/>
            </a:xfrm>
            <a:custGeom>
              <a:avLst/>
              <a:gdLst>
                <a:gd name="T0" fmla="*/ 1211 w 1222"/>
                <a:gd name="T1" fmla="*/ 904 h 1155"/>
                <a:gd name="T2" fmla="*/ 1070 w 1222"/>
                <a:gd name="T3" fmla="*/ 947 h 1155"/>
                <a:gd name="T4" fmla="*/ 851 w 1222"/>
                <a:gd name="T5" fmla="*/ 1135 h 1155"/>
                <a:gd name="T6" fmla="*/ 794 w 1222"/>
                <a:gd name="T7" fmla="*/ 1133 h 1155"/>
                <a:gd name="T8" fmla="*/ 673 w 1222"/>
                <a:gd name="T9" fmla="*/ 1049 h 1155"/>
                <a:gd name="T10" fmla="*/ 582 w 1222"/>
                <a:gd name="T11" fmla="*/ 1026 h 1155"/>
                <a:gd name="T12" fmla="*/ 521 w 1222"/>
                <a:gd name="T13" fmla="*/ 1028 h 1155"/>
                <a:gd name="T14" fmla="*/ 455 w 1222"/>
                <a:gd name="T15" fmla="*/ 1079 h 1155"/>
                <a:gd name="T16" fmla="*/ 393 w 1222"/>
                <a:gd name="T17" fmla="*/ 1049 h 1155"/>
                <a:gd name="T18" fmla="*/ 310 w 1222"/>
                <a:gd name="T19" fmla="*/ 1003 h 1155"/>
                <a:gd name="T20" fmla="*/ 236 w 1222"/>
                <a:gd name="T21" fmla="*/ 996 h 1155"/>
                <a:gd name="T22" fmla="*/ 182 w 1222"/>
                <a:gd name="T23" fmla="*/ 996 h 1155"/>
                <a:gd name="T24" fmla="*/ 66 w 1222"/>
                <a:gd name="T25" fmla="*/ 996 h 1155"/>
                <a:gd name="T26" fmla="*/ 37 w 1222"/>
                <a:gd name="T27" fmla="*/ 944 h 1155"/>
                <a:gd name="T28" fmla="*/ 24 w 1222"/>
                <a:gd name="T29" fmla="*/ 907 h 1155"/>
                <a:gd name="T30" fmla="*/ 52 w 1222"/>
                <a:gd name="T31" fmla="*/ 790 h 1155"/>
                <a:gd name="T32" fmla="*/ 2 w 1222"/>
                <a:gd name="T33" fmla="*/ 677 h 1155"/>
                <a:gd name="T34" fmla="*/ 103 w 1222"/>
                <a:gd name="T35" fmla="*/ 632 h 1155"/>
                <a:gd name="T36" fmla="*/ 226 w 1222"/>
                <a:gd name="T37" fmla="*/ 645 h 1155"/>
                <a:gd name="T38" fmla="*/ 271 w 1222"/>
                <a:gd name="T39" fmla="*/ 528 h 1155"/>
                <a:gd name="T40" fmla="*/ 267 w 1222"/>
                <a:gd name="T41" fmla="*/ 486 h 1155"/>
                <a:gd name="T42" fmla="*/ 257 w 1222"/>
                <a:gd name="T43" fmla="*/ 431 h 1155"/>
                <a:gd name="T44" fmla="*/ 304 w 1222"/>
                <a:gd name="T45" fmla="*/ 400 h 1155"/>
                <a:gd name="T46" fmla="*/ 356 w 1222"/>
                <a:gd name="T47" fmla="*/ 365 h 1155"/>
                <a:gd name="T48" fmla="*/ 378 w 1222"/>
                <a:gd name="T49" fmla="*/ 278 h 1155"/>
                <a:gd name="T50" fmla="*/ 361 w 1222"/>
                <a:gd name="T51" fmla="*/ 225 h 1155"/>
                <a:gd name="T52" fmla="*/ 366 w 1222"/>
                <a:gd name="T53" fmla="*/ 146 h 1155"/>
                <a:gd name="T54" fmla="*/ 394 w 1222"/>
                <a:gd name="T55" fmla="*/ 131 h 1155"/>
                <a:gd name="T56" fmla="*/ 447 w 1222"/>
                <a:gd name="T57" fmla="*/ 89 h 1155"/>
                <a:gd name="T58" fmla="*/ 501 w 1222"/>
                <a:gd name="T59" fmla="*/ 5 h 1155"/>
                <a:gd name="T60" fmla="*/ 607 w 1222"/>
                <a:gd name="T61" fmla="*/ 8 h 1155"/>
                <a:gd name="T62" fmla="*/ 648 w 1222"/>
                <a:gd name="T63" fmla="*/ 16 h 1155"/>
                <a:gd name="T64" fmla="*/ 704 w 1222"/>
                <a:gd name="T65" fmla="*/ 65 h 1155"/>
                <a:gd name="T66" fmla="*/ 762 w 1222"/>
                <a:gd name="T67" fmla="*/ 107 h 1155"/>
                <a:gd name="T68" fmla="*/ 788 w 1222"/>
                <a:gd name="T69" fmla="*/ 194 h 1155"/>
                <a:gd name="T70" fmla="*/ 903 w 1222"/>
                <a:gd name="T71" fmla="*/ 288 h 1155"/>
                <a:gd name="T72" fmla="*/ 977 w 1222"/>
                <a:gd name="T73" fmla="*/ 324 h 1155"/>
                <a:gd name="T74" fmla="*/ 1032 w 1222"/>
                <a:gd name="T75" fmla="*/ 494 h 1155"/>
                <a:gd name="T76" fmla="*/ 1020 w 1222"/>
                <a:gd name="T77" fmla="*/ 626 h 1155"/>
                <a:gd name="T78" fmla="*/ 1089 w 1222"/>
                <a:gd name="T79" fmla="*/ 614 h 1155"/>
                <a:gd name="T80" fmla="*/ 1131 w 1222"/>
                <a:gd name="T81" fmla="*/ 743 h 1155"/>
                <a:gd name="T82" fmla="*/ 1193 w 1222"/>
                <a:gd name="T83" fmla="*/ 739 h 1155"/>
                <a:gd name="T84" fmla="*/ 1215 w 1222"/>
                <a:gd name="T85" fmla="*/ 832 h 1155"/>
                <a:gd name="T86" fmla="*/ 1220 w 1222"/>
                <a:gd name="T87" fmla="*/ 871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22" h="1155">
                  <a:moveTo>
                    <a:pt x="1220" y="871"/>
                  </a:moveTo>
                  <a:cubicBezTo>
                    <a:pt x="1220" y="878"/>
                    <a:pt x="1221" y="886"/>
                    <a:pt x="1221" y="894"/>
                  </a:cubicBezTo>
                  <a:cubicBezTo>
                    <a:pt x="1218" y="897"/>
                    <a:pt x="1215" y="901"/>
                    <a:pt x="1211" y="904"/>
                  </a:cubicBezTo>
                  <a:cubicBezTo>
                    <a:pt x="1205" y="909"/>
                    <a:pt x="1201" y="914"/>
                    <a:pt x="1196" y="919"/>
                  </a:cubicBezTo>
                  <a:cubicBezTo>
                    <a:pt x="1182" y="935"/>
                    <a:pt x="1172" y="947"/>
                    <a:pt x="1150" y="948"/>
                  </a:cubicBezTo>
                  <a:cubicBezTo>
                    <a:pt x="1126" y="952"/>
                    <a:pt x="1099" y="942"/>
                    <a:pt x="1070" y="947"/>
                  </a:cubicBezTo>
                  <a:cubicBezTo>
                    <a:pt x="1010" y="960"/>
                    <a:pt x="987" y="1006"/>
                    <a:pt x="964" y="1052"/>
                  </a:cubicBezTo>
                  <a:cubicBezTo>
                    <a:pt x="961" y="1059"/>
                    <a:pt x="958" y="1064"/>
                    <a:pt x="954" y="1070"/>
                  </a:cubicBezTo>
                  <a:cubicBezTo>
                    <a:pt x="931" y="1113"/>
                    <a:pt x="895" y="1123"/>
                    <a:pt x="851" y="1135"/>
                  </a:cubicBezTo>
                  <a:lnTo>
                    <a:pt x="841" y="1136"/>
                  </a:lnTo>
                  <a:cubicBezTo>
                    <a:pt x="824" y="1141"/>
                    <a:pt x="809" y="1148"/>
                    <a:pt x="796" y="1154"/>
                  </a:cubicBezTo>
                  <a:cubicBezTo>
                    <a:pt x="794" y="1148"/>
                    <a:pt x="794" y="1141"/>
                    <a:pt x="794" y="1133"/>
                  </a:cubicBezTo>
                  <a:cubicBezTo>
                    <a:pt x="794" y="1115"/>
                    <a:pt x="793" y="1097"/>
                    <a:pt x="785" y="1079"/>
                  </a:cubicBezTo>
                  <a:cubicBezTo>
                    <a:pt x="771" y="1054"/>
                    <a:pt x="740" y="1034"/>
                    <a:pt x="712" y="1034"/>
                  </a:cubicBezTo>
                  <a:cubicBezTo>
                    <a:pt x="696" y="1034"/>
                    <a:pt x="684" y="1042"/>
                    <a:pt x="673" y="1049"/>
                  </a:cubicBezTo>
                  <a:cubicBezTo>
                    <a:pt x="663" y="1056"/>
                    <a:pt x="656" y="1059"/>
                    <a:pt x="646" y="1059"/>
                  </a:cubicBezTo>
                  <a:cubicBezTo>
                    <a:pt x="636" y="1057"/>
                    <a:pt x="626" y="1051"/>
                    <a:pt x="617" y="1044"/>
                  </a:cubicBezTo>
                  <a:cubicBezTo>
                    <a:pt x="607" y="1037"/>
                    <a:pt x="595" y="1029"/>
                    <a:pt x="582" y="1026"/>
                  </a:cubicBezTo>
                  <a:cubicBezTo>
                    <a:pt x="570" y="1024"/>
                    <a:pt x="561" y="1026"/>
                    <a:pt x="552" y="1028"/>
                  </a:cubicBezTo>
                  <a:cubicBezTo>
                    <a:pt x="549" y="1029"/>
                    <a:pt x="544" y="1031"/>
                    <a:pt x="541" y="1031"/>
                  </a:cubicBezTo>
                  <a:cubicBezTo>
                    <a:pt x="534" y="1031"/>
                    <a:pt x="528" y="1029"/>
                    <a:pt x="521" y="1028"/>
                  </a:cubicBezTo>
                  <a:cubicBezTo>
                    <a:pt x="514" y="1026"/>
                    <a:pt x="505" y="1024"/>
                    <a:pt x="496" y="1024"/>
                  </a:cubicBezTo>
                  <a:cubicBezTo>
                    <a:pt x="457" y="1028"/>
                    <a:pt x="457" y="1051"/>
                    <a:pt x="455" y="1067"/>
                  </a:cubicBezTo>
                  <a:cubicBezTo>
                    <a:pt x="457" y="1070"/>
                    <a:pt x="457" y="1074"/>
                    <a:pt x="455" y="1079"/>
                  </a:cubicBezTo>
                  <a:cubicBezTo>
                    <a:pt x="449" y="1070"/>
                    <a:pt x="440" y="1064"/>
                    <a:pt x="427" y="1059"/>
                  </a:cubicBezTo>
                  <a:cubicBezTo>
                    <a:pt x="422" y="1057"/>
                    <a:pt x="416" y="1056"/>
                    <a:pt x="411" y="1056"/>
                  </a:cubicBezTo>
                  <a:cubicBezTo>
                    <a:pt x="401" y="1054"/>
                    <a:pt x="396" y="1052"/>
                    <a:pt x="393" y="1049"/>
                  </a:cubicBezTo>
                  <a:cubicBezTo>
                    <a:pt x="388" y="1044"/>
                    <a:pt x="389" y="1031"/>
                    <a:pt x="391" y="1019"/>
                  </a:cubicBezTo>
                  <a:cubicBezTo>
                    <a:pt x="393" y="1001"/>
                    <a:pt x="397" y="973"/>
                    <a:pt x="369" y="962"/>
                  </a:cubicBezTo>
                  <a:cubicBezTo>
                    <a:pt x="335" y="947"/>
                    <a:pt x="320" y="981"/>
                    <a:pt x="310" y="1003"/>
                  </a:cubicBezTo>
                  <a:cubicBezTo>
                    <a:pt x="307" y="1013"/>
                    <a:pt x="300" y="1028"/>
                    <a:pt x="295" y="1029"/>
                  </a:cubicBezTo>
                  <a:cubicBezTo>
                    <a:pt x="289" y="1031"/>
                    <a:pt x="285" y="1031"/>
                    <a:pt x="276" y="1019"/>
                  </a:cubicBezTo>
                  <a:cubicBezTo>
                    <a:pt x="267" y="1009"/>
                    <a:pt x="254" y="998"/>
                    <a:pt x="236" y="996"/>
                  </a:cubicBezTo>
                  <a:cubicBezTo>
                    <a:pt x="226" y="996"/>
                    <a:pt x="218" y="998"/>
                    <a:pt x="211" y="1000"/>
                  </a:cubicBezTo>
                  <a:cubicBezTo>
                    <a:pt x="205" y="1003"/>
                    <a:pt x="200" y="1004"/>
                    <a:pt x="193" y="1003"/>
                  </a:cubicBezTo>
                  <a:cubicBezTo>
                    <a:pt x="188" y="1001"/>
                    <a:pt x="185" y="1000"/>
                    <a:pt x="182" y="996"/>
                  </a:cubicBezTo>
                  <a:cubicBezTo>
                    <a:pt x="173" y="991"/>
                    <a:pt x="164" y="985"/>
                    <a:pt x="144" y="986"/>
                  </a:cubicBezTo>
                  <a:cubicBezTo>
                    <a:pt x="127" y="990"/>
                    <a:pt x="108" y="996"/>
                    <a:pt x="89" y="1004"/>
                  </a:cubicBezTo>
                  <a:cubicBezTo>
                    <a:pt x="81" y="1000"/>
                    <a:pt x="75" y="998"/>
                    <a:pt x="66" y="996"/>
                  </a:cubicBezTo>
                  <a:cubicBezTo>
                    <a:pt x="58" y="993"/>
                    <a:pt x="50" y="991"/>
                    <a:pt x="47" y="986"/>
                  </a:cubicBezTo>
                  <a:cubicBezTo>
                    <a:pt x="45" y="983"/>
                    <a:pt x="45" y="976"/>
                    <a:pt x="43" y="972"/>
                  </a:cubicBezTo>
                  <a:cubicBezTo>
                    <a:pt x="43" y="962"/>
                    <a:pt x="43" y="953"/>
                    <a:pt x="37" y="944"/>
                  </a:cubicBezTo>
                  <a:cubicBezTo>
                    <a:pt x="35" y="940"/>
                    <a:pt x="32" y="939"/>
                    <a:pt x="30" y="935"/>
                  </a:cubicBezTo>
                  <a:cubicBezTo>
                    <a:pt x="28" y="934"/>
                    <a:pt x="27" y="932"/>
                    <a:pt x="25" y="930"/>
                  </a:cubicBezTo>
                  <a:cubicBezTo>
                    <a:pt x="22" y="924"/>
                    <a:pt x="22" y="916"/>
                    <a:pt x="24" y="907"/>
                  </a:cubicBezTo>
                  <a:cubicBezTo>
                    <a:pt x="25" y="883"/>
                    <a:pt x="30" y="856"/>
                    <a:pt x="38" y="833"/>
                  </a:cubicBezTo>
                  <a:lnTo>
                    <a:pt x="42" y="823"/>
                  </a:lnTo>
                  <a:cubicBezTo>
                    <a:pt x="47" y="813"/>
                    <a:pt x="50" y="802"/>
                    <a:pt x="52" y="790"/>
                  </a:cubicBezTo>
                  <a:cubicBezTo>
                    <a:pt x="56" y="757"/>
                    <a:pt x="42" y="738"/>
                    <a:pt x="24" y="716"/>
                  </a:cubicBezTo>
                  <a:cubicBezTo>
                    <a:pt x="15" y="706"/>
                    <a:pt x="9" y="695"/>
                    <a:pt x="4" y="685"/>
                  </a:cubicBezTo>
                  <a:cubicBezTo>
                    <a:pt x="0" y="678"/>
                    <a:pt x="2" y="677"/>
                    <a:pt x="2" y="677"/>
                  </a:cubicBezTo>
                  <a:cubicBezTo>
                    <a:pt x="2" y="675"/>
                    <a:pt x="5" y="673"/>
                    <a:pt x="7" y="673"/>
                  </a:cubicBezTo>
                  <a:lnTo>
                    <a:pt x="68" y="642"/>
                  </a:lnTo>
                  <a:cubicBezTo>
                    <a:pt x="81" y="635"/>
                    <a:pt x="93" y="631"/>
                    <a:pt x="103" y="632"/>
                  </a:cubicBezTo>
                  <a:cubicBezTo>
                    <a:pt x="108" y="634"/>
                    <a:pt x="114" y="637"/>
                    <a:pt x="122" y="644"/>
                  </a:cubicBezTo>
                  <a:cubicBezTo>
                    <a:pt x="136" y="654"/>
                    <a:pt x="154" y="665"/>
                    <a:pt x="177" y="665"/>
                  </a:cubicBezTo>
                  <a:cubicBezTo>
                    <a:pt x="193" y="665"/>
                    <a:pt x="211" y="659"/>
                    <a:pt x="226" y="645"/>
                  </a:cubicBezTo>
                  <a:cubicBezTo>
                    <a:pt x="239" y="634"/>
                    <a:pt x="249" y="621"/>
                    <a:pt x="257" y="607"/>
                  </a:cubicBezTo>
                  <a:cubicBezTo>
                    <a:pt x="267" y="594"/>
                    <a:pt x="277" y="578"/>
                    <a:pt x="277" y="558"/>
                  </a:cubicBezTo>
                  <a:cubicBezTo>
                    <a:pt x="277" y="546"/>
                    <a:pt x="274" y="537"/>
                    <a:pt x="271" y="528"/>
                  </a:cubicBezTo>
                  <a:cubicBezTo>
                    <a:pt x="269" y="522"/>
                    <a:pt x="267" y="514"/>
                    <a:pt x="267" y="507"/>
                  </a:cubicBezTo>
                  <a:cubicBezTo>
                    <a:pt x="266" y="505"/>
                    <a:pt x="267" y="502"/>
                    <a:pt x="267" y="499"/>
                  </a:cubicBezTo>
                  <a:cubicBezTo>
                    <a:pt x="267" y="495"/>
                    <a:pt x="267" y="490"/>
                    <a:pt x="267" y="486"/>
                  </a:cubicBezTo>
                  <a:cubicBezTo>
                    <a:pt x="267" y="476"/>
                    <a:pt x="264" y="467"/>
                    <a:pt x="261" y="459"/>
                  </a:cubicBezTo>
                  <a:lnTo>
                    <a:pt x="259" y="453"/>
                  </a:lnTo>
                  <a:cubicBezTo>
                    <a:pt x="256" y="443"/>
                    <a:pt x="256" y="436"/>
                    <a:pt x="257" y="431"/>
                  </a:cubicBezTo>
                  <a:cubicBezTo>
                    <a:pt x="259" y="425"/>
                    <a:pt x="264" y="423"/>
                    <a:pt x="272" y="420"/>
                  </a:cubicBezTo>
                  <a:cubicBezTo>
                    <a:pt x="276" y="420"/>
                    <a:pt x="279" y="418"/>
                    <a:pt x="280" y="416"/>
                  </a:cubicBezTo>
                  <a:cubicBezTo>
                    <a:pt x="289" y="413"/>
                    <a:pt x="297" y="406"/>
                    <a:pt x="304" y="400"/>
                  </a:cubicBezTo>
                  <a:cubicBezTo>
                    <a:pt x="309" y="397"/>
                    <a:pt x="312" y="393"/>
                    <a:pt x="315" y="392"/>
                  </a:cubicBezTo>
                  <a:cubicBezTo>
                    <a:pt x="320" y="388"/>
                    <a:pt x="327" y="385"/>
                    <a:pt x="332" y="382"/>
                  </a:cubicBezTo>
                  <a:cubicBezTo>
                    <a:pt x="340" y="377"/>
                    <a:pt x="348" y="372"/>
                    <a:pt x="356" y="365"/>
                  </a:cubicBezTo>
                  <a:cubicBezTo>
                    <a:pt x="365" y="360"/>
                    <a:pt x="369" y="354"/>
                    <a:pt x="373" y="346"/>
                  </a:cubicBezTo>
                  <a:cubicBezTo>
                    <a:pt x="376" y="339"/>
                    <a:pt x="376" y="331"/>
                    <a:pt x="376" y="326"/>
                  </a:cubicBezTo>
                  <a:cubicBezTo>
                    <a:pt x="378" y="309"/>
                    <a:pt x="378" y="294"/>
                    <a:pt x="378" y="278"/>
                  </a:cubicBezTo>
                  <a:cubicBezTo>
                    <a:pt x="376" y="268"/>
                    <a:pt x="374" y="258"/>
                    <a:pt x="371" y="248"/>
                  </a:cubicBezTo>
                  <a:cubicBezTo>
                    <a:pt x="369" y="243"/>
                    <a:pt x="368" y="238"/>
                    <a:pt x="365" y="233"/>
                  </a:cubicBezTo>
                  <a:cubicBezTo>
                    <a:pt x="365" y="232"/>
                    <a:pt x="363" y="229"/>
                    <a:pt x="361" y="225"/>
                  </a:cubicBezTo>
                  <a:cubicBezTo>
                    <a:pt x="355" y="212"/>
                    <a:pt x="353" y="196"/>
                    <a:pt x="356" y="181"/>
                  </a:cubicBezTo>
                  <a:cubicBezTo>
                    <a:pt x="358" y="176"/>
                    <a:pt x="360" y="173"/>
                    <a:pt x="361" y="168"/>
                  </a:cubicBezTo>
                  <a:cubicBezTo>
                    <a:pt x="363" y="161"/>
                    <a:pt x="365" y="153"/>
                    <a:pt x="366" y="146"/>
                  </a:cubicBezTo>
                  <a:cubicBezTo>
                    <a:pt x="366" y="145"/>
                    <a:pt x="366" y="145"/>
                    <a:pt x="366" y="145"/>
                  </a:cubicBezTo>
                  <a:cubicBezTo>
                    <a:pt x="368" y="143"/>
                    <a:pt x="371" y="143"/>
                    <a:pt x="373" y="141"/>
                  </a:cubicBezTo>
                  <a:cubicBezTo>
                    <a:pt x="379" y="138"/>
                    <a:pt x="388" y="133"/>
                    <a:pt x="394" y="131"/>
                  </a:cubicBezTo>
                  <a:cubicBezTo>
                    <a:pt x="412" y="125"/>
                    <a:pt x="417" y="117"/>
                    <a:pt x="425" y="108"/>
                  </a:cubicBezTo>
                  <a:lnTo>
                    <a:pt x="432" y="100"/>
                  </a:lnTo>
                  <a:cubicBezTo>
                    <a:pt x="435" y="97"/>
                    <a:pt x="440" y="93"/>
                    <a:pt x="447" y="89"/>
                  </a:cubicBezTo>
                  <a:cubicBezTo>
                    <a:pt x="452" y="85"/>
                    <a:pt x="458" y="80"/>
                    <a:pt x="463" y="74"/>
                  </a:cubicBezTo>
                  <a:cubicBezTo>
                    <a:pt x="475" y="61"/>
                    <a:pt x="478" y="46"/>
                    <a:pt x="480" y="33"/>
                  </a:cubicBezTo>
                  <a:cubicBezTo>
                    <a:pt x="483" y="16"/>
                    <a:pt x="483" y="8"/>
                    <a:pt x="501" y="5"/>
                  </a:cubicBezTo>
                  <a:cubicBezTo>
                    <a:pt x="513" y="1"/>
                    <a:pt x="523" y="5"/>
                    <a:pt x="534" y="8"/>
                  </a:cubicBezTo>
                  <a:cubicBezTo>
                    <a:pt x="541" y="9"/>
                    <a:pt x="547" y="11"/>
                    <a:pt x="554" y="11"/>
                  </a:cubicBezTo>
                  <a:cubicBezTo>
                    <a:pt x="575" y="14"/>
                    <a:pt x="590" y="11"/>
                    <a:pt x="607" y="8"/>
                  </a:cubicBezTo>
                  <a:lnTo>
                    <a:pt x="618" y="3"/>
                  </a:lnTo>
                  <a:cubicBezTo>
                    <a:pt x="630" y="1"/>
                    <a:pt x="638" y="0"/>
                    <a:pt x="641" y="3"/>
                  </a:cubicBezTo>
                  <a:cubicBezTo>
                    <a:pt x="645" y="5"/>
                    <a:pt x="646" y="9"/>
                    <a:pt x="648" y="16"/>
                  </a:cubicBezTo>
                  <a:cubicBezTo>
                    <a:pt x="650" y="24"/>
                    <a:pt x="651" y="34"/>
                    <a:pt x="659" y="42"/>
                  </a:cubicBezTo>
                  <a:cubicBezTo>
                    <a:pt x="668" y="51"/>
                    <a:pt x="681" y="56"/>
                    <a:pt x="691" y="61"/>
                  </a:cubicBezTo>
                  <a:cubicBezTo>
                    <a:pt x="696" y="62"/>
                    <a:pt x="701" y="64"/>
                    <a:pt x="704" y="65"/>
                  </a:cubicBezTo>
                  <a:cubicBezTo>
                    <a:pt x="714" y="72"/>
                    <a:pt x="724" y="79"/>
                    <a:pt x="735" y="87"/>
                  </a:cubicBezTo>
                  <a:cubicBezTo>
                    <a:pt x="740" y="90"/>
                    <a:pt x="745" y="95"/>
                    <a:pt x="752" y="98"/>
                  </a:cubicBezTo>
                  <a:cubicBezTo>
                    <a:pt x="755" y="102"/>
                    <a:pt x="758" y="103"/>
                    <a:pt x="762" y="107"/>
                  </a:cubicBezTo>
                  <a:cubicBezTo>
                    <a:pt x="768" y="113"/>
                    <a:pt x="773" y="121"/>
                    <a:pt x="776" y="130"/>
                  </a:cubicBezTo>
                  <a:cubicBezTo>
                    <a:pt x="778" y="140"/>
                    <a:pt x="781" y="151"/>
                    <a:pt x="783" y="163"/>
                  </a:cubicBezTo>
                  <a:cubicBezTo>
                    <a:pt x="783" y="173"/>
                    <a:pt x="785" y="182"/>
                    <a:pt x="788" y="194"/>
                  </a:cubicBezTo>
                  <a:cubicBezTo>
                    <a:pt x="798" y="238"/>
                    <a:pt x="822" y="247"/>
                    <a:pt x="847" y="257"/>
                  </a:cubicBezTo>
                  <a:cubicBezTo>
                    <a:pt x="859" y="260"/>
                    <a:pt x="869" y="263"/>
                    <a:pt x="880" y="270"/>
                  </a:cubicBezTo>
                  <a:cubicBezTo>
                    <a:pt x="888" y="275"/>
                    <a:pt x="895" y="280"/>
                    <a:pt x="903" y="288"/>
                  </a:cubicBezTo>
                  <a:cubicBezTo>
                    <a:pt x="910" y="293"/>
                    <a:pt x="915" y="296"/>
                    <a:pt x="921" y="301"/>
                  </a:cubicBezTo>
                  <a:cubicBezTo>
                    <a:pt x="933" y="311"/>
                    <a:pt x="946" y="314"/>
                    <a:pt x="958" y="318"/>
                  </a:cubicBezTo>
                  <a:cubicBezTo>
                    <a:pt x="964" y="319"/>
                    <a:pt x="969" y="321"/>
                    <a:pt x="977" y="324"/>
                  </a:cubicBezTo>
                  <a:cubicBezTo>
                    <a:pt x="992" y="331"/>
                    <a:pt x="1002" y="352"/>
                    <a:pt x="1010" y="372"/>
                  </a:cubicBezTo>
                  <a:cubicBezTo>
                    <a:pt x="1015" y="382"/>
                    <a:pt x="1020" y="392"/>
                    <a:pt x="1027" y="402"/>
                  </a:cubicBezTo>
                  <a:cubicBezTo>
                    <a:pt x="1037" y="416"/>
                    <a:pt x="1056" y="456"/>
                    <a:pt x="1032" y="494"/>
                  </a:cubicBezTo>
                  <a:cubicBezTo>
                    <a:pt x="1028" y="500"/>
                    <a:pt x="1022" y="507"/>
                    <a:pt x="1015" y="514"/>
                  </a:cubicBezTo>
                  <a:cubicBezTo>
                    <a:pt x="1000" y="527"/>
                    <a:pt x="982" y="543"/>
                    <a:pt x="984" y="571"/>
                  </a:cubicBezTo>
                  <a:cubicBezTo>
                    <a:pt x="986" y="589"/>
                    <a:pt x="1000" y="619"/>
                    <a:pt x="1020" y="626"/>
                  </a:cubicBezTo>
                  <a:cubicBezTo>
                    <a:pt x="1040" y="632"/>
                    <a:pt x="1053" y="622"/>
                    <a:pt x="1063" y="616"/>
                  </a:cubicBezTo>
                  <a:cubicBezTo>
                    <a:pt x="1070" y="611"/>
                    <a:pt x="1073" y="609"/>
                    <a:pt x="1078" y="609"/>
                  </a:cubicBezTo>
                  <a:cubicBezTo>
                    <a:pt x="1084" y="609"/>
                    <a:pt x="1088" y="611"/>
                    <a:pt x="1089" y="614"/>
                  </a:cubicBezTo>
                  <a:cubicBezTo>
                    <a:pt x="1094" y="621"/>
                    <a:pt x="1089" y="639"/>
                    <a:pt x="1086" y="652"/>
                  </a:cubicBezTo>
                  <a:cubicBezTo>
                    <a:pt x="1083" y="667"/>
                    <a:pt x="1079" y="682"/>
                    <a:pt x="1083" y="693"/>
                  </a:cubicBezTo>
                  <a:cubicBezTo>
                    <a:pt x="1088" y="711"/>
                    <a:pt x="1109" y="739"/>
                    <a:pt x="1131" y="743"/>
                  </a:cubicBezTo>
                  <a:cubicBezTo>
                    <a:pt x="1145" y="746"/>
                    <a:pt x="1155" y="741"/>
                    <a:pt x="1164" y="738"/>
                  </a:cubicBezTo>
                  <a:cubicBezTo>
                    <a:pt x="1168" y="734"/>
                    <a:pt x="1172" y="733"/>
                    <a:pt x="1178" y="733"/>
                  </a:cubicBezTo>
                  <a:cubicBezTo>
                    <a:pt x="1185" y="733"/>
                    <a:pt x="1190" y="736"/>
                    <a:pt x="1193" y="739"/>
                  </a:cubicBezTo>
                  <a:cubicBezTo>
                    <a:pt x="1200" y="744"/>
                    <a:pt x="1198" y="759"/>
                    <a:pt x="1198" y="774"/>
                  </a:cubicBezTo>
                  <a:cubicBezTo>
                    <a:pt x="1196" y="790"/>
                    <a:pt x="1196" y="807"/>
                    <a:pt x="1205" y="820"/>
                  </a:cubicBezTo>
                  <a:cubicBezTo>
                    <a:pt x="1206" y="825"/>
                    <a:pt x="1211" y="828"/>
                    <a:pt x="1215" y="832"/>
                  </a:cubicBezTo>
                  <a:lnTo>
                    <a:pt x="1216" y="833"/>
                  </a:lnTo>
                  <a:cubicBezTo>
                    <a:pt x="1220" y="838"/>
                    <a:pt x="1220" y="848"/>
                    <a:pt x="1220" y="856"/>
                  </a:cubicBezTo>
                  <a:cubicBezTo>
                    <a:pt x="1220" y="861"/>
                    <a:pt x="1220" y="866"/>
                    <a:pt x="1220" y="87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5" name="Freeform 31">
              <a:extLst>
                <a:ext uri="{FF2B5EF4-FFF2-40B4-BE49-F238E27FC236}">
                  <a16:creationId xmlns:a16="http://schemas.microsoft.com/office/drawing/2014/main" id="{1CB718A4-6A38-2E43-B71E-AAC037363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0425" y="2447925"/>
              <a:ext cx="328613" cy="279400"/>
            </a:xfrm>
            <a:custGeom>
              <a:avLst/>
              <a:gdLst>
                <a:gd name="T0" fmla="*/ 179 w 915"/>
                <a:gd name="T1" fmla="*/ 117 h 774"/>
                <a:gd name="T2" fmla="*/ 196 w 915"/>
                <a:gd name="T3" fmla="*/ 23 h 774"/>
                <a:gd name="T4" fmla="*/ 257 w 915"/>
                <a:gd name="T5" fmla="*/ 30 h 774"/>
                <a:gd name="T6" fmla="*/ 283 w 915"/>
                <a:gd name="T7" fmla="*/ 30 h 774"/>
                <a:gd name="T8" fmla="*/ 354 w 915"/>
                <a:gd name="T9" fmla="*/ 0 h 774"/>
                <a:gd name="T10" fmla="*/ 390 w 915"/>
                <a:gd name="T11" fmla="*/ 41 h 774"/>
                <a:gd name="T12" fmla="*/ 469 w 915"/>
                <a:gd name="T13" fmla="*/ 58 h 774"/>
                <a:gd name="T14" fmla="*/ 596 w 915"/>
                <a:gd name="T15" fmla="*/ 89 h 774"/>
                <a:gd name="T16" fmla="*/ 656 w 915"/>
                <a:gd name="T17" fmla="*/ 96 h 774"/>
                <a:gd name="T18" fmla="*/ 684 w 915"/>
                <a:gd name="T19" fmla="*/ 114 h 774"/>
                <a:gd name="T20" fmla="*/ 688 w 915"/>
                <a:gd name="T21" fmla="*/ 122 h 774"/>
                <a:gd name="T22" fmla="*/ 674 w 915"/>
                <a:gd name="T23" fmla="*/ 180 h 774"/>
                <a:gd name="T24" fmla="*/ 744 w 915"/>
                <a:gd name="T25" fmla="*/ 233 h 774"/>
                <a:gd name="T26" fmla="*/ 784 w 915"/>
                <a:gd name="T27" fmla="*/ 259 h 774"/>
                <a:gd name="T28" fmla="*/ 822 w 915"/>
                <a:gd name="T29" fmla="*/ 318 h 774"/>
                <a:gd name="T30" fmla="*/ 830 w 915"/>
                <a:gd name="T31" fmla="*/ 414 h 774"/>
                <a:gd name="T32" fmla="*/ 860 w 915"/>
                <a:gd name="T33" fmla="*/ 452 h 774"/>
                <a:gd name="T34" fmla="*/ 873 w 915"/>
                <a:gd name="T35" fmla="*/ 498 h 774"/>
                <a:gd name="T36" fmla="*/ 883 w 915"/>
                <a:gd name="T37" fmla="*/ 518 h 774"/>
                <a:gd name="T38" fmla="*/ 865 w 915"/>
                <a:gd name="T39" fmla="*/ 641 h 774"/>
                <a:gd name="T40" fmla="*/ 893 w 915"/>
                <a:gd name="T41" fmla="*/ 666 h 774"/>
                <a:gd name="T42" fmla="*/ 914 w 915"/>
                <a:gd name="T43" fmla="*/ 720 h 774"/>
                <a:gd name="T44" fmla="*/ 896 w 915"/>
                <a:gd name="T45" fmla="*/ 773 h 774"/>
                <a:gd name="T46" fmla="*/ 845 w 915"/>
                <a:gd name="T47" fmla="*/ 740 h 774"/>
                <a:gd name="T48" fmla="*/ 797 w 915"/>
                <a:gd name="T49" fmla="*/ 697 h 774"/>
                <a:gd name="T50" fmla="*/ 721 w 915"/>
                <a:gd name="T51" fmla="*/ 689 h 774"/>
                <a:gd name="T52" fmla="*/ 679 w 915"/>
                <a:gd name="T53" fmla="*/ 661 h 774"/>
                <a:gd name="T54" fmla="*/ 646 w 915"/>
                <a:gd name="T55" fmla="*/ 646 h 774"/>
                <a:gd name="T56" fmla="*/ 621 w 915"/>
                <a:gd name="T57" fmla="*/ 583 h 774"/>
                <a:gd name="T58" fmla="*/ 553 w 915"/>
                <a:gd name="T59" fmla="*/ 531 h 774"/>
                <a:gd name="T60" fmla="*/ 484 w 915"/>
                <a:gd name="T61" fmla="*/ 582 h 774"/>
                <a:gd name="T62" fmla="*/ 392 w 915"/>
                <a:gd name="T63" fmla="*/ 588 h 774"/>
                <a:gd name="T64" fmla="*/ 311 w 915"/>
                <a:gd name="T65" fmla="*/ 560 h 774"/>
                <a:gd name="T66" fmla="*/ 227 w 915"/>
                <a:gd name="T67" fmla="*/ 527 h 774"/>
                <a:gd name="T68" fmla="*/ 127 w 915"/>
                <a:gd name="T69" fmla="*/ 490 h 774"/>
                <a:gd name="T70" fmla="*/ 64 w 915"/>
                <a:gd name="T71" fmla="*/ 470 h 774"/>
                <a:gd name="T72" fmla="*/ 0 w 915"/>
                <a:gd name="T73" fmla="*/ 399 h 774"/>
                <a:gd name="T74" fmla="*/ 8 w 915"/>
                <a:gd name="T75" fmla="*/ 345 h 774"/>
                <a:gd name="T76" fmla="*/ 48 w 915"/>
                <a:gd name="T77" fmla="*/ 328 h 774"/>
                <a:gd name="T78" fmla="*/ 81 w 915"/>
                <a:gd name="T79" fmla="*/ 265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15" h="774">
                  <a:moveTo>
                    <a:pt x="161" y="196"/>
                  </a:moveTo>
                  <a:cubicBezTo>
                    <a:pt x="186" y="165"/>
                    <a:pt x="183" y="144"/>
                    <a:pt x="179" y="117"/>
                  </a:cubicBezTo>
                  <a:cubicBezTo>
                    <a:pt x="178" y="111"/>
                    <a:pt x="178" y="104"/>
                    <a:pt x="176" y="96"/>
                  </a:cubicBezTo>
                  <a:cubicBezTo>
                    <a:pt x="174" y="68"/>
                    <a:pt x="181" y="35"/>
                    <a:pt x="196" y="23"/>
                  </a:cubicBezTo>
                  <a:cubicBezTo>
                    <a:pt x="206" y="17"/>
                    <a:pt x="222" y="22"/>
                    <a:pt x="239" y="25"/>
                  </a:cubicBezTo>
                  <a:cubicBezTo>
                    <a:pt x="245" y="27"/>
                    <a:pt x="252" y="28"/>
                    <a:pt x="257" y="30"/>
                  </a:cubicBezTo>
                  <a:lnTo>
                    <a:pt x="267" y="30"/>
                  </a:lnTo>
                  <a:cubicBezTo>
                    <a:pt x="273" y="30"/>
                    <a:pt x="278" y="30"/>
                    <a:pt x="283" y="30"/>
                  </a:cubicBezTo>
                  <a:cubicBezTo>
                    <a:pt x="298" y="27"/>
                    <a:pt x="310" y="20"/>
                    <a:pt x="321" y="13"/>
                  </a:cubicBezTo>
                  <a:cubicBezTo>
                    <a:pt x="332" y="7"/>
                    <a:pt x="342" y="2"/>
                    <a:pt x="354" y="0"/>
                  </a:cubicBezTo>
                  <a:cubicBezTo>
                    <a:pt x="366" y="0"/>
                    <a:pt x="367" y="4"/>
                    <a:pt x="374" y="17"/>
                  </a:cubicBezTo>
                  <a:cubicBezTo>
                    <a:pt x="377" y="25"/>
                    <a:pt x="382" y="35"/>
                    <a:pt x="390" y="41"/>
                  </a:cubicBezTo>
                  <a:cubicBezTo>
                    <a:pt x="410" y="61"/>
                    <a:pt x="436" y="60"/>
                    <a:pt x="458" y="58"/>
                  </a:cubicBezTo>
                  <a:lnTo>
                    <a:pt x="469" y="58"/>
                  </a:lnTo>
                  <a:cubicBezTo>
                    <a:pt x="499" y="56"/>
                    <a:pt x="506" y="58"/>
                    <a:pt x="525" y="78"/>
                  </a:cubicBezTo>
                  <a:cubicBezTo>
                    <a:pt x="552" y="104"/>
                    <a:pt x="575" y="96"/>
                    <a:pt x="596" y="89"/>
                  </a:cubicBezTo>
                  <a:cubicBezTo>
                    <a:pt x="604" y="86"/>
                    <a:pt x="613" y="83"/>
                    <a:pt x="623" y="83"/>
                  </a:cubicBezTo>
                  <a:cubicBezTo>
                    <a:pt x="634" y="81"/>
                    <a:pt x="642" y="86"/>
                    <a:pt x="656" y="96"/>
                  </a:cubicBezTo>
                  <a:cubicBezTo>
                    <a:pt x="660" y="101"/>
                    <a:pt x="667" y="106"/>
                    <a:pt x="674" y="109"/>
                  </a:cubicBezTo>
                  <a:cubicBezTo>
                    <a:pt x="677" y="112"/>
                    <a:pt x="680" y="112"/>
                    <a:pt x="684" y="114"/>
                  </a:cubicBezTo>
                  <a:cubicBezTo>
                    <a:pt x="685" y="116"/>
                    <a:pt x="687" y="116"/>
                    <a:pt x="687" y="116"/>
                  </a:cubicBezTo>
                  <a:cubicBezTo>
                    <a:pt x="687" y="116"/>
                    <a:pt x="687" y="117"/>
                    <a:pt x="688" y="122"/>
                  </a:cubicBezTo>
                  <a:cubicBezTo>
                    <a:pt x="688" y="127"/>
                    <a:pt x="685" y="140"/>
                    <a:pt x="682" y="150"/>
                  </a:cubicBezTo>
                  <a:cubicBezTo>
                    <a:pt x="677" y="160"/>
                    <a:pt x="674" y="172"/>
                    <a:pt x="674" y="180"/>
                  </a:cubicBezTo>
                  <a:cubicBezTo>
                    <a:pt x="672" y="198"/>
                    <a:pt x="677" y="209"/>
                    <a:pt x="685" y="219"/>
                  </a:cubicBezTo>
                  <a:cubicBezTo>
                    <a:pt x="698" y="234"/>
                    <a:pt x="723" y="234"/>
                    <a:pt x="744" y="233"/>
                  </a:cubicBezTo>
                  <a:lnTo>
                    <a:pt x="758" y="233"/>
                  </a:lnTo>
                  <a:cubicBezTo>
                    <a:pt x="784" y="233"/>
                    <a:pt x="784" y="233"/>
                    <a:pt x="784" y="259"/>
                  </a:cubicBezTo>
                  <a:cubicBezTo>
                    <a:pt x="784" y="285"/>
                    <a:pt x="799" y="294"/>
                    <a:pt x="810" y="300"/>
                  </a:cubicBezTo>
                  <a:cubicBezTo>
                    <a:pt x="819" y="305"/>
                    <a:pt x="822" y="307"/>
                    <a:pt x="822" y="318"/>
                  </a:cubicBezTo>
                  <a:cubicBezTo>
                    <a:pt x="822" y="325"/>
                    <a:pt x="822" y="330"/>
                    <a:pt x="820" y="336"/>
                  </a:cubicBezTo>
                  <a:cubicBezTo>
                    <a:pt x="820" y="361"/>
                    <a:pt x="819" y="387"/>
                    <a:pt x="830" y="414"/>
                  </a:cubicBezTo>
                  <a:cubicBezTo>
                    <a:pt x="835" y="425"/>
                    <a:pt x="842" y="432"/>
                    <a:pt x="848" y="438"/>
                  </a:cubicBezTo>
                  <a:cubicBezTo>
                    <a:pt x="853" y="442"/>
                    <a:pt x="856" y="447"/>
                    <a:pt x="860" y="452"/>
                  </a:cubicBezTo>
                  <a:cubicBezTo>
                    <a:pt x="865" y="458"/>
                    <a:pt x="866" y="468"/>
                    <a:pt x="868" y="478"/>
                  </a:cubicBezTo>
                  <a:cubicBezTo>
                    <a:pt x="870" y="485"/>
                    <a:pt x="871" y="491"/>
                    <a:pt x="873" y="498"/>
                  </a:cubicBezTo>
                  <a:cubicBezTo>
                    <a:pt x="875" y="504"/>
                    <a:pt x="878" y="511"/>
                    <a:pt x="883" y="516"/>
                  </a:cubicBezTo>
                  <a:lnTo>
                    <a:pt x="883" y="518"/>
                  </a:lnTo>
                  <a:cubicBezTo>
                    <a:pt x="871" y="532"/>
                    <a:pt x="850" y="569"/>
                    <a:pt x="842" y="590"/>
                  </a:cubicBezTo>
                  <a:cubicBezTo>
                    <a:pt x="832" y="618"/>
                    <a:pt x="837" y="628"/>
                    <a:pt x="865" y="641"/>
                  </a:cubicBezTo>
                  <a:lnTo>
                    <a:pt x="876" y="646"/>
                  </a:lnTo>
                  <a:cubicBezTo>
                    <a:pt x="886" y="651"/>
                    <a:pt x="886" y="651"/>
                    <a:pt x="893" y="666"/>
                  </a:cubicBezTo>
                  <a:cubicBezTo>
                    <a:pt x="894" y="669"/>
                    <a:pt x="896" y="672"/>
                    <a:pt x="899" y="677"/>
                  </a:cubicBezTo>
                  <a:cubicBezTo>
                    <a:pt x="906" y="692"/>
                    <a:pt x="914" y="709"/>
                    <a:pt x="914" y="720"/>
                  </a:cubicBezTo>
                  <a:cubicBezTo>
                    <a:pt x="914" y="733"/>
                    <a:pt x="908" y="747"/>
                    <a:pt x="901" y="761"/>
                  </a:cubicBezTo>
                  <a:cubicBezTo>
                    <a:pt x="899" y="766"/>
                    <a:pt x="898" y="770"/>
                    <a:pt x="896" y="773"/>
                  </a:cubicBezTo>
                  <a:cubicBezTo>
                    <a:pt x="896" y="773"/>
                    <a:pt x="896" y="773"/>
                    <a:pt x="894" y="773"/>
                  </a:cubicBezTo>
                  <a:cubicBezTo>
                    <a:pt x="876" y="761"/>
                    <a:pt x="860" y="751"/>
                    <a:pt x="845" y="740"/>
                  </a:cubicBezTo>
                  <a:cubicBezTo>
                    <a:pt x="840" y="735"/>
                    <a:pt x="835" y="730"/>
                    <a:pt x="828" y="723"/>
                  </a:cubicBezTo>
                  <a:cubicBezTo>
                    <a:pt x="820" y="714"/>
                    <a:pt x="809" y="704"/>
                    <a:pt x="797" y="697"/>
                  </a:cubicBezTo>
                  <a:cubicBezTo>
                    <a:pt x="779" y="687"/>
                    <a:pt x="764" y="691"/>
                    <a:pt x="753" y="692"/>
                  </a:cubicBezTo>
                  <a:cubicBezTo>
                    <a:pt x="740" y="694"/>
                    <a:pt x="731" y="695"/>
                    <a:pt x="721" y="689"/>
                  </a:cubicBezTo>
                  <a:cubicBezTo>
                    <a:pt x="716" y="686"/>
                    <a:pt x="713" y="682"/>
                    <a:pt x="710" y="679"/>
                  </a:cubicBezTo>
                  <a:cubicBezTo>
                    <a:pt x="702" y="672"/>
                    <a:pt x="693" y="664"/>
                    <a:pt x="679" y="661"/>
                  </a:cubicBezTo>
                  <a:cubicBezTo>
                    <a:pt x="674" y="658"/>
                    <a:pt x="667" y="658"/>
                    <a:pt x="662" y="656"/>
                  </a:cubicBezTo>
                  <a:cubicBezTo>
                    <a:pt x="652" y="656"/>
                    <a:pt x="651" y="654"/>
                    <a:pt x="646" y="646"/>
                  </a:cubicBezTo>
                  <a:cubicBezTo>
                    <a:pt x="642" y="638"/>
                    <a:pt x="641" y="631"/>
                    <a:pt x="639" y="623"/>
                  </a:cubicBezTo>
                  <a:cubicBezTo>
                    <a:pt x="637" y="611"/>
                    <a:pt x="636" y="598"/>
                    <a:pt x="621" y="583"/>
                  </a:cubicBezTo>
                  <a:lnTo>
                    <a:pt x="614" y="577"/>
                  </a:lnTo>
                  <a:cubicBezTo>
                    <a:pt x="598" y="559"/>
                    <a:pt x="576" y="537"/>
                    <a:pt x="553" y="531"/>
                  </a:cubicBezTo>
                  <a:cubicBezTo>
                    <a:pt x="520" y="524"/>
                    <a:pt x="507" y="546"/>
                    <a:pt x="499" y="560"/>
                  </a:cubicBezTo>
                  <a:cubicBezTo>
                    <a:pt x="496" y="569"/>
                    <a:pt x="491" y="577"/>
                    <a:pt x="484" y="582"/>
                  </a:cubicBezTo>
                  <a:cubicBezTo>
                    <a:pt x="469" y="590"/>
                    <a:pt x="450" y="590"/>
                    <a:pt x="428" y="588"/>
                  </a:cubicBezTo>
                  <a:cubicBezTo>
                    <a:pt x="415" y="588"/>
                    <a:pt x="403" y="587"/>
                    <a:pt x="392" y="588"/>
                  </a:cubicBezTo>
                  <a:cubicBezTo>
                    <a:pt x="354" y="593"/>
                    <a:pt x="349" y="588"/>
                    <a:pt x="326" y="570"/>
                  </a:cubicBezTo>
                  <a:lnTo>
                    <a:pt x="311" y="560"/>
                  </a:lnTo>
                  <a:cubicBezTo>
                    <a:pt x="295" y="547"/>
                    <a:pt x="277" y="542"/>
                    <a:pt x="258" y="537"/>
                  </a:cubicBezTo>
                  <a:cubicBezTo>
                    <a:pt x="247" y="534"/>
                    <a:pt x="237" y="532"/>
                    <a:pt x="227" y="527"/>
                  </a:cubicBezTo>
                  <a:cubicBezTo>
                    <a:pt x="209" y="519"/>
                    <a:pt x="193" y="514"/>
                    <a:pt x="174" y="508"/>
                  </a:cubicBezTo>
                  <a:cubicBezTo>
                    <a:pt x="158" y="501"/>
                    <a:pt x="143" y="496"/>
                    <a:pt x="127" y="490"/>
                  </a:cubicBezTo>
                  <a:cubicBezTo>
                    <a:pt x="115" y="485"/>
                    <a:pt x="105" y="483"/>
                    <a:pt x="95" y="481"/>
                  </a:cubicBezTo>
                  <a:cubicBezTo>
                    <a:pt x="84" y="480"/>
                    <a:pt x="72" y="478"/>
                    <a:pt x="64" y="470"/>
                  </a:cubicBezTo>
                  <a:cubicBezTo>
                    <a:pt x="56" y="465"/>
                    <a:pt x="48" y="453"/>
                    <a:pt x="41" y="442"/>
                  </a:cubicBezTo>
                  <a:cubicBezTo>
                    <a:pt x="31" y="427"/>
                    <a:pt x="18" y="407"/>
                    <a:pt x="0" y="399"/>
                  </a:cubicBezTo>
                  <a:lnTo>
                    <a:pt x="3" y="364"/>
                  </a:lnTo>
                  <a:cubicBezTo>
                    <a:pt x="3" y="359"/>
                    <a:pt x="5" y="348"/>
                    <a:pt x="8" y="345"/>
                  </a:cubicBezTo>
                  <a:cubicBezTo>
                    <a:pt x="10" y="343"/>
                    <a:pt x="15" y="343"/>
                    <a:pt x="20" y="341"/>
                  </a:cubicBezTo>
                  <a:cubicBezTo>
                    <a:pt x="28" y="340"/>
                    <a:pt x="38" y="338"/>
                    <a:pt x="48" y="328"/>
                  </a:cubicBezTo>
                  <a:cubicBezTo>
                    <a:pt x="57" y="315"/>
                    <a:pt x="61" y="303"/>
                    <a:pt x="64" y="294"/>
                  </a:cubicBezTo>
                  <a:cubicBezTo>
                    <a:pt x="67" y="282"/>
                    <a:pt x="69" y="272"/>
                    <a:pt x="81" y="265"/>
                  </a:cubicBezTo>
                  <a:cubicBezTo>
                    <a:pt x="112" y="244"/>
                    <a:pt x="138" y="226"/>
                    <a:pt x="161" y="19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6" name="Freeform 32">
              <a:extLst>
                <a:ext uri="{FF2B5EF4-FFF2-40B4-BE49-F238E27FC236}">
                  <a16:creationId xmlns:a16="http://schemas.microsoft.com/office/drawing/2014/main" id="{E97E6C72-54DB-354A-877A-50B6C28032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7413" y="3136900"/>
              <a:ext cx="255587" cy="206375"/>
            </a:xfrm>
            <a:custGeom>
              <a:avLst/>
              <a:gdLst>
                <a:gd name="T0" fmla="*/ 51 w 708"/>
                <a:gd name="T1" fmla="*/ 361 h 573"/>
                <a:gd name="T2" fmla="*/ 27 w 708"/>
                <a:gd name="T3" fmla="*/ 298 h 573"/>
                <a:gd name="T4" fmla="*/ 7 w 708"/>
                <a:gd name="T5" fmla="*/ 228 h 573"/>
                <a:gd name="T6" fmla="*/ 61 w 708"/>
                <a:gd name="T7" fmla="*/ 130 h 573"/>
                <a:gd name="T8" fmla="*/ 86 w 708"/>
                <a:gd name="T9" fmla="*/ 91 h 573"/>
                <a:gd name="T10" fmla="*/ 117 w 708"/>
                <a:gd name="T11" fmla="*/ 51 h 573"/>
                <a:gd name="T12" fmla="*/ 150 w 708"/>
                <a:gd name="T13" fmla="*/ 43 h 573"/>
                <a:gd name="T14" fmla="*/ 195 w 708"/>
                <a:gd name="T15" fmla="*/ 4 h 573"/>
                <a:gd name="T16" fmla="*/ 236 w 708"/>
                <a:gd name="T17" fmla="*/ 18 h 573"/>
                <a:gd name="T18" fmla="*/ 331 w 708"/>
                <a:gd name="T19" fmla="*/ 22 h 573"/>
                <a:gd name="T20" fmla="*/ 383 w 708"/>
                <a:gd name="T21" fmla="*/ 25 h 573"/>
                <a:gd name="T22" fmla="*/ 447 w 708"/>
                <a:gd name="T23" fmla="*/ 28 h 573"/>
                <a:gd name="T24" fmla="*/ 529 w 708"/>
                <a:gd name="T25" fmla="*/ 23 h 573"/>
                <a:gd name="T26" fmla="*/ 554 w 708"/>
                <a:gd name="T27" fmla="*/ 63 h 573"/>
                <a:gd name="T28" fmla="*/ 569 w 708"/>
                <a:gd name="T29" fmla="*/ 111 h 573"/>
                <a:gd name="T30" fmla="*/ 603 w 708"/>
                <a:gd name="T31" fmla="*/ 129 h 573"/>
                <a:gd name="T32" fmla="*/ 618 w 708"/>
                <a:gd name="T33" fmla="*/ 188 h 573"/>
                <a:gd name="T34" fmla="*/ 661 w 708"/>
                <a:gd name="T35" fmla="*/ 280 h 573"/>
                <a:gd name="T36" fmla="*/ 702 w 708"/>
                <a:gd name="T37" fmla="*/ 353 h 573"/>
                <a:gd name="T38" fmla="*/ 691 w 708"/>
                <a:gd name="T39" fmla="*/ 381 h 573"/>
                <a:gd name="T40" fmla="*/ 679 w 708"/>
                <a:gd name="T41" fmla="*/ 389 h 573"/>
                <a:gd name="T42" fmla="*/ 640 w 708"/>
                <a:gd name="T43" fmla="*/ 448 h 573"/>
                <a:gd name="T44" fmla="*/ 549 w 708"/>
                <a:gd name="T45" fmla="*/ 506 h 573"/>
                <a:gd name="T46" fmla="*/ 498 w 708"/>
                <a:gd name="T47" fmla="*/ 562 h 573"/>
                <a:gd name="T48" fmla="*/ 450 w 708"/>
                <a:gd name="T49" fmla="*/ 570 h 573"/>
                <a:gd name="T50" fmla="*/ 350 w 708"/>
                <a:gd name="T51" fmla="*/ 493 h 573"/>
                <a:gd name="T52" fmla="*/ 303 w 708"/>
                <a:gd name="T53" fmla="*/ 501 h 573"/>
                <a:gd name="T54" fmla="*/ 234 w 708"/>
                <a:gd name="T55" fmla="*/ 503 h 573"/>
                <a:gd name="T56" fmla="*/ 206 w 708"/>
                <a:gd name="T57" fmla="*/ 458 h 573"/>
                <a:gd name="T58" fmla="*/ 135 w 708"/>
                <a:gd name="T59" fmla="*/ 422 h 573"/>
                <a:gd name="T60" fmla="*/ 96 w 708"/>
                <a:gd name="T61" fmla="*/ 415 h 573"/>
                <a:gd name="T62" fmla="*/ 74 w 708"/>
                <a:gd name="T63" fmla="*/ 404 h 573"/>
                <a:gd name="T64" fmla="*/ 66 w 708"/>
                <a:gd name="T65" fmla="*/ 386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8" h="573">
                  <a:moveTo>
                    <a:pt x="66" y="384"/>
                  </a:moveTo>
                  <a:cubicBezTo>
                    <a:pt x="61" y="376"/>
                    <a:pt x="56" y="368"/>
                    <a:pt x="51" y="361"/>
                  </a:cubicBezTo>
                  <a:cubicBezTo>
                    <a:pt x="46" y="356"/>
                    <a:pt x="43" y="351"/>
                    <a:pt x="40" y="345"/>
                  </a:cubicBezTo>
                  <a:cubicBezTo>
                    <a:pt x="32" y="331"/>
                    <a:pt x="30" y="315"/>
                    <a:pt x="27" y="298"/>
                  </a:cubicBezTo>
                  <a:cubicBezTo>
                    <a:pt x="25" y="289"/>
                    <a:pt x="23" y="280"/>
                    <a:pt x="22" y="272"/>
                  </a:cubicBezTo>
                  <a:cubicBezTo>
                    <a:pt x="18" y="257"/>
                    <a:pt x="12" y="242"/>
                    <a:pt x="7" y="228"/>
                  </a:cubicBezTo>
                  <a:cubicBezTo>
                    <a:pt x="5" y="223"/>
                    <a:pt x="2" y="216"/>
                    <a:pt x="0" y="211"/>
                  </a:cubicBezTo>
                  <a:cubicBezTo>
                    <a:pt x="23" y="193"/>
                    <a:pt x="45" y="158"/>
                    <a:pt x="61" y="130"/>
                  </a:cubicBezTo>
                  <a:cubicBezTo>
                    <a:pt x="66" y="122"/>
                    <a:pt x="71" y="114"/>
                    <a:pt x="74" y="109"/>
                  </a:cubicBezTo>
                  <a:cubicBezTo>
                    <a:pt x="78" y="104"/>
                    <a:pt x="81" y="97"/>
                    <a:pt x="86" y="91"/>
                  </a:cubicBezTo>
                  <a:cubicBezTo>
                    <a:pt x="88" y="86"/>
                    <a:pt x="91" y="83"/>
                    <a:pt x="94" y="78"/>
                  </a:cubicBezTo>
                  <a:cubicBezTo>
                    <a:pt x="101" y="68"/>
                    <a:pt x="106" y="65"/>
                    <a:pt x="117" y="51"/>
                  </a:cubicBezTo>
                  <a:cubicBezTo>
                    <a:pt x="122" y="50"/>
                    <a:pt x="127" y="48"/>
                    <a:pt x="134" y="46"/>
                  </a:cubicBezTo>
                  <a:cubicBezTo>
                    <a:pt x="139" y="45"/>
                    <a:pt x="144" y="45"/>
                    <a:pt x="150" y="43"/>
                  </a:cubicBezTo>
                  <a:cubicBezTo>
                    <a:pt x="165" y="37"/>
                    <a:pt x="173" y="27"/>
                    <a:pt x="180" y="18"/>
                  </a:cubicBezTo>
                  <a:cubicBezTo>
                    <a:pt x="185" y="12"/>
                    <a:pt x="188" y="7"/>
                    <a:pt x="195" y="4"/>
                  </a:cubicBezTo>
                  <a:cubicBezTo>
                    <a:pt x="203" y="0"/>
                    <a:pt x="214" y="7"/>
                    <a:pt x="224" y="12"/>
                  </a:cubicBezTo>
                  <a:cubicBezTo>
                    <a:pt x="228" y="15"/>
                    <a:pt x="231" y="17"/>
                    <a:pt x="236" y="18"/>
                  </a:cubicBezTo>
                  <a:cubicBezTo>
                    <a:pt x="259" y="28"/>
                    <a:pt x="277" y="35"/>
                    <a:pt x="305" y="30"/>
                  </a:cubicBezTo>
                  <a:cubicBezTo>
                    <a:pt x="313" y="28"/>
                    <a:pt x="323" y="25"/>
                    <a:pt x="331" y="22"/>
                  </a:cubicBezTo>
                  <a:cubicBezTo>
                    <a:pt x="341" y="17"/>
                    <a:pt x="350" y="13"/>
                    <a:pt x="359" y="13"/>
                  </a:cubicBezTo>
                  <a:cubicBezTo>
                    <a:pt x="369" y="13"/>
                    <a:pt x="374" y="17"/>
                    <a:pt x="383" y="25"/>
                  </a:cubicBezTo>
                  <a:cubicBezTo>
                    <a:pt x="391" y="30"/>
                    <a:pt x="399" y="37"/>
                    <a:pt x="412" y="40"/>
                  </a:cubicBezTo>
                  <a:cubicBezTo>
                    <a:pt x="427" y="41"/>
                    <a:pt x="439" y="33"/>
                    <a:pt x="447" y="28"/>
                  </a:cubicBezTo>
                  <a:cubicBezTo>
                    <a:pt x="450" y="25"/>
                    <a:pt x="453" y="23"/>
                    <a:pt x="457" y="22"/>
                  </a:cubicBezTo>
                  <a:cubicBezTo>
                    <a:pt x="476" y="15"/>
                    <a:pt x="503" y="18"/>
                    <a:pt x="529" y="23"/>
                  </a:cubicBezTo>
                  <a:cubicBezTo>
                    <a:pt x="531" y="40"/>
                    <a:pt x="541" y="46"/>
                    <a:pt x="546" y="51"/>
                  </a:cubicBezTo>
                  <a:cubicBezTo>
                    <a:pt x="551" y="55"/>
                    <a:pt x="554" y="58"/>
                    <a:pt x="554" y="63"/>
                  </a:cubicBezTo>
                  <a:cubicBezTo>
                    <a:pt x="557" y="66"/>
                    <a:pt x="555" y="69"/>
                    <a:pt x="555" y="74"/>
                  </a:cubicBezTo>
                  <a:cubicBezTo>
                    <a:pt x="554" y="86"/>
                    <a:pt x="554" y="97"/>
                    <a:pt x="569" y="111"/>
                  </a:cubicBezTo>
                  <a:cubicBezTo>
                    <a:pt x="575" y="116"/>
                    <a:pt x="582" y="119"/>
                    <a:pt x="590" y="121"/>
                  </a:cubicBezTo>
                  <a:cubicBezTo>
                    <a:pt x="597" y="124"/>
                    <a:pt x="602" y="125"/>
                    <a:pt x="603" y="129"/>
                  </a:cubicBezTo>
                  <a:cubicBezTo>
                    <a:pt x="607" y="135"/>
                    <a:pt x="608" y="144"/>
                    <a:pt x="608" y="152"/>
                  </a:cubicBezTo>
                  <a:cubicBezTo>
                    <a:pt x="610" y="163"/>
                    <a:pt x="612" y="177"/>
                    <a:pt x="618" y="188"/>
                  </a:cubicBezTo>
                  <a:cubicBezTo>
                    <a:pt x="631" y="213"/>
                    <a:pt x="651" y="236"/>
                    <a:pt x="669" y="256"/>
                  </a:cubicBezTo>
                  <a:cubicBezTo>
                    <a:pt x="666" y="262"/>
                    <a:pt x="663" y="270"/>
                    <a:pt x="661" y="280"/>
                  </a:cubicBezTo>
                  <a:cubicBezTo>
                    <a:pt x="659" y="308"/>
                    <a:pt x="676" y="325"/>
                    <a:pt x="687" y="336"/>
                  </a:cubicBezTo>
                  <a:cubicBezTo>
                    <a:pt x="694" y="343"/>
                    <a:pt x="699" y="348"/>
                    <a:pt x="702" y="353"/>
                  </a:cubicBezTo>
                  <a:cubicBezTo>
                    <a:pt x="705" y="359"/>
                    <a:pt x="707" y="363"/>
                    <a:pt x="705" y="368"/>
                  </a:cubicBezTo>
                  <a:cubicBezTo>
                    <a:pt x="704" y="371"/>
                    <a:pt x="699" y="374"/>
                    <a:pt x="691" y="381"/>
                  </a:cubicBezTo>
                  <a:cubicBezTo>
                    <a:pt x="687" y="382"/>
                    <a:pt x="686" y="384"/>
                    <a:pt x="684" y="386"/>
                  </a:cubicBezTo>
                  <a:cubicBezTo>
                    <a:pt x="682" y="387"/>
                    <a:pt x="681" y="387"/>
                    <a:pt x="679" y="389"/>
                  </a:cubicBezTo>
                  <a:cubicBezTo>
                    <a:pt x="664" y="401"/>
                    <a:pt x="658" y="414"/>
                    <a:pt x="651" y="427"/>
                  </a:cubicBezTo>
                  <a:cubicBezTo>
                    <a:pt x="648" y="435"/>
                    <a:pt x="644" y="442"/>
                    <a:pt x="640" y="448"/>
                  </a:cubicBezTo>
                  <a:cubicBezTo>
                    <a:pt x="630" y="463"/>
                    <a:pt x="613" y="470"/>
                    <a:pt x="597" y="476"/>
                  </a:cubicBezTo>
                  <a:cubicBezTo>
                    <a:pt x="580" y="485"/>
                    <a:pt x="564" y="491"/>
                    <a:pt x="549" y="506"/>
                  </a:cubicBezTo>
                  <a:cubicBezTo>
                    <a:pt x="542" y="514"/>
                    <a:pt x="536" y="522"/>
                    <a:pt x="527" y="531"/>
                  </a:cubicBezTo>
                  <a:cubicBezTo>
                    <a:pt x="518" y="542"/>
                    <a:pt x="509" y="554"/>
                    <a:pt x="498" y="562"/>
                  </a:cubicBezTo>
                  <a:cubicBezTo>
                    <a:pt x="488" y="572"/>
                    <a:pt x="476" y="572"/>
                    <a:pt x="462" y="570"/>
                  </a:cubicBezTo>
                  <a:cubicBezTo>
                    <a:pt x="458" y="570"/>
                    <a:pt x="455" y="570"/>
                    <a:pt x="450" y="570"/>
                  </a:cubicBezTo>
                  <a:lnTo>
                    <a:pt x="450" y="570"/>
                  </a:lnTo>
                  <a:cubicBezTo>
                    <a:pt x="420" y="542"/>
                    <a:pt x="386" y="516"/>
                    <a:pt x="350" y="493"/>
                  </a:cubicBezTo>
                  <a:cubicBezTo>
                    <a:pt x="345" y="490"/>
                    <a:pt x="333" y="483"/>
                    <a:pt x="320" y="488"/>
                  </a:cubicBezTo>
                  <a:cubicBezTo>
                    <a:pt x="313" y="490"/>
                    <a:pt x="308" y="494"/>
                    <a:pt x="303" y="501"/>
                  </a:cubicBezTo>
                  <a:cubicBezTo>
                    <a:pt x="295" y="509"/>
                    <a:pt x="282" y="514"/>
                    <a:pt x="269" y="516"/>
                  </a:cubicBezTo>
                  <a:cubicBezTo>
                    <a:pt x="256" y="516"/>
                    <a:pt x="242" y="511"/>
                    <a:pt x="234" y="503"/>
                  </a:cubicBezTo>
                  <a:cubicBezTo>
                    <a:pt x="226" y="496"/>
                    <a:pt x="219" y="485"/>
                    <a:pt x="214" y="473"/>
                  </a:cubicBezTo>
                  <a:cubicBezTo>
                    <a:pt x="211" y="468"/>
                    <a:pt x="210" y="463"/>
                    <a:pt x="206" y="458"/>
                  </a:cubicBezTo>
                  <a:cubicBezTo>
                    <a:pt x="191" y="434"/>
                    <a:pt x="172" y="420"/>
                    <a:pt x="150" y="420"/>
                  </a:cubicBezTo>
                  <a:cubicBezTo>
                    <a:pt x="145" y="420"/>
                    <a:pt x="140" y="420"/>
                    <a:pt x="135" y="422"/>
                  </a:cubicBezTo>
                  <a:cubicBezTo>
                    <a:pt x="134" y="422"/>
                    <a:pt x="130" y="422"/>
                    <a:pt x="129" y="422"/>
                  </a:cubicBezTo>
                  <a:cubicBezTo>
                    <a:pt x="117" y="424"/>
                    <a:pt x="106" y="420"/>
                    <a:pt x="96" y="415"/>
                  </a:cubicBezTo>
                  <a:cubicBezTo>
                    <a:pt x="91" y="414"/>
                    <a:pt x="88" y="412"/>
                    <a:pt x="84" y="410"/>
                  </a:cubicBezTo>
                  <a:cubicBezTo>
                    <a:pt x="79" y="409"/>
                    <a:pt x="76" y="406"/>
                    <a:pt x="74" y="404"/>
                  </a:cubicBezTo>
                  <a:cubicBezTo>
                    <a:pt x="73" y="401"/>
                    <a:pt x="71" y="397"/>
                    <a:pt x="70" y="392"/>
                  </a:cubicBezTo>
                  <a:cubicBezTo>
                    <a:pt x="68" y="391"/>
                    <a:pt x="68" y="387"/>
                    <a:pt x="66" y="386"/>
                  </a:cubicBezTo>
                  <a:lnTo>
                    <a:pt x="66" y="384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7" name="Freeform 33">
              <a:extLst>
                <a:ext uri="{FF2B5EF4-FFF2-40B4-BE49-F238E27FC236}">
                  <a16:creationId xmlns:a16="http://schemas.microsoft.com/office/drawing/2014/main" id="{BF3531DD-BC94-0F42-A7F8-A6B9999489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7875" y="2598738"/>
              <a:ext cx="460375" cy="341312"/>
            </a:xfrm>
            <a:custGeom>
              <a:avLst/>
              <a:gdLst>
                <a:gd name="T0" fmla="*/ 229 w 1277"/>
                <a:gd name="T1" fmla="*/ 10 h 950"/>
                <a:gd name="T2" fmla="*/ 280 w 1277"/>
                <a:gd name="T3" fmla="*/ 72 h 950"/>
                <a:gd name="T4" fmla="*/ 347 w 1277"/>
                <a:gd name="T5" fmla="*/ 94 h 950"/>
                <a:gd name="T6" fmla="*/ 448 w 1277"/>
                <a:gd name="T7" fmla="*/ 133 h 950"/>
                <a:gd name="T8" fmla="*/ 528 w 1277"/>
                <a:gd name="T9" fmla="*/ 163 h 950"/>
                <a:gd name="T10" fmla="*/ 626 w 1277"/>
                <a:gd name="T11" fmla="*/ 196 h 950"/>
                <a:gd name="T12" fmla="*/ 731 w 1277"/>
                <a:gd name="T13" fmla="*/ 184 h 950"/>
                <a:gd name="T14" fmla="*/ 779 w 1277"/>
                <a:gd name="T15" fmla="*/ 138 h 950"/>
                <a:gd name="T16" fmla="*/ 833 w 1277"/>
                <a:gd name="T17" fmla="*/ 183 h 950"/>
                <a:gd name="T18" fmla="*/ 855 w 1277"/>
                <a:gd name="T19" fmla="*/ 239 h 950"/>
                <a:gd name="T20" fmla="*/ 904 w 1277"/>
                <a:gd name="T21" fmla="*/ 267 h 950"/>
                <a:gd name="T22" fmla="*/ 937 w 1277"/>
                <a:gd name="T23" fmla="*/ 291 h 950"/>
                <a:gd name="T24" fmla="*/ 1016 w 1277"/>
                <a:gd name="T25" fmla="*/ 301 h 950"/>
                <a:gd name="T26" fmla="*/ 1060 w 1277"/>
                <a:gd name="T27" fmla="*/ 341 h 950"/>
                <a:gd name="T28" fmla="*/ 1120 w 1277"/>
                <a:gd name="T29" fmla="*/ 380 h 950"/>
                <a:gd name="T30" fmla="*/ 1230 w 1277"/>
                <a:gd name="T31" fmla="*/ 410 h 950"/>
                <a:gd name="T32" fmla="*/ 1276 w 1277"/>
                <a:gd name="T33" fmla="*/ 448 h 950"/>
                <a:gd name="T34" fmla="*/ 1260 w 1277"/>
                <a:gd name="T35" fmla="*/ 530 h 950"/>
                <a:gd name="T36" fmla="*/ 1224 w 1277"/>
                <a:gd name="T37" fmla="*/ 543 h 950"/>
                <a:gd name="T38" fmla="*/ 1131 w 1277"/>
                <a:gd name="T39" fmla="*/ 622 h 950"/>
                <a:gd name="T40" fmla="*/ 1060 w 1277"/>
                <a:gd name="T41" fmla="*/ 700 h 950"/>
                <a:gd name="T42" fmla="*/ 1060 w 1277"/>
                <a:gd name="T43" fmla="*/ 753 h 950"/>
                <a:gd name="T44" fmla="*/ 1032 w 1277"/>
                <a:gd name="T45" fmla="*/ 790 h 950"/>
                <a:gd name="T46" fmla="*/ 1051 w 1277"/>
                <a:gd name="T47" fmla="*/ 853 h 950"/>
                <a:gd name="T48" fmla="*/ 1032 w 1277"/>
                <a:gd name="T49" fmla="*/ 929 h 950"/>
                <a:gd name="T50" fmla="*/ 998 w 1277"/>
                <a:gd name="T51" fmla="*/ 914 h 950"/>
                <a:gd name="T52" fmla="*/ 935 w 1277"/>
                <a:gd name="T53" fmla="*/ 949 h 950"/>
                <a:gd name="T54" fmla="*/ 853 w 1277"/>
                <a:gd name="T55" fmla="*/ 863 h 950"/>
                <a:gd name="T56" fmla="*/ 767 w 1277"/>
                <a:gd name="T57" fmla="*/ 837 h 950"/>
                <a:gd name="T58" fmla="*/ 696 w 1277"/>
                <a:gd name="T59" fmla="*/ 809 h 950"/>
                <a:gd name="T60" fmla="*/ 654 w 1277"/>
                <a:gd name="T61" fmla="*/ 782 h 950"/>
                <a:gd name="T62" fmla="*/ 612 w 1277"/>
                <a:gd name="T63" fmla="*/ 743 h 950"/>
                <a:gd name="T64" fmla="*/ 517 w 1277"/>
                <a:gd name="T65" fmla="*/ 693 h 950"/>
                <a:gd name="T66" fmla="*/ 449 w 1277"/>
                <a:gd name="T67" fmla="*/ 703 h 950"/>
                <a:gd name="T68" fmla="*/ 362 w 1277"/>
                <a:gd name="T69" fmla="*/ 652 h 950"/>
                <a:gd name="T70" fmla="*/ 329 w 1277"/>
                <a:gd name="T71" fmla="*/ 550 h 950"/>
                <a:gd name="T72" fmla="*/ 222 w 1277"/>
                <a:gd name="T73" fmla="*/ 530 h 950"/>
                <a:gd name="T74" fmla="*/ 80 w 1277"/>
                <a:gd name="T75" fmla="*/ 413 h 950"/>
                <a:gd name="T76" fmla="*/ 8 w 1277"/>
                <a:gd name="T77" fmla="*/ 283 h 950"/>
                <a:gd name="T78" fmla="*/ 21 w 1277"/>
                <a:gd name="T79" fmla="*/ 239 h 950"/>
                <a:gd name="T80" fmla="*/ 98 w 1277"/>
                <a:gd name="T81" fmla="*/ 209 h 950"/>
                <a:gd name="T82" fmla="*/ 126 w 1277"/>
                <a:gd name="T83" fmla="*/ 123 h 950"/>
                <a:gd name="T84" fmla="*/ 168 w 1277"/>
                <a:gd name="T85" fmla="*/ 49 h 950"/>
                <a:gd name="T86" fmla="*/ 202 w 1277"/>
                <a:gd name="T87" fmla="*/ 1 h 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77" h="950">
                  <a:moveTo>
                    <a:pt x="207" y="0"/>
                  </a:moveTo>
                  <a:cubicBezTo>
                    <a:pt x="215" y="0"/>
                    <a:pt x="222" y="3"/>
                    <a:pt x="229" y="10"/>
                  </a:cubicBezTo>
                  <a:cubicBezTo>
                    <a:pt x="235" y="15"/>
                    <a:pt x="244" y="25"/>
                    <a:pt x="252" y="38"/>
                  </a:cubicBezTo>
                  <a:cubicBezTo>
                    <a:pt x="259" y="50"/>
                    <a:pt x="268" y="62"/>
                    <a:pt x="280" y="72"/>
                  </a:cubicBezTo>
                  <a:cubicBezTo>
                    <a:pt x="293" y="84"/>
                    <a:pt x="309" y="85"/>
                    <a:pt x="322" y="89"/>
                  </a:cubicBezTo>
                  <a:cubicBezTo>
                    <a:pt x="332" y="89"/>
                    <a:pt x="341" y="90"/>
                    <a:pt x="347" y="94"/>
                  </a:cubicBezTo>
                  <a:cubicBezTo>
                    <a:pt x="364" y="100"/>
                    <a:pt x="380" y="107"/>
                    <a:pt x="397" y="113"/>
                  </a:cubicBezTo>
                  <a:cubicBezTo>
                    <a:pt x="415" y="120"/>
                    <a:pt x="431" y="125"/>
                    <a:pt x="448" y="133"/>
                  </a:cubicBezTo>
                  <a:cubicBezTo>
                    <a:pt x="459" y="138"/>
                    <a:pt x="472" y="141"/>
                    <a:pt x="484" y="145"/>
                  </a:cubicBezTo>
                  <a:cubicBezTo>
                    <a:pt x="499" y="148"/>
                    <a:pt x="515" y="153"/>
                    <a:pt x="528" y="163"/>
                  </a:cubicBezTo>
                  <a:lnTo>
                    <a:pt x="542" y="173"/>
                  </a:lnTo>
                  <a:cubicBezTo>
                    <a:pt x="570" y="194"/>
                    <a:pt x="581" y="201"/>
                    <a:pt x="626" y="196"/>
                  </a:cubicBezTo>
                  <a:cubicBezTo>
                    <a:pt x="635" y="194"/>
                    <a:pt x="647" y="196"/>
                    <a:pt x="659" y="196"/>
                  </a:cubicBezTo>
                  <a:cubicBezTo>
                    <a:pt x="682" y="197"/>
                    <a:pt x="708" y="199"/>
                    <a:pt x="731" y="184"/>
                  </a:cubicBezTo>
                  <a:cubicBezTo>
                    <a:pt x="743" y="176"/>
                    <a:pt x="749" y="164"/>
                    <a:pt x="756" y="155"/>
                  </a:cubicBezTo>
                  <a:cubicBezTo>
                    <a:pt x="764" y="140"/>
                    <a:pt x="766" y="135"/>
                    <a:pt x="779" y="138"/>
                  </a:cubicBezTo>
                  <a:cubicBezTo>
                    <a:pt x="795" y="141"/>
                    <a:pt x="813" y="161"/>
                    <a:pt x="827" y="176"/>
                  </a:cubicBezTo>
                  <a:lnTo>
                    <a:pt x="833" y="183"/>
                  </a:lnTo>
                  <a:cubicBezTo>
                    <a:pt x="843" y="191"/>
                    <a:pt x="845" y="197"/>
                    <a:pt x="846" y="209"/>
                  </a:cubicBezTo>
                  <a:cubicBezTo>
                    <a:pt x="846" y="217"/>
                    <a:pt x="848" y="227"/>
                    <a:pt x="855" y="239"/>
                  </a:cubicBezTo>
                  <a:cubicBezTo>
                    <a:pt x="866" y="260"/>
                    <a:pt x="878" y="262"/>
                    <a:pt x="891" y="263"/>
                  </a:cubicBezTo>
                  <a:cubicBezTo>
                    <a:pt x="894" y="265"/>
                    <a:pt x="899" y="265"/>
                    <a:pt x="904" y="267"/>
                  </a:cubicBezTo>
                  <a:cubicBezTo>
                    <a:pt x="912" y="270"/>
                    <a:pt x="917" y="273"/>
                    <a:pt x="924" y="280"/>
                  </a:cubicBezTo>
                  <a:cubicBezTo>
                    <a:pt x="927" y="283"/>
                    <a:pt x="932" y="286"/>
                    <a:pt x="937" y="291"/>
                  </a:cubicBezTo>
                  <a:cubicBezTo>
                    <a:pt x="957" y="304"/>
                    <a:pt x="975" y="301"/>
                    <a:pt x="988" y="300"/>
                  </a:cubicBezTo>
                  <a:cubicBezTo>
                    <a:pt x="1000" y="298"/>
                    <a:pt x="1008" y="296"/>
                    <a:pt x="1016" y="301"/>
                  </a:cubicBezTo>
                  <a:cubicBezTo>
                    <a:pt x="1024" y="306"/>
                    <a:pt x="1034" y="314"/>
                    <a:pt x="1042" y="323"/>
                  </a:cubicBezTo>
                  <a:cubicBezTo>
                    <a:pt x="1049" y="329"/>
                    <a:pt x="1054" y="336"/>
                    <a:pt x="1060" y="341"/>
                  </a:cubicBezTo>
                  <a:cubicBezTo>
                    <a:pt x="1077" y="354"/>
                    <a:pt x="1093" y="364"/>
                    <a:pt x="1113" y="377"/>
                  </a:cubicBezTo>
                  <a:cubicBezTo>
                    <a:pt x="1115" y="379"/>
                    <a:pt x="1118" y="379"/>
                    <a:pt x="1120" y="380"/>
                  </a:cubicBezTo>
                  <a:cubicBezTo>
                    <a:pt x="1128" y="385"/>
                    <a:pt x="1136" y="388"/>
                    <a:pt x="1144" y="393"/>
                  </a:cubicBezTo>
                  <a:cubicBezTo>
                    <a:pt x="1173" y="405"/>
                    <a:pt x="1199" y="407"/>
                    <a:pt x="1230" y="410"/>
                  </a:cubicBezTo>
                  <a:lnTo>
                    <a:pt x="1240" y="412"/>
                  </a:lnTo>
                  <a:cubicBezTo>
                    <a:pt x="1266" y="413"/>
                    <a:pt x="1276" y="423"/>
                    <a:pt x="1276" y="448"/>
                  </a:cubicBezTo>
                  <a:cubicBezTo>
                    <a:pt x="1276" y="473"/>
                    <a:pt x="1273" y="499"/>
                    <a:pt x="1270" y="525"/>
                  </a:cubicBezTo>
                  <a:cubicBezTo>
                    <a:pt x="1266" y="527"/>
                    <a:pt x="1263" y="529"/>
                    <a:pt x="1260" y="530"/>
                  </a:cubicBezTo>
                  <a:cubicBezTo>
                    <a:pt x="1255" y="533"/>
                    <a:pt x="1250" y="535"/>
                    <a:pt x="1243" y="537"/>
                  </a:cubicBezTo>
                  <a:cubicBezTo>
                    <a:pt x="1235" y="540"/>
                    <a:pt x="1229" y="542"/>
                    <a:pt x="1224" y="543"/>
                  </a:cubicBezTo>
                  <a:cubicBezTo>
                    <a:pt x="1191" y="552"/>
                    <a:pt x="1177" y="557"/>
                    <a:pt x="1163" y="601"/>
                  </a:cubicBezTo>
                  <a:cubicBezTo>
                    <a:pt x="1156" y="617"/>
                    <a:pt x="1146" y="619"/>
                    <a:pt x="1131" y="622"/>
                  </a:cubicBezTo>
                  <a:cubicBezTo>
                    <a:pt x="1118" y="624"/>
                    <a:pt x="1103" y="627"/>
                    <a:pt x="1088" y="641"/>
                  </a:cubicBezTo>
                  <a:cubicBezTo>
                    <a:pt x="1069" y="657"/>
                    <a:pt x="1060" y="697"/>
                    <a:pt x="1060" y="700"/>
                  </a:cubicBezTo>
                  <a:cubicBezTo>
                    <a:pt x="1059" y="710"/>
                    <a:pt x="1059" y="719"/>
                    <a:pt x="1060" y="728"/>
                  </a:cubicBezTo>
                  <a:cubicBezTo>
                    <a:pt x="1062" y="737"/>
                    <a:pt x="1062" y="746"/>
                    <a:pt x="1060" y="753"/>
                  </a:cubicBezTo>
                  <a:cubicBezTo>
                    <a:pt x="1059" y="756"/>
                    <a:pt x="1054" y="759"/>
                    <a:pt x="1051" y="764"/>
                  </a:cubicBezTo>
                  <a:cubicBezTo>
                    <a:pt x="1044" y="771"/>
                    <a:pt x="1036" y="779"/>
                    <a:pt x="1032" y="790"/>
                  </a:cubicBezTo>
                  <a:cubicBezTo>
                    <a:pt x="1028" y="809"/>
                    <a:pt x="1037" y="825"/>
                    <a:pt x="1044" y="838"/>
                  </a:cubicBezTo>
                  <a:cubicBezTo>
                    <a:pt x="1046" y="843"/>
                    <a:pt x="1049" y="848"/>
                    <a:pt x="1051" y="853"/>
                  </a:cubicBezTo>
                  <a:cubicBezTo>
                    <a:pt x="1056" y="866"/>
                    <a:pt x="1057" y="901"/>
                    <a:pt x="1046" y="919"/>
                  </a:cubicBezTo>
                  <a:cubicBezTo>
                    <a:pt x="1041" y="927"/>
                    <a:pt x="1036" y="929"/>
                    <a:pt x="1032" y="929"/>
                  </a:cubicBezTo>
                  <a:cubicBezTo>
                    <a:pt x="1031" y="929"/>
                    <a:pt x="1026" y="926"/>
                    <a:pt x="1021" y="922"/>
                  </a:cubicBezTo>
                  <a:cubicBezTo>
                    <a:pt x="1014" y="919"/>
                    <a:pt x="1008" y="914"/>
                    <a:pt x="998" y="914"/>
                  </a:cubicBezTo>
                  <a:cubicBezTo>
                    <a:pt x="975" y="911"/>
                    <a:pt x="952" y="924"/>
                    <a:pt x="937" y="947"/>
                  </a:cubicBezTo>
                  <a:lnTo>
                    <a:pt x="935" y="949"/>
                  </a:lnTo>
                  <a:cubicBezTo>
                    <a:pt x="930" y="934"/>
                    <a:pt x="927" y="916"/>
                    <a:pt x="916" y="901"/>
                  </a:cubicBezTo>
                  <a:cubicBezTo>
                    <a:pt x="899" y="879"/>
                    <a:pt x="876" y="871"/>
                    <a:pt x="853" y="863"/>
                  </a:cubicBezTo>
                  <a:cubicBezTo>
                    <a:pt x="843" y="860"/>
                    <a:pt x="833" y="856"/>
                    <a:pt x="823" y="851"/>
                  </a:cubicBezTo>
                  <a:cubicBezTo>
                    <a:pt x="803" y="842"/>
                    <a:pt x="785" y="838"/>
                    <a:pt x="767" y="837"/>
                  </a:cubicBezTo>
                  <a:cubicBezTo>
                    <a:pt x="752" y="835"/>
                    <a:pt x="739" y="833"/>
                    <a:pt x="726" y="828"/>
                  </a:cubicBezTo>
                  <a:cubicBezTo>
                    <a:pt x="715" y="825"/>
                    <a:pt x="706" y="817"/>
                    <a:pt x="696" y="809"/>
                  </a:cubicBezTo>
                  <a:cubicBezTo>
                    <a:pt x="691" y="805"/>
                    <a:pt x="688" y="802"/>
                    <a:pt x="683" y="799"/>
                  </a:cubicBezTo>
                  <a:cubicBezTo>
                    <a:pt x="673" y="790"/>
                    <a:pt x="662" y="786"/>
                    <a:pt x="654" y="782"/>
                  </a:cubicBezTo>
                  <a:cubicBezTo>
                    <a:pt x="647" y="779"/>
                    <a:pt x="642" y="777"/>
                    <a:pt x="637" y="774"/>
                  </a:cubicBezTo>
                  <a:cubicBezTo>
                    <a:pt x="621" y="764"/>
                    <a:pt x="617" y="756"/>
                    <a:pt x="612" y="743"/>
                  </a:cubicBezTo>
                  <a:cubicBezTo>
                    <a:pt x="607" y="733"/>
                    <a:pt x="604" y="721"/>
                    <a:pt x="594" y="708"/>
                  </a:cubicBezTo>
                  <a:cubicBezTo>
                    <a:pt x="571" y="682"/>
                    <a:pt x="542" y="688"/>
                    <a:pt x="517" y="693"/>
                  </a:cubicBezTo>
                  <a:lnTo>
                    <a:pt x="509" y="697"/>
                  </a:lnTo>
                  <a:cubicBezTo>
                    <a:pt x="486" y="702"/>
                    <a:pt x="466" y="703"/>
                    <a:pt x="449" y="703"/>
                  </a:cubicBezTo>
                  <a:cubicBezTo>
                    <a:pt x="438" y="703"/>
                    <a:pt x="428" y="702"/>
                    <a:pt x="418" y="698"/>
                  </a:cubicBezTo>
                  <a:cubicBezTo>
                    <a:pt x="395" y="692"/>
                    <a:pt x="377" y="677"/>
                    <a:pt x="362" y="652"/>
                  </a:cubicBezTo>
                  <a:cubicBezTo>
                    <a:pt x="354" y="641"/>
                    <a:pt x="352" y="627"/>
                    <a:pt x="350" y="613"/>
                  </a:cubicBezTo>
                  <a:cubicBezTo>
                    <a:pt x="349" y="591"/>
                    <a:pt x="347" y="568"/>
                    <a:pt x="329" y="550"/>
                  </a:cubicBezTo>
                  <a:cubicBezTo>
                    <a:pt x="298" y="520"/>
                    <a:pt x="266" y="524"/>
                    <a:pt x="237" y="529"/>
                  </a:cubicBezTo>
                  <a:lnTo>
                    <a:pt x="222" y="530"/>
                  </a:lnTo>
                  <a:cubicBezTo>
                    <a:pt x="164" y="535"/>
                    <a:pt x="143" y="502"/>
                    <a:pt x="113" y="459"/>
                  </a:cubicBezTo>
                  <a:cubicBezTo>
                    <a:pt x="103" y="443"/>
                    <a:pt x="93" y="428"/>
                    <a:pt x="80" y="413"/>
                  </a:cubicBezTo>
                  <a:cubicBezTo>
                    <a:pt x="59" y="388"/>
                    <a:pt x="51" y="369"/>
                    <a:pt x="37" y="337"/>
                  </a:cubicBezTo>
                  <a:cubicBezTo>
                    <a:pt x="29" y="318"/>
                    <a:pt x="19" y="301"/>
                    <a:pt x="8" y="283"/>
                  </a:cubicBezTo>
                  <a:cubicBezTo>
                    <a:pt x="4" y="278"/>
                    <a:pt x="3" y="275"/>
                    <a:pt x="0" y="270"/>
                  </a:cubicBezTo>
                  <a:cubicBezTo>
                    <a:pt x="4" y="257"/>
                    <a:pt x="11" y="247"/>
                    <a:pt x="21" y="239"/>
                  </a:cubicBezTo>
                  <a:cubicBezTo>
                    <a:pt x="28" y="232"/>
                    <a:pt x="37" y="230"/>
                    <a:pt x="49" y="229"/>
                  </a:cubicBezTo>
                  <a:cubicBezTo>
                    <a:pt x="65" y="225"/>
                    <a:pt x="82" y="222"/>
                    <a:pt x="98" y="209"/>
                  </a:cubicBezTo>
                  <a:cubicBezTo>
                    <a:pt x="115" y="191"/>
                    <a:pt x="118" y="171"/>
                    <a:pt x="120" y="155"/>
                  </a:cubicBezTo>
                  <a:cubicBezTo>
                    <a:pt x="121" y="143"/>
                    <a:pt x="123" y="133"/>
                    <a:pt x="126" y="123"/>
                  </a:cubicBezTo>
                  <a:cubicBezTo>
                    <a:pt x="131" y="112"/>
                    <a:pt x="140" y="100"/>
                    <a:pt x="145" y="90"/>
                  </a:cubicBezTo>
                  <a:cubicBezTo>
                    <a:pt x="153" y="77"/>
                    <a:pt x="161" y="64"/>
                    <a:pt x="168" y="49"/>
                  </a:cubicBezTo>
                  <a:cubicBezTo>
                    <a:pt x="169" y="44"/>
                    <a:pt x="171" y="38"/>
                    <a:pt x="174" y="33"/>
                  </a:cubicBezTo>
                  <a:cubicBezTo>
                    <a:pt x="181" y="11"/>
                    <a:pt x="184" y="1"/>
                    <a:pt x="202" y="1"/>
                  </a:cubicBezTo>
                  <a:cubicBezTo>
                    <a:pt x="204" y="1"/>
                    <a:pt x="205" y="0"/>
                    <a:pt x="207" y="0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8" name="Freeform 34">
              <a:extLst>
                <a:ext uri="{FF2B5EF4-FFF2-40B4-BE49-F238E27FC236}">
                  <a16:creationId xmlns:a16="http://schemas.microsoft.com/office/drawing/2014/main" id="{4B7C8E12-41F6-2A43-8D0B-D6383DB82A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9975" y="2968625"/>
              <a:ext cx="196850" cy="255588"/>
            </a:xfrm>
            <a:custGeom>
              <a:avLst/>
              <a:gdLst>
                <a:gd name="T0" fmla="*/ 71 w 549"/>
                <a:gd name="T1" fmla="*/ 425 h 708"/>
                <a:gd name="T2" fmla="*/ 95 w 549"/>
                <a:gd name="T3" fmla="*/ 355 h 708"/>
                <a:gd name="T4" fmla="*/ 72 w 549"/>
                <a:gd name="T5" fmla="*/ 310 h 708"/>
                <a:gd name="T6" fmla="*/ 59 w 549"/>
                <a:gd name="T7" fmla="*/ 299 h 708"/>
                <a:gd name="T8" fmla="*/ 49 w 549"/>
                <a:gd name="T9" fmla="*/ 276 h 708"/>
                <a:gd name="T10" fmla="*/ 43 w 549"/>
                <a:gd name="T11" fmla="*/ 257 h 708"/>
                <a:gd name="T12" fmla="*/ 33 w 549"/>
                <a:gd name="T13" fmla="*/ 246 h 708"/>
                <a:gd name="T14" fmla="*/ 29 w 549"/>
                <a:gd name="T15" fmla="*/ 243 h 708"/>
                <a:gd name="T16" fmla="*/ 28 w 549"/>
                <a:gd name="T17" fmla="*/ 231 h 708"/>
                <a:gd name="T18" fmla="*/ 26 w 549"/>
                <a:gd name="T19" fmla="*/ 211 h 708"/>
                <a:gd name="T20" fmla="*/ 15 w 549"/>
                <a:gd name="T21" fmla="*/ 187 h 708"/>
                <a:gd name="T22" fmla="*/ 6 w 549"/>
                <a:gd name="T23" fmla="*/ 168 h 708"/>
                <a:gd name="T24" fmla="*/ 46 w 549"/>
                <a:gd name="T25" fmla="*/ 75 h 708"/>
                <a:gd name="T26" fmla="*/ 61 w 549"/>
                <a:gd name="T27" fmla="*/ 53 h 708"/>
                <a:gd name="T28" fmla="*/ 107 w 549"/>
                <a:gd name="T29" fmla="*/ 0 h 708"/>
                <a:gd name="T30" fmla="*/ 127 w 549"/>
                <a:gd name="T31" fmla="*/ 47 h 708"/>
                <a:gd name="T32" fmla="*/ 141 w 549"/>
                <a:gd name="T33" fmla="*/ 70 h 708"/>
                <a:gd name="T34" fmla="*/ 206 w 549"/>
                <a:gd name="T35" fmla="*/ 124 h 708"/>
                <a:gd name="T36" fmla="*/ 239 w 549"/>
                <a:gd name="T37" fmla="*/ 107 h 708"/>
                <a:gd name="T38" fmla="*/ 247 w 549"/>
                <a:gd name="T39" fmla="*/ 99 h 708"/>
                <a:gd name="T40" fmla="*/ 267 w 549"/>
                <a:gd name="T41" fmla="*/ 94 h 708"/>
                <a:gd name="T42" fmla="*/ 273 w 549"/>
                <a:gd name="T43" fmla="*/ 94 h 708"/>
                <a:gd name="T44" fmla="*/ 270 w 549"/>
                <a:gd name="T45" fmla="*/ 163 h 708"/>
                <a:gd name="T46" fmla="*/ 253 w 549"/>
                <a:gd name="T47" fmla="*/ 220 h 708"/>
                <a:gd name="T48" fmla="*/ 309 w 549"/>
                <a:gd name="T49" fmla="*/ 269 h 708"/>
                <a:gd name="T50" fmla="*/ 326 w 549"/>
                <a:gd name="T51" fmla="*/ 274 h 708"/>
                <a:gd name="T52" fmla="*/ 354 w 549"/>
                <a:gd name="T53" fmla="*/ 294 h 708"/>
                <a:gd name="T54" fmla="*/ 362 w 549"/>
                <a:gd name="T55" fmla="*/ 317 h 708"/>
                <a:gd name="T56" fmla="*/ 384 w 549"/>
                <a:gd name="T57" fmla="*/ 361 h 708"/>
                <a:gd name="T58" fmla="*/ 441 w 549"/>
                <a:gd name="T59" fmla="*/ 420 h 708"/>
                <a:gd name="T60" fmla="*/ 461 w 549"/>
                <a:gd name="T61" fmla="*/ 460 h 708"/>
                <a:gd name="T62" fmla="*/ 461 w 549"/>
                <a:gd name="T63" fmla="*/ 470 h 708"/>
                <a:gd name="T64" fmla="*/ 487 w 549"/>
                <a:gd name="T65" fmla="*/ 508 h 708"/>
                <a:gd name="T66" fmla="*/ 501 w 549"/>
                <a:gd name="T67" fmla="*/ 514 h 708"/>
                <a:gd name="T68" fmla="*/ 515 w 549"/>
                <a:gd name="T69" fmla="*/ 521 h 708"/>
                <a:gd name="T70" fmla="*/ 519 w 549"/>
                <a:gd name="T71" fmla="*/ 526 h 708"/>
                <a:gd name="T72" fmla="*/ 529 w 549"/>
                <a:gd name="T73" fmla="*/ 539 h 708"/>
                <a:gd name="T74" fmla="*/ 548 w 549"/>
                <a:gd name="T75" fmla="*/ 551 h 708"/>
                <a:gd name="T76" fmla="*/ 510 w 549"/>
                <a:gd name="T77" fmla="*/ 595 h 708"/>
                <a:gd name="T78" fmla="*/ 440 w 549"/>
                <a:gd name="T79" fmla="*/ 626 h 708"/>
                <a:gd name="T80" fmla="*/ 390 w 549"/>
                <a:gd name="T81" fmla="*/ 630 h 708"/>
                <a:gd name="T82" fmla="*/ 346 w 549"/>
                <a:gd name="T83" fmla="*/ 630 h 708"/>
                <a:gd name="T84" fmla="*/ 300 w 549"/>
                <a:gd name="T85" fmla="*/ 654 h 708"/>
                <a:gd name="T86" fmla="*/ 281 w 549"/>
                <a:gd name="T87" fmla="*/ 668 h 708"/>
                <a:gd name="T88" fmla="*/ 239 w 549"/>
                <a:gd name="T89" fmla="*/ 684 h 708"/>
                <a:gd name="T90" fmla="*/ 206 w 549"/>
                <a:gd name="T91" fmla="*/ 697 h 708"/>
                <a:gd name="T92" fmla="*/ 197 w 549"/>
                <a:gd name="T93" fmla="*/ 701 h 708"/>
                <a:gd name="T94" fmla="*/ 183 w 549"/>
                <a:gd name="T95" fmla="*/ 707 h 708"/>
                <a:gd name="T96" fmla="*/ 133 w 549"/>
                <a:gd name="T97" fmla="*/ 643 h 708"/>
                <a:gd name="T98" fmla="*/ 128 w 549"/>
                <a:gd name="T99" fmla="*/ 617 h 708"/>
                <a:gd name="T100" fmla="*/ 118 w 549"/>
                <a:gd name="T101" fmla="*/ 584 h 708"/>
                <a:gd name="T102" fmla="*/ 90 w 549"/>
                <a:gd name="T103" fmla="*/ 564 h 708"/>
                <a:gd name="T104" fmla="*/ 77 w 549"/>
                <a:gd name="T105" fmla="*/ 559 h 708"/>
                <a:gd name="T106" fmla="*/ 74 w 549"/>
                <a:gd name="T107" fmla="*/ 546 h 708"/>
                <a:gd name="T108" fmla="*/ 72 w 549"/>
                <a:gd name="T109" fmla="*/ 523 h 708"/>
                <a:gd name="T110" fmla="*/ 54 w 549"/>
                <a:gd name="T111" fmla="*/ 500 h 708"/>
                <a:gd name="T112" fmla="*/ 49 w 549"/>
                <a:gd name="T113" fmla="*/ 495 h 708"/>
                <a:gd name="T114" fmla="*/ 47 w 549"/>
                <a:gd name="T115" fmla="*/ 486 h 708"/>
                <a:gd name="T116" fmla="*/ 49 w 549"/>
                <a:gd name="T117" fmla="*/ 468 h 708"/>
                <a:gd name="T118" fmla="*/ 71 w 549"/>
                <a:gd name="T119" fmla="*/ 425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9" h="708">
                  <a:moveTo>
                    <a:pt x="71" y="425"/>
                  </a:moveTo>
                  <a:cubicBezTo>
                    <a:pt x="82" y="402"/>
                    <a:pt x="95" y="381"/>
                    <a:pt x="95" y="355"/>
                  </a:cubicBezTo>
                  <a:cubicBezTo>
                    <a:pt x="97" y="327"/>
                    <a:pt x="84" y="317"/>
                    <a:pt x="72" y="310"/>
                  </a:cubicBezTo>
                  <a:cubicBezTo>
                    <a:pt x="69" y="307"/>
                    <a:pt x="64" y="304"/>
                    <a:pt x="59" y="299"/>
                  </a:cubicBezTo>
                  <a:cubicBezTo>
                    <a:pt x="54" y="292"/>
                    <a:pt x="51" y="284"/>
                    <a:pt x="49" y="276"/>
                  </a:cubicBezTo>
                  <a:cubicBezTo>
                    <a:pt x="47" y="269"/>
                    <a:pt x="44" y="264"/>
                    <a:pt x="43" y="257"/>
                  </a:cubicBezTo>
                  <a:cubicBezTo>
                    <a:pt x="41" y="252"/>
                    <a:pt x="36" y="249"/>
                    <a:pt x="33" y="246"/>
                  </a:cubicBezTo>
                  <a:cubicBezTo>
                    <a:pt x="31" y="244"/>
                    <a:pt x="29" y="243"/>
                    <a:pt x="29" y="243"/>
                  </a:cubicBezTo>
                  <a:cubicBezTo>
                    <a:pt x="28" y="239"/>
                    <a:pt x="28" y="236"/>
                    <a:pt x="28" y="231"/>
                  </a:cubicBezTo>
                  <a:cubicBezTo>
                    <a:pt x="29" y="224"/>
                    <a:pt x="29" y="218"/>
                    <a:pt x="26" y="211"/>
                  </a:cubicBezTo>
                  <a:cubicBezTo>
                    <a:pt x="24" y="201"/>
                    <a:pt x="19" y="193"/>
                    <a:pt x="15" y="187"/>
                  </a:cubicBezTo>
                  <a:cubicBezTo>
                    <a:pt x="11" y="180"/>
                    <a:pt x="6" y="175"/>
                    <a:pt x="6" y="168"/>
                  </a:cubicBezTo>
                  <a:cubicBezTo>
                    <a:pt x="0" y="139"/>
                    <a:pt x="24" y="104"/>
                    <a:pt x="46" y="75"/>
                  </a:cubicBezTo>
                  <a:cubicBezTo>
                    <a:pt x="51" y="68"/>
                    <a:pt x="56" y="60"/>
                    <a:pt x="61" y="53"/>
                  </a:cubicBezTo>
                  <a:cubicBezTo>
                    <a:pt x="72" y="33"/>
                    <a:pt x="87" y="14"/>
                    <a:pt x="107" y="0"/>
                  </a:cubicBezTo>
                  <a:cubicBezTo>
                    <a:pt x="108" y="17"/>
                    <a:pt x="115" y="33"/>
                    <a:pt x="127" y="47"/>
                  </a:cubicBezTo>
                  <a:cubicBezTo>
                    <a:pt x="130" y="53"/>
                    <a:pt x="136" y="60"/>
                    <a:pt x="141" y="70"/>
                  </a:cubicBezTo>
                  <a:cubicBezTo>
                    <a:pt x="156" y="94"/>
                    <a:pt x="176" y="126"/>
                    <a:pt x="206" y="124"/>
                  </a:cubicBezTo>
                  <a:cubicBezTo>
                    <a:pt x="224" y="124"/>
                    <a:pt x="232" y="114"/>
                    <a:pt x="239" y="107"/>
                  </a:cubicBezTo>
                  <a:cubicBezTo>
                    <a:pt x="240" y="104"/>
                    <a:pt x="244" y="101"/>
                    <a:pt x="247" y="99"/>
                  </a:cubicBezTo>
                  <a:cubicBezTo>
                    <a:pt x="253" y="96"/>
                    <a:pt x="260" y="96"/>
                    <a:pt x="267" y="94"/>
                  </a:cubicBezTo>
                  <a:cubicBezTo>
                    <a:pt x="270" y="94"/>
                    <a:pt x="272" y="94"/>
                    <a:pt x="273" y="94"/>
                  </a:cubicBezTo>
                  <a:cubicBezTo>
                    <a:pt x="288" y="121"/>
                    <a:pt x="291" y="137"/>
                    <a:pt x="270" y="163"/>
                  </a:cubicBezTo>
                  <a:cubicBezTo>
                    <a:pt x="253" y="183"/>
                    <a:pt x="248" y="201"/>
                    <a:pt x="253" y="220"/>
                  </a:cubicBezTo>
                  <a:cubicBezTo>
                    <a:pt x="258" y="239"/>
                    <a:pt x="278" y="256"/>
                    <a:pt x="309" y="269"/>
                  </a:cubicBezTo>
                  <a:cubicBezTo>
                    <a:pt x="316" y="271"/>
                    <a:pt x="321" y="272"/>
                    <a:pt x="326" y="274"/>
                  </a:cubicBezTo>
                  <a:cubicBezTo>
                    <a:pt x="342" y="279"/>
                    <a:pt x="349" y="280"/>
                    <a:pt x="354" y="294"/>
                  </a:cubicBezTo>
                  <a:cubicBezTo>
                    <a:pt x="357" y="302"/>
                    <a:pt x="361" y="310"/>
                    <a:pt x="362" y="317"/>
                  </a:cubicBezTo>
                  <a:cubicBezTo>
                    <a:pt x="367" y="332"/>
                    <a:pt x="372" y="345"/>
                    <a:pt x="384" y="361"/>
                  </a:cubicBezTo>
                  <a:cubicBezTo>
                    <a:pt x="402" y="386"/>
                    <a:pt x="420" y="402"/>
                    <a:pt x="441" y="420"/>
                  </a:cubicBezTo>
                  <a:cubicBezTo>
                    <a:pt x="459" y="435"/>
                    <a:pt x="459" y="435"/>
                    <a:pt x="461" y="460"/>
                  </a:cubicBezTo>
                  <a:lnTo>
                    <a:pt x="461" y="470"/>
                  </a:lnTo>
                  <a:cubicBezTo>
                    <a:pt x="461" y="491"/>
                    <a:pt x="464" y="495"/>
                    <a:pt x="487" y="508"/>
                  </a:cubicBezTo>
                  <a:cubicBezTo>
                    <a:pt x="492" y="511"/>
                    <a:pt x="496" y="513"/>
                    <a:pt x="501" y="514"/>
                  </a:cubicBezTo>
                  <a:cubicBezTo>
                    <a:pt x="505" y="516"/>
                    <a:pt x="510" y="518"/>
                    <a:pt x="515" y="521"/>
                  </a:cubicBezTo>
                  <a:cubicBezTo>
                    <a:pt x="515" y="523"/>
                    <a:pt x="517" y="524"/>
                    <a:pt x="519" y="526"/>
                  </a:cubicBezTo>
                  <a:cubicBezTo>
                    <a:pt x="520" y="531"/>
                    <a:pt x="524" y="536"/>
                    <a:pt x="529" y="539"/>
                  </a:cubicBezTo>
                  <a:cubicBezTo>
                    <a:pt x="535" y="542"/>
                    <a:pt x="542" y="547"/>
                    <a:pt x="548" y="551"/>
                  </a:cubicBezTo>
                  <a:cubicBezTo>
                    <a:pt x="538" y="567"/>
                    <a:pt x="525" y="584"/>
                    <a:pt x="510" y="595"/>
                  </a:cubicBezTo>
                  <a:cubicBezTo>
                    <a:pt x="491" y="612"/>
                    <a:pt x="458" y="621"/>
                    <a:pt x="440" y="626"/>
                  </a:cubicBezTo>
                  <a:cubicBezTo>
                    <a:pt x="423" y="630"/>
                    <a:pt x="407" y="630"/>
                    <a:pt x="390" y="630"/>
                  </a:cubicBezTo>
                  <a:cubicBezTo>
                    <a:pt x="375" y="628"/>
                    <a:pt x="362" y="628"/>
                    <a:pt x="346" y="630"/>
                  </a:cubicBezTo>
                  <a:cubicBezTo>
                    <a:pt x="324" y="633"/>
                    <a:pt x="311" y="645"/>
                    <a:pt x="300" y="654"/>
                  </a:cubicBezTo>
                  <a:cubicBezTo>
                    <a:pt x="295" y="659"/>
                    <a:pt x="288" y="663"/>
                    <a:pt x="281" y="668"/>
                  </a:cubicBezTo>
                  <a:cubicBezTo>
                    <a:pt x="270" y="674"/>
                    <a:pt x="255" y="679"/>
                    <a:pt x="239" y="684"/>
                  </a:cubicBezTo>
                  <a:cubicBezTo>
                    <a:pt x="227" y="689"/>
                    <a:pt x="216" y="692"/>
                    <a:pt x="206" y="697"/>
                  </a:cubicBezTo>
                  <a:lnTo>
                    <a:pt x="197" y="701"/>
                  </a:lnTo>
                  <a:cubicBezTo>
                    <a:pt x="192" y="702"/>
                    <a:pt x="188" y="704"/>
                    <a:pt x="183" y="707"/>
                  </a:cubicBezTo>
                  <a:cubicBezTo>
                    <a:pt x="164" y="687"/>
                    <a:pt x="146" y="666"/>
                    <a:pt x="133" y="643"/>
                  </a:cubicBezTo>
                  <a:cubicBezTo>
                    <a:pt x="130" y="636"/>
                    <a:pt x="128" y="626"/>
                    <a:pt x="128" y="617"/>
                  </a:cubicBezTo>
                  <a:cubicBezTo>
                    <a:pt x="127" y="607"/>
                    <a:pt x="125" y="593"/>
                    <a:pt x="118" y="584"/>
                  </a:cubicBezTo>
                  <a:cubicBezTo>
                    <a:pt x="112" y="570"/>
                    <a:pt x="100" y="567"/>
                    <a:pt x="90" y="564"/>
                  </a:cubicBezTo>
                  <a:cubicBezTo>
                    <a:pt x="85" y="562"/>
                    <a:pt x="80" y="561"/>
                    <a:pt x="77" y="559"/>
                  </a:cubicBezTo>
                  <a:cubicBezTo>
                    <a:pt x="72" y="554"/>
                    <a:pt x="72" y="552"/>
                    <a:pt x="74" y="546"/>
                  </a:cubicBezTo>
                  <a:cubicBezTo>
                    <a:pt x="74" y="541"/>
                    <a:pt x="76" y="533"/>
                    <a:pt x="72" y="523"/>
                  </a:cubicBezTo>
                  <a:cubicBezTo>
                    <a:pt x="67" y="509"/>
                    <a:pt x="61" y="503"/>
                    <a:pt x="54" y="500"/>
                  </a:cubicBezTo>
                  <a:cubicBezTo>
                    <a:pt x="52" y="498"/>
                    <a:pt x="51" y="496"/>
                    <a:pt x="49" y="495"/>
                  </a:cubicBezTo>
                  <a:cubicBezTo>
                    <a:pt x="47" y="493"/>
                    <a:pt x="47" y="491"/>
                    <a:pt x="47" y="486"/>
                  </a:cubicBezTo>
                  <a:cubicBezTo>
                    <a:pt x="47" y="481"/>
                    <a:pt x="47" y="475"/>
                    <a:pt x="49" y="468"/>
                  </a:cubicBezTo>
                  <a:cubicBezTo>
                    <a:pt x="54" y="453"/>
                    <a:pt x="62" y="440"/>
                    <a:pt x="71" y="425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9" name="Freeform 35">
              <a:extLst>
                <a:ext uri="{FF2B5EF4-FFF2-40B4-BE49-F238E27FC236}">
                  <a16:creationId xmlns:a16="http://schemas.microsoft.com/office/drawing/2014/main" id="{8E3084BB-DFBA-764F-83D9-BD2758F873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1075" y="3351213"/>
              <a:ext cx="255588" cy="296862"/>
            </a:xfrm>
            <a:custGeom>
              <a:avLst/>
              <a:gdLst>
                <a:gd name="T0" fmla="*/ 0 w 708"/>
                <a:gd name="T1" fmla="*/ 400 h 826"/>
                <a:gd name="T2" fmla="*/ 86 w 708"/>
                <a:gd name="T3" fmla="*/ 349 h 826"/>
                <a:gd name="T4" fmla="*/ 97 w 708"/>
                <a:gd name="T5" fmla="*/ 222 h 826"/>
                <a:gd name="T6" fmla="*/ 114 w 708"/>
                <a:gd name="T7" fmla="*/ 100 h 826"/>
                <a:gd name="T8" fmla="*/ 178 w 708"/>
                <a:gd name="T9" fmla="*/ 0 h 826"/>
                <a:gd name="T10" fmla="*/ 214 w 708"/>
                <a:gd name="T11" fmla="*/ 49 h 826"/>
                <a:gd name="T12" fmla="*/ 323 w 708"/>
                <a:gd name="T13" fmla="*/ 103 h 826"/>
                <a:gd name="T14" fmla="*/ 387 w 708"/>
                <a:gd name="T15" fmla="*/ 161 h 826"/>
                <a:gd name="T16" fmla="*/ 386 w 708"/>
                <a:gd name="T17" fmla="*/ 191 h 826"/>
                <a:gd name="T18" fmla="*/ 419 w 708"/>
                <a:gd name="T19" fmla="*/ 281 h 826"/>
                <a:gd name="T20" fmla="*/ 499 w 708"/>
                <a:gd name="T21" fmla="*/ 304 h 826"/>
                <a:gd name="T22" fmla="*/ 536 w 708"/>
                <a:gd name="T23" fmla="*/ 295 h 826"/>
                <a:gd name="T24" fmla="*/ 570 w 708"/>
                <a:gd name="T25" fmla="*/ 311 h 826"/>
                <a:gd name="T26" fmla="*/ 583 w 708"/>
                <a:gd name="T27" fmla="*/ 351 h 826"/>
                <a:gd name="T28" fmla="*/ 628 w 708"/>
                <a:gd name="T29" fmla="*/ 403 h 826"/>
                <a:gd name="T30" fmla="*/ 702 w 708"/>
                <a:gd name="T31" fmla="*/ 416 h 826"/>
                <a:gd name="T32" fmla="*/ 700 w 708"/>
                <a:gd name="T33" fmla="*/ 477 h 826"/>
                <a:gd name="T34" fmla="*/ 692 w 708"/>
                <a:gd name="T35" fmla="*/ 514 h 826"/>
                <a:gd name="T36" fmla="*/ 681 w 708"/>
                <a:gd name="T37" fmla="*/ 548 h 826"/>
                <a:gd name="T38" fmla="*/ 674 w 708"/>
                <a:gd name="T39" fmla="*/ 624 h 826"/>
                <a:gd name="T40" fmla="*/ 666 w 708"/>
                <a:gd name="T41" fmla="*/ 688 h 826"/>
                <a:gd name="T42" fmla="*/ 582 w 708"/>
                <a:gd name="T43" fmla="*/ 805 h 826"/>
                <a:gd name="T44" fmla="*/ 560 w 708"/>
                <a:gd name="T45" fmla="*/ 809 h 826"/>
                <a:gd name="T46" fmla="*/ 437 w 708"/>
                <a:gd name="T47" fmla="*/ 741 h 826"/>
                <a:gd name="T48" fmla="*/ 366 w 708"/>
                <a:gd name="T49" fmla="*/ 723 h 826"/>
                <a:gd name="T50" fmla="*/ 303 w 708"/>
                <a:gd name="T51" fmla="*/ 688 h 826"/>
                <a:gd name="T52" fmla="*/ 247 w 708"/>
                <a:gd name="T53" fmla="*/ 636 h 826"/>
                <a:gd name="T54" fmla="*/ 153 w 708"/>
                <a:gd name="T55" fmla="*/ 561 h 826"/>
                <a:gd name="T56" fmla="*/ 102 w 708"/>
                <a:gd name="T57" fmla="*/ 527 h 826"/>
                <a:gd name="T58" fmla="*/ 61 w 708"/>
                <a:gd name="T59" fmla="*/ 474 h 826"/>
                <a:gd name="T60" fmla="*/ 36 w 708"/>
                <a:gd name="T61" fmla="*/ 441 h 826"/>
                <a:gd name="T62" fmla="*/ 7 w 708"/>
                <a:gd name="T63" fmla="*/ 4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08" h="826">
                  <a:moveTo>
                    <a:pt x="7" y="402"/>
                  </a:moveTo>
                  <a:cubicBezTo>
                    <a:pt x="4" y="400"/>
                    <a:pt x="2" y="400"/>
                    <a:pt x="0" y="400"/>
                  </a:cubicBezTo>
                  <a:cubicBezTo>
                    <a:pt x="8" y="395"/>
                    <a:pt x="17" y="392"/>
                    <a:pt x="27" y="388"/>
                  </a:cubicBezTo>
                  <a:cubicBezTo>
                    <a:pt x="50" y="380"/>
                    <a:pt x="69" y="374"/>
                    <a:pt x="86" y="349"/>
                  </a:cubicBezTo>
                  <a:cubicBezTo>
                    <a:pt x="116" y="304"/>
                    <a:pt x="109" y="273"/>
                    <a:pt x="99" y="232"/>
                  </a:cubicBezTo>
                  <a:lnTo>
                    <a:pt x="97" y="222"/>
                  </a:lnTo>
                  <a:cubicBezTo>
                    <a:pt x="91" y="194"/>
                    <a:pt x="93" y="179"/>
                    <a:pt x="104" y="158"/>
                  </a:cubicBezTo>
                  <a:cubicBezTo>
                    <a:pt x="114" y="135"/>
                    <a:pt x="114" y="117"/>
                    <a:pt x="114" y="100"/>
                  </a:cubicBezTo>
                  <a:cubicBezTo>
                    <a:pt x="114" y="92"/>
                    <a:pt x="114" y="84"/>
                    <a:pt x="116" y="74"/>
                  </a:cubicBezTo>
                  <a:cubicBezTo>
                    <a:pt x="119" y="52"/>
                    <a:pt x="129" y="5"/>
                    <a:pt x="178" y="0"/>
                  </a:cubicBezTo>
                  <a:cubicBezTo>
                    <a:pt x="191" y="13"/>
                    <a:pt x="196" y="21"/>
                    <a:pt x="206" y="36"/>
                  </a:cubicBezTo>
                  <a:lnTo>
                    <a:pt x="214" y="49"/>
                  </a:lnTo>
                  <a:cubicBezTo>
                    <a:pt x="233" y="77"/>
                    <a:pt x="261" y="94"/>
                    <a:pt x="298" y="100"/>
                  </a:cubicBezTo>
                  <a:cubicBezTo>
                    <a:pt x="307" y="102"/>
                    <a:pt x="315" y="102"/>
                    <a:pt x="323" y="103"/>
                  </a:cubicBezTo>
                  <a:cubicBezTo>
                    <a:pt x="336" y="103"/>
                    <a:pt x="348" y="103"/>
                    <a:pt x="358" y="108"/>
                  </a:cubicBezTo>
                  <a:cubicBezTo>
                    <a:pt x="378" y="117"/>
                    <a:pt x="387" y="141"/>
                    <a:pt x="387" y="161"/>
                  </a:cubicBezTo>
                  <a:cubicBezTo>
                    <a:pt x="387" y="164"/>
                    <a:pt x="387" y="168"/>
                    <a:pt x="386" y="171"/>
                  </a:cubicBezTo>
                  <a:cubicBezTo>
                    <a:pt x="386" y="178"/>
                    <a:pt x="386" y="184"/>
                    <a:pt x="386" y="191"/>
                  </a:cubicBezTo>
                  <a:cubicBezTo>
                    <a:pt x="387" y="202"/>
                    <a:pt x="392" y="212"/>
                    <a:pt x="396" y="220"/>
                  </a:cubicBezTo>
                  <a:lnTo>
                    <a:pt x="419" y="281"/>
                  </a:lnTo>
                  <a:cubicBezTo>
                    <a:pt x="435" y="321"/>
                    <a:pt x="457" y="324"/>
                    <a:pt x="468" y="323"/>
                  </a:cubicBezTo>
                  <a:cubicBezTo>
                    <a:pt x="481" y="321"/>
                    <a:pt x="491" y="313"/>
                    <a:pt x="499" y="304"/>
                  </a:cubicBezTo>
                  <a:cubicBezTo>
                    <a:pt x="504" y="299"/>
                    <a:pt x="509" y="296"/>
                    <a:pt x="513" y="295"/>
                  </a:cubicBezTo>
                  <a:cubicBezTo>
                    <a:pt x="519" y="291"/>
                    <a:pt x="526" y="293"/>
                    <a:pt x="536" y="295"/>
                  </a:cubicBezTo>
                  <a:cubicBezTo>
                    <a:pt x="539" y="296"/>
                    <a:pt x="544" y="296"/>
                    <a:pt x="549" y="298"/>
                  </a:cubicBezTo>
                  <a:cubicBezTo>
                    <a:pt x="560" y="299"/>
                    <a:pt x="565" y="303"/>
                    <a:pt x="570" y="311"/>
                  </a:cubicBezTo>
                  <a:cubicBezTo>
                    <a:pt x="577" y="323"/>
                    <a:pt x="580" y="334"/>
                    <a:pt x="582" y="346"/>
                  </a:cubicBezTo>
                  <a:lnTo>
                    <a:pt x="583" y="351"/>
                  </a:lnTo>
                  <a:cubicBezTo>
                    <a:pt x="583" y="359"/>
                    <a:pt x="585" y="369"/>
                    <a:pt x="590" y="377"/>
                  </a:cubicBezTo>
                  <a:cubicBezTo>
                    <a:pt x="600" y="392"/>
                    <a:pt x="615" y="398"/>
                    <a:pt x="628" y="403"/>
                  </a:cubicBezTo>
                  <a:lnTo>
                    <a:pt x="654" y="413"/>
                  </a:lnTo>
                  <a:cubicBezTo>
                    <a:pt x="664" y="416"/>
                    <a:pt x="684" y="425"/>
                    <a:pt x="702" y="416"/>
                  </a:cubicBezTo>
                  <a:cubicBezTo>
                    <a:pt x="705" y="430"/>
                    <a:pt x="707" y="443"/>
                    <a:pt x="705" y="456"/>
                  </a:cubicBezTo>
                  <a:cubicBezTo>
                    <a:pt x="705" y="463"/>
                    <a:pt x="702" y="471"/>
                    <a:pt x="700" y="477"/>
                  </a:cubicBezTo>
                  <a:cubicBezTo>
                    <a:pt x="699" y="484"/>
                    <a:pt x="695" y="491"/>
                    <a:pt x="695" y="499"/>
                  </a:cubicBezTo>
                  <a:cubicBezTo>
                    <a:pt x="694" y="504"/>
                    <a:pt x="694" y="507"/>
                    <a:pt x="692" y="514"/>
                  </a:cubicBezTo>
                  <a:cubicBezTo>
                    <a:pt x="692" y="519"/>
                    <a:pt x="691" y="525"/>
                    <a:pt x="689" y="532"/>
                  </a:cubicBezTo>
                  <a:cubicBezTo>
                    <a:pt x="687" y="538"/>
                    <a:pt x="684" y="543"/>
                    <a:pt x="681" y="548"/>
                  </a:cubicBezTo>
                  <a:cubicBezTo>
                    <a:pt x="676" y="558"/>
                    <a:pt x="671" y="568"/>
                    <a:pt x="669" y="580"/>
                  </a:cubicBezTo>
                  <a:cubicBezTo>
                    <a:pt x="666" y="596"/>
                    <a:pt x="671" y="611"/>
                    <a:pt x="674" y="624"/>
                  </a:cubicBezTo>
                  <a:cubicBezTo>
                    <a:pt x="677" y="634"/>
                    <a:pt x="681" y="644"/>
                    <a:pt x="681" y="652"/>
                  </a:cubicBezTo>
                  <a:cubicBezTo>
                    <a:pt x="681" y="665"/>
                    <a:pt x="672" y="677"/>
                    <a:pt x="666" y="688"/>
                  </a:cubicBezTo>
                  <a:cubicBezTo>
                    <a:pt x="653" y="708"/>
                    <a:pt x="639" y="726"/>
                    <a:pt x="625" y="744"/>
                  </a:cubicBezTo>
                  <a:cubicBezTo>
                    <a:pt x="610" y="764"/>
                    <a:pt x="595" y="784"/>
                    <a:pt x="582" y="805"/>
                  </a:cubicBezTo>
                  <a:cubicBezTo>
                    <a:pt x="577" y="812"/>
                    <a:pt x="572" y="818"/>
                    <a:pt x="569" y="825"/>
                  </a:cubicBezTo>
                  <a:cubicBezTo>
                    <a:pt x="565" y="820"/>
                    <a:pt x="564" y="815"/>
                    <a:pt x="560" y="809"/>
                  </a:cubicBezTo>
                  <a:cubicBezTo>
                    <a:pt x="549" y="787"/>
                    <a:pt x="522" y="749"/>
                    <a:pt x="488" y="739"/>
                  </a:cubicBezTo>
                  <a:cubicBezTo>
                    <a:pt x="471" y="734"/>
                    <a:pt x="453" y="738"/>
                    <a:pt x="437" y="741"/>
                  </a:cubicBezTo>
                  <a:cubicBezTo>
                    <a:pt x="424" y="744"/>
                    <a:pt x="410" y="746"/>
                    <a:pt x="399" y="743"/>
                  </a:cubicBezTo>
                  <a:cubicBezTo>
                    <a:pt x="386" y="741"/>
                    <a:pt x="376" y="733"/>
                    <a:pt x="366" y="723"/>
                  </a:cubicBezTo>
                  <a:cubicBezTo>
                    <a:pt x="356" y="713"/>
                    <a:pt x="346" y="703"/>
                    <a:pt x="331" y="698"/>
                  </a:cubicBezTo>
                  <a:cubicBezTo>
                    <a:pt x="323" y="693"/>
                    <a:pt x="313" y="692"/>
                    <a:pt x="303" y="688"/>
                  </a:cubicBezTo>
                  <a:cubicBezTo>
                    <a:pt x="287" y="683"/>
                    <a:pt x="272" y="680"/>
                    <a:pt x="261" y="668"/>
                  </a:cubicBezTo>
                  <a:cubicBezTo>
                    <a:pt x="252" y="660"/>
                    <a:pt x="251" y="649"/>
                    <a:pt x="247" y="636"/>
                  </a:cubicBezTo>
                  <a:cubicBezTo>
                    <a:pt x="242" y="621"/>
                    <a:pt x="239" y="604"/>
                    <a:pt x="226" y="591"/>
                  </a:cubicBezTo>
                  <a:cubicBezTo>
                    <a:pt x="206" y="570"/>
                    <a:pt x="178" y="565"/>
                    <a:pt x="153" y="561"/>
                  </a:cubicBezTo>
                  <a:cubicBezTo>
                    <a:pt x="149" y="560"/>
                    <a:pt x="142" y="558"/>
                    <a:pt x="137" y="558"/>
                  </a:cubicBezTo>
                  <a:cubicBezTo>
                    <a:pt x="112" y="552"/>
                    <a:pt x="109" y="547"/>
                    <a:pt x="102" y="527"/>
                  </a:cubicBezTo>
                  <a:cubicBezTo>
                    <a:pt x="99" y="522"/>
                    <a:pt x="96" y="515"/>
                    <a:pt x="93" y="507"/>
                  </a:cubicBezTo>
                  <a:cubicBezTo>
                    <a:pt x="84" y="491"/>
                    <a:pt x="71" y="482"/>
                    <a:pt x="61" y="474"/>
                  </a:cubicBezTo>
                  <a:cubicBezTo>
                    <a:pt x="51" y="467"/>
                    <a:pt x="45" y="461"/>
                    <a:pt x="40" y="453"/>
                  </a:cubicBezTo>
                  <a:cubicBezTo>
                    <a:pt x="38" y="451"/>
                    <a:pt x="36" y="446"/>
                    <a:pt x="36" y="441"/>
                  </a:cubicBezTo>
                  <a:cubicBezTo>
                    <a:pt x="36" y="433"/>
                    <a:pt x="35" y="423"/>
                    <a:pt x="28" y="415"/>
                  </a:cubicBezTo>
                  <a:cubicBezTo>
                    <a:pt x="20" y="403"/>
                    <a:pt x="12" y="402"/>
                    <a:pt x="7" y="40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0" name="Freeform 36">
              <a:extLst>
                <a:ext uri="{FF2B5EF4-FFF2-40B4-BE49-F238E27FC236}">
                  <a16:creationId xmlns:a16="http://schemas.microsoft.com/office/drawing/2014/main" id="{D42E34CE-150E-B24A-A256-7F873ACD5F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9325" y="2227263"/>
              <a:ext cx="430213" cy="403225"/>
            </a:xfrm>
            <a:custGeom>
              <a:avLst/>
              <a:gdLst>
                <a:gd name="T0" fmla="*/ 3 w 1195"/>
                <a:gd name="T1" fmla="*/ 294 h 1122"/>
                <a:gd name="T2" fmla="*/ 21 w 1195"/>
                <a:gd name="T3" fmla="*/ 251 h 1122"/>
                <a:gd name="T4" fmla="*/ 115 w 1195"/>
                <a:gd name="T5" fmla="*/ 216 h 1122"/>
                <a:gd name="T6" fmla="*/ 155 w 1195"/>
                <a:gd name="T7" fmla="*/ 159 h 1122"/>
                <a:gd name="T8" fmla="*/ 209 w 1195"/>
                <a:gd name="T9" fmla="*/ 192 h 1122"/>
                <a:gd name="T10" fmla="*/ 277 w 1195"/>
                <a:gd name="T11" fmla="*/ 262 h 1122"/>
                <a:gd name="T12" fmla="*/ 344 w 1195"/>
                <a:gd name="T13" fmla="*/ 290 h 1122"/>
                <a:gd name="T14" fmla="*/ 425 w 1195"/>
                <a:gd name="T15" fmla="*/ 297 h 1122"/>
                <a:gd name="T16" fmla="*/ 356 w 1195"/>
                <a:gd name="T17" fmla="*/ 208 h 1122"/>
                <a:gd name="T18" fmla="*/ 376 w 1195"/>
                <a:gd name="T19" fmla="*/ 108 h 1122"/>
                <a:gd name="T20" fmla="*/ 387 w 1195"/>
                <a:gd name="T21" fmla="*/ 30 h 1122"/>
                <a:gd name="T22" fmla="*/ 334 w 1195"/>
                <a:gd name="T23" fmla="*/ 20 h 1122"/>
                <a:gd name="T24" fmla="*/ 585 w 1195"/>
                <a:gd name="T25" fmla="*/ 33 h 1122"/>
                <a:gd name="T26" fmla="*/ 672 w 1195"/>
                <a:gd name="T27" fmla="*/ 109 h 1122"/>
                <a:gd name="T28" fmla="*/ 743 w 1195"/>
                <a:gd name="T29" fmla="*/ 348 h 1122"/>
                <a:gd name="T30" fmla="*/ 756 w 1195"/>
                <a:gd name="T31" fmla="*/ 407 h 1122"/>
                <a:gd name="T32" fmla="*/ 848 w 1195"/>
                <a:gd name="T33" fmla="*/ 617 h 1122"/>
                <a:gd name="T34" fmla="*/ 950 w 1195"/>
                <a:gd name="T35" fmla="*/ 612 h 1122"/>
                <a:gd name="T36" fmla="*/ 980 w 1195"/>
                <a:gd name="T37" fmla="*/ 654 h 1122"/>
                <a:gd name="T38" fmla="*/ 1028 w 1195"/>
                <a:gd name="T39" fmla="*/ 607 h 1122"/>
                <a:gd name="T40" fmla="*/ 1031 w 1195"/>
                <a:gd name="T41" fmla="*/ 593 h 1122"/>
                <a:gd name="T42" fmla="*/ 1081 w 1195"/>
                <a:gd name="T43" fmla="*/ 645 h 1122"/>
                <a:gd name="T44" fmla="*/ 1125 w 1195"/>
                <a:gd name="T45" fmla="*/ 696 h 1122"/>
                <a:gd name="T46" fmla="*/ 1166 w 1195"/>
                <a:gd name="T47" fmla="*/ 747 h 1122"/>
                <a:gd name="T48" fmla="*/ 1194 w 1195"/>
                <a:gd name="T49" fmla="*/ 808 h 1122"/>
                <a:gd name="T50" fmla="*/ 1151 w 1195"/>
                <a:gd name="T51" fmla="*/ 827 h 1122"/>
                <a:gd name="T52" fmla="*/ 1095 w 1195"/>
                <a:gd name="T53" fmla="*/ 834 h 1122"/>
                <a:gd name="T54" fmla="*/ 1002 w 1195"/>
                <a:gd name="T55" fmla="*/ 903 h 1122"/>
                <a:gd name="T56" fmla="*/ 891 w 1195"/>
                <a:gd name="T57" fmla="*/ 986 h 1122"/>
                <a:gd name="T58" fmla="*/ 873 w 1195"/>
                <a:gd name="T59" fmla="*/ 1035 h 1122"/>
                <a:gd name="T60" fmla="*/ 817 w 1195"/>
                <a:gd name="T61" fmla="*/ 1084 h 1122"/>
                <a:gd name="T62" fmla="*/ 781 w 1195"/>
                <a:gd name="T63" fmla="*/ 1107 h 1122"/>
                <a:gd name="T64" fmla="*/ 717 w 1195"/>
                <a:gd name="T65" fmla="*/ 1111 h 1122"/>
                <a:gd name="T66" fmla="*/ 651 w 1195"/>
                <a:gd name="T67" fmla="*/ 1103 h 1122"/>
                <a:gd name="T68" fmla="*/ 634 w 1195"/>
                <a:gd name="T69" fmla="*/ 1048 h 1122"/>
                <a:gd name="T70" fmla="*/ 608 w 1195"/>
                <a:gd name="T71" fmla="*/ 1015 h 1122"/>
                <a:gd name="T72" fmla="*/ 601 w 1195"/>
                <a:gd name="T73" fmla="*/ 931 h 1122"/>
                <a:gd name="T74" fmla="*/ 563 w 1195"/>
                <a:gd name="T75" fmla="*/ 872 h 1122"/>
                <a:gd name="T76" fmla="*/ 497 w 1195"/>
                <a:gd name="T77" fmla="*/ 819 h 1122"/>
                <a:gd name="T78" fmla="*/ 453 w 1195"/>
                <a:gd name="T79" fmla="*/ 796 h 1122"/>
                <a:gd name="T80" fmla="*/ 468 w 1195"/>
                <a:gd name="T81" fmla="*/ 730 h 1122"/>
                <a:gd name="T82" fmla="*/ 440 w 1195"/>
                <a:gd name="T83" fmla="*/ 699 h 1122"/>
                <a:gd name="T84" fmla="*/ 372 w 1195"/>
                <a:gd name="T85" fmla="*/ 669 h 1122"/>
                <a:gd name="T86" fmla="*/ 296 w 1195"/>
                <a:gd name="T87" fmla="*/ 671 h 1122"/>
                <a:gd name="T88" fmla="*/ 209 w 1195"/>
                <a:gd name="T89" fmla="*/ 645 h 1122"/>
                <a:gd name="T90" fmla="*/ 152 w 1195"/>
                <a:gd name="T91" fmla="*/ 618 h 1122"/>
                <a:gd name="T92" fmla="*/ 61 w 1195"/>
                <a:gd name="T93" fmla="*/ 603 h 1122"/>
                <a:gd name="T94" fmla="*/ 31 w 1195"/>
                <a:gd name="T95" fmla="*/ 605 h 1122"/>
                <a:gd name="T96" fmla="*/ 28 w 1195"/>
                <a:gd name="T97" fmla="*/ 544 h 1122"/>
                <a:gd name="T98" fmla="*/ 39 w 1195"/>
                <a:gd name="T99" fmla="*/ 394 h 1122"/>
                <a:gd name="T100" fmla="*/ 2 w 1195"/>
                <a:gd name="T101" fmla="*/ 322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95" h="1122">
                  <a:moveTo>
                    <a:pt x="2" y="322"/>
                  </a:moveTo>
                  <a:cubicBezTo>
                    <a:pt x="0" y="313"/>
                    <a:pt x="2" y="304"/>
                    <a:pt x="3" y="294"/>
                  </a:cubicBezTo>
                  <a:lnTo>
                    <a:pt x="10" y="249"/>
                  </a:lnTo>
                  <a:cubicBezTo>
                    <a:pt x="15" y="251"/>
                    <a:pt x="18" y="251"/>
                    <a:pt x="21" y="251"/>
                  </a:cubicBezTo>
                  <a:cubicBezTo>
                    <a:pt x="39" y="251"/>
                    <a:pt x="58" y="252"/>
                    <a:pt x="76" y="248"/>
                  </a:cubicBezTo>
                  <a:cubicBezTo>
                    <a:pt x="92" y="243"/>
                    <a:pt x="107" y="233"/>
                    <a:pt x="115" y="216"/>
                  </a:cubicBezTo>
                  <a:cubicBezTo>
                    <a:pt x="120" y="205"/>
                    <a:pt x="123" y="192"/>
                    <a:pt x="123" y="177"/>
                  </a:cubicBezTo>
                  <a:cubicBezTo>
                    <a:pt x="133" y="168"/>
                    <a:pt x="142" y="159"/>
                    <a:pt x="155" y="159"/>
                  </a:cubicBezTo>
                  <a:cubicBezTo>
                    <a:pt x="176" y="160"/>
                    <a:pt x="166" y="178"/>
                    <a:pt x="180" y="188"/>
                  </a:cubicBezTo>
                  <a:cubicBezTo>
                    <a:pt x="189" y="195"/>
                    <a:pt x="199" y="187"/>
                    <a:pt x="209" y="192"/>
                  </a:cubicBezTo>
                  <a:cubicBezTo>
                    <a:pt x="219" y="196"/>
                    <a:pt x="226" y="208"/>
                    <a:pt x="232" y="218"/>
                  </a:cubicBezTo>
                  <a:cubicBezTo>
                    <a:pt x="240" y="233"/>
                    <a:pt x="255" y="264"/>
                    <a:pt x="277" y="262"/>
                  </a:cubicBezTo>
                  <a:cubicBezTo>
                    <a:pt x="300" y="259"/>
                    <a:pt x="293" y="234"/>
                    <a:pt x="318" y="248"/>
                  </a:cubicBezTo>
                  <a:cubicBezTo>
                    <a:pt x="331" y="254"/>
                    <a:pt x="339" y="279"/>
                    <a:pt x="344" y="290"/>
                  </a:cubicBezTo>
                  <a:cubicBezTo>
                    <a:pt x="364" y="323"/>
                    <a:pt x="346" y="386"/>
                    <a:pt x="404" y="381"/>
                  </a:cubicBezTo>
                  <a:cubicBezTo>
                    <a:pt x="455" y="378"/>
                    <a:pt x="441" y="328"/>
                    <a:pt x="425" y="297"/>
                  </a:cubicBezTo>
                  <a:cubicBezTo>
                    <a:pt x="417" y="280"/>
                    <a:pt x="405" y="264"/>
                    <a:pt x="394" y="251"/>
                  </a:cubicBezTo>
                  <a:cubicBezTo>
                    <a:pt x="384" y="238"/>
                    <a:pt x="362" y="224"/>
                    <a:pt x="356" y="208"/>
                  </a:cubicBezTo>
                  <a:cubicBezTo>
                    <a:pt x="346" y="180"/>
                    <a:pt x="366" y="182"/>
                    <a:pt x="377" y="162"/>
                  </a:cubicBezTo>
                  <a:cubicBezTo>
                    <a:pt x="390" y="140"/>
                    <a:pt x="372" y="129"/>
                    <a:pt x="376" y="108"/>
                  </a:cubicBezTo>
                  <a:cubicBezTo>
                    <a:pt x="380" y="83"/>
                    <a:pt x="412" y="88"/>
                    <a:pt x="417" y="68"/>
                  </a:cubicBezTo>
                  <a:cubicBezTo>
                    <a:pt x="422" y="50"/>
                    <a:pt x="400" y="37"/>
                    <a:pt x="387" y="30"/>
                  </a:cubicBezTo>
                  <a:cubicBezTo>
                    <a:pt x="377" y="23"/>
                    <a:pt x="366" y="19"/>
                    <a:pt x="354" y="17"/>
                  </a:cubicBezTo>
                  <a:cubicBezTo>
                    <a:pt x="348" y="17"/>
                    <a:pt x="339" y="20"/>
                    <a:pt x="334" y="20"/>
                  </a:cubicBezTo>
                  <a:cubicBezTo>
                    <a:pt x="331" y="19"/>
                    <a:pt x="326" y="14"/>
                    <a:pt x="324" y="10"/>
                  </a:cubicBezTo>
                  <a:cubicBezTo>
                    <a:pt x="399" y="0"/>
                    <a:pt x="484" y="7"/>
                    <a:pt x="585" y="33"/>
                  </a:cubicBezTo>
                  <a:cubicBezTo>
                    <a:pt x="606" y="40"/>
                    <a:pt x="628" y="43"/>
                    <a:pt x="649" y="48"/>
                  </a:cubicBezTo>
                  <a:cubicBezTo>
                    <a:pt x="657" y="68"/>
                    <a:pt x="664" y="88"/>
                    <a:pt x="672" y="109"/>
                  </a:cubicBezTo>
                  <a:cubicBezTo>
                    <a:pt x="680" y="129"/>
                    <a:pt x="687" y="149"/>
                    <a:pt x="695" y="170"/>
                  </a:cubicBezTo>
                  <a:cubicBezTo>
                    <a:pt x="713" y="228"/>
                    <a:pt x="728" y="289"/>
                    <a:pt x="743" y="348"/>
                  </a:cubicBezTo>
                  <a:lnTo>
                    <a:pt x="746" y="361"/>
                  </a:lnTo>
                  <a:cubicBezTo>
                    <a:pt x="750" y="376"/>
                    <a:pt x="753" y="391"/>
                    <a:pt x="756" y="407"/>
                  </a:cubicBezTo>
                  <a:cubicBezTo>
                    <a:pt x="768" y="457"/>
                    <a:pt x="779" y="509"/>
                    <a:pt x="801" y="554"/>
                  </a:cubicBezTo>
                  <a:cubicBezTo>
                    <a:pt x="807" y="565"/>
                    <a:pt x="829" y="607"/>
                    <a:pt x="848" y="617"/>
                  </a:cubicBezTo>
                  <a:cubicBezTo>
                    <a:pt x="871" y="631"/>
                    <a:pt x="894" y="625"/>
                    <a:pt x="916" y="618"/>
                  </a:cubicBezTo>
                  <a:cubicBezTo>
                    <a:pt x="927" y="613"/>
                    <a:pt x="941" y="610"/>
                    <a:pt x="950" y="612"/>
                  </a:cubicBezTo>
                  <a:cubicBezTo>
                    <a:pt x="955" y="613"/>
                    <a:pt x="957" y="615"/>
                    <a:pt x="959" y="626"/>
                  </a:cubicBezTo>
                  <a:cubicBezTo>
                    <a:pt x="960" y="635"/>
                    <a:pt x="964" y="650"/>
                    <a:pt x="980" y="654"/>
                  </a:cubicBezTo>
                  <a:cubicBezTo>
                    <a:pt x="993" y="659"/>
                    <a:pt x="1002" y="656"/>
                    <a:pt x="1007" y="653"/>
                  </a:cubicBezTo>
                  <a:cubicBezTo>
                    <a:pt x="1023" y="643"/>
                    <a:pt x="1026" y="620"/>
                    <a:pt x="1028" y="607"/>
                  </a:cubicBezTo>
                  <a:lnTo>
                    <a:pt x="1028" y="602"/>
                  </a:lnTo>
                  <a:cubicBezTo>
                    <a:pt x="1030" y="595"/>
                    <a:pt x="1031" y="593"/>
                    <a:pt x="1031" y="593"/>
                  </a:cubicBezTo>
                  <a:cubicBezTo>
                    <a:pt x="1033" y="593"/>
                    <a:pt x="1036" y="595"/>
                    <a:pt x="1039" y="598"/>
                  </a:cubicBezTo>
                  <a:cubicBezTo>
                    <a:pt x="1056" y="610"/>
                    <a:pt x="1072" y="625"/>
                    <a:pt x="1081" y="645"/>
                  </a:cubicBezTo>
                  <a:cubicBezTo>
                    <a:pt x="1084" y="651"/>
                    <a:pt x="1086" y="658"/>
                    <a:pt x="1087" y="661"/>
                  </a:cubicBezTo>
                  <a:cubicBezTo>
                    <a:pt x="1094" y="681"/>
                    <a:pt x="1099" y="686"/>
                    <a:pt x="1125" y="696"/>
                  </a:cubicBezTo>
                  <a:cubicBezTo>
                    <a:pt x="1151" y="704"/>
                    <a:pt x="1156" y="709"/>
                    <a:pt x="1163" y="734"/>
                  </a:cubicBezTo>
                  <a:lnTo>
                    <a:pt x="1166" y="747"/>
                  </a:lnTo>
                  <a:cubicBezTo>
                    <a:pt x="1171" y="766"/>
                    <a:pt x="1176" y="781"/>
                    <a:pt x="1189" y="801"/>
                  </a:cubicBezTo>
                  <a:cubicBezTo>
                    <a:pt x="1191" y="804"/>
                    <a:pt x="1193" y="806"/>
                    <a:pt x="1194" y="808"/>
                  </a:cubicBezTo>
                  <a:cubicBezTo>
                    <a:pt x="1183" y="811"/>
                    <a:pt x="1173" y="816"/>
                    <a:pt x="1163" y="821"/>
                  </a:cubicBezTo>
                  <a:cubicBezTo>
                    <a:pt x="1160" y="824"/>
                    <a:pt x="1155" y="826"/>
                    <a:pt x="1151" y="827"/>
                  </a:cubicBezTo>
                  <a:cubicBezTo>
                    <a:pt x="1138" y="834"/>
                    <a:pt x="1128" y="834"/>
                    <a:pt x="1114" y="834"/>
                  </a:cubicBezTo>
                  <a:cubicBezTo>
                    <a:pt x="1107" y="834"/>
                    <a:pt x="1102" y="832"/>
                    <a:pt x="1095" y="834"/>
                  </a:cubicBezTo>
                  <a:cubicBezTo>
                    <a:pt x="1061" y="834"/>
                    <a:pt x="1043" y="857"/>
                    <a:pt x="1026" y="877"/>
                  </a:cubicBezTo>
                  <a:cubicBezTo>
                    <a:pt x="1018" y="887"/>
                    <a:pt x="1011" y="897"/>
                    <a:pt x="1002" y="903"/>
                  </a:cubicBezTo>
                  <a:cubicBezTo>
                    <a:pt x="992" y="911"/>
                    <a:pt x="977" y="918"/>
                    <a:pt x="964" y="926"/>
                  </a:cubicBezTo>
                  <a:cubicBezTo>
                    <a:pt x="936" y="939"/>
                    <a:pt x="904" y="954"/>
                    <a:pt x="891" y="986"/>
                  </a:cubicBezTo>
                  <a:cubicBezTo>
                    <a:pt x="888" y="995"/>
                    <a:pt x="886" y="1002"/>
                    <a:pt x="885" y="1009"/>
                  </a:cubicBezTo>
                  <a:cubicBezTo>
                    <a:pt x="883" y="1019"/>
                    <a:pt x="881" y="1025"/>
                    <a:pt x="873" y="1035"/>
                  </a:cubicBezTo>
                  <a:cubicBezTo>
                    <a:pt x="857" y="1055"/>
                    <a:pt x="843" y="1068"/>
                    <a:pt x="832" y="1076"/>
                  </a:cubicBezTo>
                  <a:cubicBezTo>
                    <a:pt x="829" y="1081"/>
                    <a:pt x="822" y="1083"/>
                    <a:pt x="817" y="1084"/>
                  </a:cubicBezTo>
                  <a:cubicBezTo>
                    <a:pt x="810" y="1088"/>
                    <a:pt x="804" y="1089"/>
                    <a:pt x="797" y="1094"/>
                  </a:cubicBezTo>
                  <a:cubicBezTo>
                    <a:pt x="791" y="1099"/>
                    <a:pt x="786" y="1104"/>
                    <a:pt x="781" y="1107"/>
                  </a:cubicBezTo>
                  <a:cubicBezTo>
                    <a:pt x="771" y="1117"/>
                    <a:pt x="766" y="1121"/>
                    <a:pt x="750" y="1121"/>
                  </a:cubicBezTo>
                  <a:cubicBezTo>
                    <a:pt x="738" y="1119"/>
                    <a:pt x="726" y="1116"/>
                    <a:pt x="717" y="1111"/>
                  </a:cubicBezTo>
                  <a:cubicBezTo>
                    <a:pt x="698" y="1103"/>
                    <a:pt x="677" y="1094"/>
                    <a:pt x="654" y="1109"/>
                  </a:cubicBezTo>
                  <a:cubicBezTo>
                    <a:pt x="652" y="1107"/>
                    <a:pt x="652" y="1106"/>
                    <a:pt x="651" y="1103"/>
                  </a:cubicBezTo>
                  <a:cubicBezTo>
                    <a:pt x="649" y="1098"/>
                    <a:pt x="649" y="1091"/>
                    <a:pt x="647" y="1086"/>
                  </a:cubicBezTo>
                  <a:cubicBezTo>
                    <a:pt x="646" y="1075"/>
                    <a:pt x="642" y="1061"/>
                    <a:pt x="634" y="1048"/>
                  </a:cubicBezTo>
                  <a:cubicBezTo>
                    <a:pt x="631" y="1043"/>
                    <a:pt x="626" y="1037"/>
                    <a:pt x="621" y="1033"/>
                  </a:cubicBezTo>
                  <a:cubicBezTo>
                    <a:pt x="614" y="1027"/>
                    <a:pt x="611" y="1022"/>
                    <a:pt x="608" y="1015"/>
                  </a:cubicBezTo>
                  <a:cubicBezTo>
                    <a:pt x="598" y="994"/>
                    <a:pt x="598" y="974"/>
                    <a:pt x="600" y="951"/>
                  </a:cubicBezTo>
                  <a:cubicBezTo>
                    <a:pt x="600" y="944"/>
                    <a:pt x="601" y="938"/>
                    <a:pt x="601" y="931"/>
                  </a:cubicBezTo>
                  <a:cubicBezTo>
                    <a:pt x="601" y="905"/>
                    <a:pt x="586" y="897"/>
                    <a:pt x="577" y="890"/>
                  </a:cubicBezTo>
                  <a:cubicBezTo>
                    <a:pt x="567" y="885"/>
                    <a:pt x="563" y="883"/>
                    <a:pt x="563" y="872"/>
                  </a:cubicBezTo>
                  <a:cubicBezTo>
                    <a:pt x="563" y="829"/>
                    <a:pt x="553" y="819"/>
                    <a:pt x="511" y="819"/>
                  </a:cubicBezTo>
                  <a:lnTo>
                    <a:pt x="497" y="819"/>
                  </a:lnTo>
                  <a:cubicBezTo>
                    <a:pt x="481" y="819"/>
                    <a:pt x="463" y="819"/>
                    <a:pt x="456" y="814"/>
                  </a:cubicBezTo>
                  <a:cubicBezTo>
                    <a:pt x="455" y="809"/>
                    <a:pt x="453" y="804"/>
                    <a:pt x="453" y="796"/>
                  </a:cubicBezTo>
                  <a:cubicBezTo>
                    <a:pt x="453" y="790"/>
                    <a:pt x="456" y="780"/>
                    <a:pt x="460" y="771"/>
                  </a:cubicBezTo>
                  <a:cubicBezTo>
                    <a:pt x="465" y="758"/>
                    <a:pt x="469" y="743"/>
                    <a:pt x="468" y="730"/>
                  </a:cubicBezTo>
                  <a:cubicBezTo>
                    <a:pt x="465" y="712"/>
                    <a:pt x="456" y="707"/>
                    <a:pt x="446" y="704"/>
                  </a:cubicBezTo>
                  <a:cubicBezTo>
                    <a:pt x="445" y="702"/>
                    <a:pt x="441" y="701"/>
                    <a:pt x="440" y="699"/>
                  </a:cubicBezTo>
                  <a:cubicBezTo>
                    <a:pt x="435" y="697"/>
                    <a:pt x="430" y="692"/>
                    <a:pt x="425" y="689"/>
                  </a:cubicBezTo>
                  <a:cubicBezTo>
                    <a:pt x="412" y="678"/>
                    <a:pt x="397" y="666"/>
                    <a:pt x="372" y="669"/>
                  </a:cubicBezTo>
                  <a:cubicBezTo>
                    <a:pt x="359" y="671"/>
                    <a:pt x="349" y="674"/>
                    <a:pt x="339" y="678"/>
                  </a:cubicBezTo>
                  <a:cubicBezTo>
                    <a:pt x="321" y="684"/>
                    <a:pt x="311" y="686"/>
                    <a:pt x="296" y="671"/>
                  </a:cubicBezTo>
                  <a:cubicBezTo>
                    <a:pt x="270" y="646"/>
                    <a:pt x="255" y="643"/>
                    <a:pt x="221" y="645"/>
                  </a:cubicBezTo>
                  <a:lnTo>
                    <a:pt x="209" y="645"/>
                  </a:lnTo>
                  <a:cubicBezTo>
                    <a:pt x="189" y="646"/>
                    <a:pt x="175" y="648"/>
                    <a:pt x="161" y="636"/>
                  </a:cubicBezTo>
                  <a:cubicBezTo>
                    <a:pt x="156" y="631"/>
                    <a:pt x="153" y="625"/>
                    <a:pt x="152" y="618"/>
                  </a:cubicBezTo>
                  <a:cubicBezTo>
                    <a:pt x="145" y="605"/>
                    <a:pt x="135" y="584"/>
                    <a:pt x="104" y="587"/>
                  </a:cubicBezTo>
                  <a:cubicBezTo>
                    <a:pt x="87" y="589"/>
                    <a:pt x="72" y="597"/>
                    <a:pt x="61" y="603"/>
                  </a:cubicBezTo>
                  <a:cubicBezTo>
                    <a:pt x="53" y="610"/>
                    <a:pt x="44" y="613"/>
                    <a:pt x="33" y="615"/>
                  </a:cubicBezTo>
                  <a:cubicBezTo>
                    <a:pt x="33" y="612"/>
                    <a:pt x="31" y="608"/>
                    <a:pt x="31" y="605"/>
                  </a:cubicBezTo>
                  <a:cubicBezTo>
                    <a:pt x="30" y="600"/>
                    <a:pt x="28" y="595"/>
                    <a:pt x="26" y="590"/>
                  </a:cubicBezTo>
                  <a:cubicBezTo>
                    <a:pt x="25" y="575"/>
                    <a:pt x="26" y="559"/>
                    <a:pt x="28" y="544"/>
                  </a:cubicBezTo>
                  <a:lnTo>
                    <a:pt x="41" y="460"/>
                  </a:lnTo>
                  <a:cubicBezTo>
                    <a:pt x="44" y="440"/>
                    <a:pt x="48" y="417"/>
                    <a:pt x="39" y="394"/>
                  </a:cubicBezTo>
                  <a:cubicBezTo>
                    <a:pt x="35" y="381"/>
                    <a:pt x="26" y="369"/>
                    <a:pt x="20" y="358"/>
                  </a:cubicBezTo>
                  <a:cubicBezTo>
                    <a:pt x="11" y="346"/>
                    <a:pt x="3" y="335"/>
                    <a:pt x="2" y="32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1" name="Freeform 37">
              <a:extLst>
                <a:ext uri="{FF2B5EF4-FFF2-40B4-BE49-F238E27FC236}">
                  <a16:creationId xmlns:a16="http://schemas.microsoft.com/office/drawing/2014/main" id="{A8CC764C-904A-EB4D-AB49-40B35311F7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7600" y="2794000"/>
              <a:ext cx="230188" cy="209550"/>
            </a:xfrm>
            <a:custGeom>
              <a:avLst/>
              <a:gdLst>
                <a:gd name="T0" fmla="*/ 3 w 638"/>
                <a:gd name="T1" fmla="*/ 442 h 581"/>
                <a:gd name="T2" fmla="*/ 4 w 638"/>
                <a:gd name="T3" fmla="*/ 442 h 581"/>
                <a:gd name="T4" fmla="*/ 4 w 638"/>
                <a:gd name="T5" fmla="*/ 442 h 581"/>
                <a:gd name="T6" fmla="*/ 14 w 638"/>
                <a:gd name="T7" fmla="*/ 417 h 581"/>
                <a:gd name="T8" fmla="*/ 52 w 638"/>
                <a:gd name="T9" fmla="*/ 396 h 581"/>
                <a:gd name="T10" fmla="*/ 52 w 638"/>
                <a:gd name="T11" fmla="*/ 396 h 581"/>
                <a:gd name="T12" fmla="*/ 64 w 638"/>
                <a:gd name="T13" fmla="*/ 402 h 581"/>
                <a:gd name="T14" fmla="*/ 93 w 638"/>
                <a:gd name="T15" fmla="*/ 412 h 581"/>
                <a:gd name="T16" fmla="*/ 125 w 638"/>
                <a:gd name="T17" fmla="*/ 389 h 581"/>
                <a:gd name="T18" fmla="*/ 131 w 638"/>
                <a:gd name="T19" fmla="*/ 300 h 581"/>
                <a:gd name="T20" fmla="*/ 123 w 638"/>
                <a:gd name="T21" fmla="*/ 282 h 581"/>
                <a:gd name="T22" fmla="*/ 113 w 638"/>
                <a:gd name="T23" fmla="*/ 254 h 581"/>
                <a:gd name="T24" fmla="*/ 125 w 638"/>
                <a:gd name="T25" fmla="*/ 239 h 581"/>
                <a:gd name="T26" fmla="*/ 141 w 638"/>
                <a:gd name="T27" fmla="*/ 218 h 581"/>
                <a:gd name="T28" fmla="*/ 143 w 638"/>
                <a:gd name="T29" fmla="*/ 183 h 581"/>
                <a:gd name="T30" fmla="*/ 143 w 638"/>
                <a:gd name="T31" fmla="*/ 162 h 581"/>
                <a:gd name="T32" fmla="*/ 163 w 638"/>
                <a:gd name="T33" fmla="*/ 116 h 581"/>
                <a:gd name="T34" fmla="*/ 191 w 638"/>
                <a:gd name="T35" fmla="*/ 106 h 581"/>
                <a:gd name="T36" fmla="*/ 243 w 638"/>
                <a:gd name="T37" fmla="*/ 66 h 581"/>
                <a:gd name="T38" fmla="*/ 286 w 638"/>
                <a:gd name="T39" fmla="*/ 25 h 581"/>
                <a:gd name="T40" fmla="*/ 306 w 638"/>
                <a:gd name="T41" fmla="*/ 20 h 581"/>
                <a:gd name="T42" fmla="*/ 322 w 638"/>
                <a:gd name="T43" fmla="*/ 14 h 581"/>
                <a:gd name="T44" fmla="*/ 329 w 638"/>
                <a:gd name="T45" fmla="*/ 10 h 581"/>
                <a:gd name="T46" fmla="*/ 350 w 638"/>
                <a:gd name="T47" fmla="*/ 2 h 581"/>
                <a:gd name="T48" fmla="*/ 352 w 638"/>
                <a:gd name="T49" fmla="*/ 2 h 581"/>
                <a:gd name="T50" fmla="*/ 397 w 638"/>
                <a:gd name="T51" fmla="*/ 10 h 581"/>
                <a:gd name="T52" fmla="*/ 438 w 638"/>
                <a:gd name="T53" fmla="*/ 46 h 581"/>
                <a:gd name="T54" fmla="*/ 472 w 638"/>
                <a:gd name="T55" fmla="*/ 86 h 581"/>
                <a:gd name="T56" fmla="*/ 533 w 638"/>
                <a:gd name="T57" fmla="*/ 99 h 581"/>
                <a:gd name="T58" fmla="*/ 573 w 638"/>
                <a:gd name="T59" fmla="*/ 107 h 581"/>
                <a:gd name="T60" fmla="*/ 602 w 638"/>
                <a:gd name="T61" fmla="*/ 196 h 581"/>
                <a:gd name="T62" fmla="*/ 599 w 638"/>
                <a:gd name="T63" fmla="*/ 224 h 581"/>
                <a:gd name="T64" fmla="*/ 611 w 638"/>
                <a:gd name="T65" fmla="*/ 327 h 581"/>
                <a:gd name="T66" fmla="*/ 637 w 638"/>
                <a:gd name="T67" fmla="*/ 353 h 581"/>
                <a:gd name="T68" fmla="*/ 624 w 638"/>
                <a:gd name="T69" fmla="*/ 379 h 581"/>
                <a:gd name="T70" fmla="*/ 624 w 638"/>
                <a:gd name="T71" fmla="*/ 409 h 581"/>
                <a:gd name="T72" fmla="*/ 626 w 638"/>
                <a:gd name="T73" fmla="*/ 429 h 581"/>
                <a:gd name="T74" fmla="*/ 553 w 638"/>
                <a:gd name="T75" fmla="*/ 455 h 581"/>
                <a:gd name="T76" fmla="*/ 522 w 638"/>
                <a:gd name="T77" fmla="*/ 462 h 581"/>
                <a:gd name="T78" fmla="*/ 469 w 638"/>
                <a:gd name="T79" fmla="*/ 500 h 581"/>
                <a:gd name="T80" fmla="*/ 428 w 638"/>
                <a:gd name="T81" fmla="*/ 528 h 581"/>
                <a:gd name="T82" fmla="*/ 413 w 638"/>
                <a:gd name="T83" fmla="*/ 528 h 581"/>
                <a:gd name="T84" fmla="*/ 364 w 638"/>
                <a:gd name="T85" fmla="*/ 542 h 581"/>
                <a:gd name="T86" fmla="*/ 345 w 638"/>
                <a:gd name="T87" fmla="*/ 562 h 581"/>
                <a:gd name="T88" fmla="*/ 304 w 638"/>
                <a:gd name="T89" fmla="*/ 544 h 581"/>
                <a:gd name="T90" fmla="*/ 278 w 638"/>
                <a:gd name="T91" fmla="*/ 534 h 581"/>
                <a:gd name="T92" fmla="*/ 156 w 638"/>
                <a:gd name="T93" fmla="*/ 544 h 581"/>
                <a:gd name="T94" fmla="*/ 130 w 638"/>
                <a:gd name="T95" fmla="*/ 551 h 581"/>
                <a:gd name="T96" fmla="*/ 105 w 638"/>
                <a:gd name="T97" fmla="*/ 557 h 581"/>
                <a:gd name="T98" fmla="*/ 87 w 638"/>
                <a:gd name="T99" fmla="*/ 570 h 581"/>
                <a:gd name="T100" fmla="*/ 74 w 638"/>
                <a:gd name="T101" fmla="*/ 579 h 581"/>
                <a:gd name="T102" fmla="*/ 31 w 638"/>
                <a:gd name="T103" fmla="*/ 536 h 581"/>
                <a:gd name="T104" fmla="*/ 14 w 638"/>
                <a:gd name="T105" fmla="*/ 511 h 581"/>
                <a:gd name="T106" fmla="*/ 0 w 638"/>
                <a:gd name="T107" fmla="*/ 470 h 581"/>
                <a:gd name="T108" fmla="*/ 0 w 638"/>
                <a:gd name="T109" fmla="*/ 463 h 581"/>
                <a:gd name="T110" fmla="*/ 3 w 638"/>
                <a:gd name="T111" fmla="*/ 442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8" h="581">
                  <a:moveTo>
                    <a:pt x="3" y="442"/>
                  </a:moveTo>
                  <a:lnTo>
                    <a:pt x="4" y="442"/>
                  </a:lnTo>
                  <a:lnTo>
                    <a:pt x="4" y="442"/>
                  </a:lnTo>
                  <a:cubicBezTo>
                    <a:pt x="6" y="432"/>
                    <a:pt x="9" y="425"/>
                    <a:pt x="14" y="417"/>
                  </a:cubicBezTo>
                  <a:cubicBezTo>
                    <a:pt x="24" y="404"/>
                    <a:pt x="37" y="396"/>
                    <a:pt x="52" y="396"/>
                  </a:cubicBezTo>
                  <a:lnTo>
                    <a:pt x="52" y="396"/>
                  </a:lnTo>
                  <a:cubicBezTo>
                    <a:pt x="56" y="397"/>
                    <a:pt x="59" y="401"/>
                    <a:pt x="64" y="402"/>
                  </a:cubicBezTo>
                  <a:cubicBezTo>
                    <a:pt x="72" y="407"/>
                    <a:pt x="82" y="414"/>
                    <a:pt x="93" y="412"/>
                  </a:cubicBezTo>
                  <a:cubicBezTo>
                    <a:pt x="107" y="411"/>
                    <a:pt x="118" y="402"/>
                    <a:pt x="125" y="389"/>
                  </a:cubicBezTo>
                  <a:cubicBezTo>
                    <a:pt x="141" y="363"/>
                    <a:pt x="138" y="320"/>
                    <a:pt x="131" y="300"/>
                  </a:cubicBezTo>
                  <a:cubicBezTo>
                    <a:pt x="130" y="294"/>
                    <a:pt x="126" y="289"/>
                    <a:pt x="123" y="282"/>
                  </a:cubicBezTo>
                  <a:cubicBezTo>
                    <a:pt x="116" y="271"/>
                    <a:pt x="112" y="262"/>
                    <a:pt x="113" y="254"/>
                  </a:cubicBezTo>
                  <a:cubicBezTo>
                    <a:pt x="115" y="249"/>
                    <a:pt x="120" y="244"/>
                    <a:pt x="125" y="239"/>
                  </a:cubicBezTo>
                  <a:cubicBezTo>
                    <a:pt x="131" y="234"/>
                    <a:pt x="138" y="228"/>
                    <a:pt x="141" y="218"/>
                  </a:cubicBezTo>
                  <a:cubicBezTo>
                    <a:pt x="144" y="206"/>
                    <a:pt x="143" y="195"/>
                    <a:pt x="143" y="183"/>
                  </a:cubicBezTo>
                  <a:cubicBezTo>
                    <a:pt x="141" y="175"/>
                    <a:pt x="141" y="168"/>
                    <a:pt x="143" y="162"/>
                  </a:cubicBezTo>
                  <a:cubicBezTo>
                    <a:pt x="146" y="145"/>
                    <a:pt x="153" y="124"/>
                    <a:pt x="163" y="116"/>
                  </a:cubicBezTo>
                  <a:cubicBezTo>
                    <a:pt x="171" y="109"/>
                    <a:pt x="181" y="107"/>
                    <a:pt x="191" y="106"/>
                  </a:cubicBezTo>
                  <a:cubicBezTo>
                    <a:pt x="209" y="102"/>
                    <a:pt x="232" y="98"/>
                    <a:pt x="243" y="66"/>
                  </a:cubicBezTo>
                  <a:cubicBezTo>
                    <a:pt x="255" y="33"/>
                    <a:pt x="258" y="32"/>
                    <a:pt x="286" y="25"/>
                  </a:cubicBezTo>
                  <a:cubicBezTo>
                    <a:pt x="291" y="23"/>
                    <a:pt x="298" y="22"/>
                    <a:pt x="306" y="20"/>
                  </a:cubicBezTo>
                  <a:cubicBezTo>
                    <a:pt x="313" y="18"/>
                    <a:pt x="317" y="15"/>
                    <a:pt x="322" y="14"/>
                  </a:cubicBezTo>
                  <a:cubicBezTo>
                    <a:pt x="324" y="12"/>
                    <a:pt x="326" y="12"/>
                    <a:pt x="329" y="10"/>
                  </a:cubicBezTo>
                  <a:cubicBezTo>
                    <a:pt x="336" y="7"/>
                    <a:pt x="342" y="4"/>
                    <a:pt x="350" y="2"/>
                  </a:cubicBezTo>
                  <a:cubicBezTo>
                    <a:pt x="350" y="2"/>
                    <a:pt x="350" y="2"/>
                    <a:pt x="352" y="2"/>
                  </a:cubicBezTo>
                  <a:cubicBezTo>
                    <a:pt x="365" y="0"/>
                    <a:pt x="383" y="5"/>
                    <a:pt x="397" y="10"/>
                  </a:cubicBezTo>
                  <a:cubicBezTo>
                    <a:pt x="416" y="17"/>
                    <a:pt x="426" y="30"/>
                    <a:pt x="438" y="46"/>
                  </a:cubicBezTo>
                  <a:cubicBezTo>
                    <a:pt x="448" y="60"/>
                    <a:pt x="457" y="74"/>
                    <a:pt x="472" y="86"/>
                  </a:cubicBezTo>
                  <a:cubicBezTo>
                    <a:pt x="492" y="99"/>
                    <a:pt x="514" y="99"/>
                    <a:pt x="533" y="99"/>
                  </a:cubicBezTo>
                  <a:cubicBezTo>
                    <a:pt x="550" y="99"/>
                    <a:pt x="565" y="99"/>
                    <a:pt x="573" y="107"/>
                  </a:cubicBezTo>
                  <a:cubicBezTo>
                    <a:pt x="598" y="130"/>
                    <a:pt x="606" y="170"/>
                    <a:pt x="602" y="196"/>
                  </a:cubicBezTo>
                  <a:cubicBezTo>
                    <a:pt x="602" y="206"/>
                    <a:pt x="601" y="216"/>
                    <a:pt x="599" y="224"/>
                  </a:cubicBezTo>
                  <a:cubicBezTo>
                    <a:pt x="593" y="259"/>
                    <a:pt x="586" y="297"/>
                    <a:pt x="611" y="327"/>
                  </a:cubicBezTo>
                  <a:cubicBezTo>
                    <a:pt x="619" y="336"/>
                    <a:pt x="629" y="346"/>
                    <a:pt x="637" y="353"/>
                  </a:cubicBezTo>
                  <a:cubicBezTo>
                    <a:pt x="632" y="361"/>
                    <a:pt x="627" y="369"/>
                    <a:pt x="624" y="379"/>
                  </a:cubicBezTo>
                  <a:cubicBezTo>
                    <a:pt x="621" y="391"/>
                    <a:pt x="622" y="401"/>
                    <a:pt x="624" y="409"/>
                  </a:cubicBezTo>
                  <a:cubicBezTo>
                    <a:pt x="626" y="419"/>
                    <a:pt x="627" y="424"/>
                    <a:pt x="626" y="429"/>
                  </a:cubicBezTo>
                  <a:cubicBezTo>
                    <a:pt x="617" y="447"/>
                    <a:pt x="581" y="452"/>
                    <a:pt x="553" y="455"/>
                  </a:cubicBezTo>
                  <a:cubicBezTo>
                    <a:pt x="540" y="458"/>
                    <a:pt x="530" y="460"/>
                    <a:pt x="522" y="462"/>
                  </a:cubicBezTo>
                  <a:cubicBezTo>
                    <a:pt x="497" y="468"/>
                    <a:pt x="482" y="486"/>
                    <a:pt x="469" y="500"/>
                  </a:cubicBezTo>
                  <a:cubicBezTo>
                    <a:pt x="456" y="516"/>
                    <a:pt x="446" y="528"/>
                    <a:pt x="428" y="528"/>
                  </a:cubicBezTo>
                  <a:cubicBezTo>
                    <a:pt x="423" y="528"/>
                    <a:pt x="418" y="528"/>
                    <a:pt x="413" y="528"/>
                  </a:cubicBezTo>
                  <a:cubicBezTo>
                    <a:pt x="398" y="528"/>
                    <a:pt x="382" y="526"/>
                    <a:pt x="364" y="542"/>
                  </a:cubicBezTo>
                  <a:cubicBezTo>
                    <a:pt x="357" y="547"/>
                    <a:pt x="352" y="556"/>
                    <a:pt x="345" y="562"/>
                  </a:cubicBezTo>
                  <a:cubicBezTo>
                    <a:pt x="332" y="556"/>
                    <a:pt x="317" y="551"/>
                    <a:pt x="304" y="544"/>
                  </a:cubicBezTo>
                  <a:cubicBezTo>
                    <a:pt x="294" y="541"/>
                    <a:pt x="286" y="537"/>
                    <a:pt x="278" y="534"/>
                  </a:cubicBezTo>
                  <a:cubicBezTo>
                    <a:pt x="232" y="513"/>
                    <a:pt x="196" y="526"/>
                    <a:pt x="156" y="544"/>
                  </a:cubicBezTo>
                  <a:cubicBezTo>
                    <a:pt x="151" y="546"/>
                    <a:pt x="141" y="549"/>
                    <a:pt x="130" y="551"/>
                  </a:cubicBezTo>
                  <a:cubicBezTo>
                    <a:pt x="121" y="551"/>
                    <a:pt x="113" y="552"/>
                    <a:pt x="105" y="557"/>
                  </a:cubicBezTo>
                  <a:cubicBezTo>
                    <a:pt x="95" y="560"/>
                    <a:pt x="90" y="567"/>
                    <a:pt x="87" y="570"/>
                  </a:cubicBezTo>
                  <a:cubicBezTo>
                    <a:pt x="80" y="577"/>
                    <a:pt x="79" y="579"/>
                    <a:pt x="74" y="579"/>
                  </a:cubicBezTo>
                  <a:cubicBezTo>
                    <a:pt x="59" y="580"/>
                    <a:pt x="44" y="556"/>
                    <a:pt x="31" y="536"/>
                  </a:cubicBezTo>
                  <a:cubicBezTo>
                    <a:pt x="26" y="528"/>
                    <a:pt x="19" y="518"/>
                    <a:pt x="14" y="511"/>
                  </a:cubicBezTo>
                  <a:cubicBezTo>
                    <a:pt x="4" y="500"/>
                    <a:pt x="0" y="485"/>
                    <a:pt x="0" y="470"/>
                  </a:cubicBezTo>
                  <a:cubicBezTo>
                    <a:pt x="0" y="468"/>
                    <a:pt x="0" y="465"/>
                    <a:pt x="0" y="463"/>
                  </a:cubicBezTo>
                  <a:cubicBezTo>
                    <a:pt x="0" y="457"/>
                    <a:pt x="1" y="448"/>
                    <a:pt x="3" y="44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2" name="Freeform 38">
              <a:extLst>
                <a:ext uri="{FF2B5EF4-FFF2-40B4-BE49-F238E27FC236}">
                  <a16:creationId xmlns:a16="http://schemas.microsoft.com/office/drawing/2014/main" id="{36C22F1E-E249-B84A-8BB6-8D2121131C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7275" y="3279775"/>
              <a:ext cx="261938" cy="227013"/>
            </a:xfrm>
            <a:custGeom>
              <a:avLst/>
              <a:gdLst>
                <a:gd name="T0" fmla="*/ 688 w 726"/>
                <a:gd name="T1" fmla="*/ 488 h 629"/>
                <a:gd name="T2" fmla="*/ 688 w 726"/>
                <a:gd name="T3" fmla="*/ 501 h 629"/>
                <a:gd name="T4" fmla="*/ 679 w 726"/>
                <a:gd name="T5" fmla="*/ 524 h 629"/>
                <a:gd name="T6" fmla="*/ 670 w 726"/>
                <a:gd name="T7" fmla="*/ 530 h 629"/>
                <a:gd name="T8" fmla="*/ 649 w 726"/>
                <a:gd name="T9" fmla="*/ 605 h 629"/>
                <a:gd name="T10" fmla="*/ 637 w 726"/>
                <a:gd name="T11" fmla="*/ 624 h 629"/>
                <a:gd name="T12" fmla="*/ 575 w 726"/>
                <a:gd name="T13" fmla="*/ 601 h 629"/>
                <a:gd name="T14" fmla="*/ 534 w 726"/>
                <a:gd name="T15" fmla="*/ 577 h 629"/>
                <a:gd name="T16" fmla="*/ 491 w 726"/>
                <a:gd name="T17" fmla="*/ 581 h 629"/>
                <a:gd name="T18" fmla="*/ 482 w 726"/>
                <a:gd name="T19" fmla="*/ 588 h 629"/>
                <a:gd name="T20" fmla="*/ 451 w 726"/>
                <a:gd name="T21" fmla="*/ 586 h 629"/>
                <a:gd name="T22" fmla="*/ 400 w 726"/>
                <a:gd name="T23" fmla="*/ 562 h 629"/>
                <a:gd name="T24" fmla="*/ 395 w 726"/>
                <a:gd name="T25" fmla="*/ 539 h 629"/>
                <a:gd name="T26" fmla="*/ 339 w 726"/>
                <a:gd name="T27" fmla="*/ 469 h 629"/>
                <a:gd name="T28" fmla="*/ 288 w 726"/>
                <a:gd name="T29" fmla="*/ 468 h 629"/>
                <a:gd name="T30" fmla="*/ 252 w 726"/>
                <a:gd name="T31" fmla="*/ 494 h 629"/>
                <a:gd name="T32" fmla="*/ 207 w 726"/>
                <a:gd name="T33" fmla="*/ 408 h 629"/>
                <a:gd name="T34" fmla="*/ 199 w 726"/>
                <a:gd name="T35" fmla="*/ 371 h 629"/>
                <a:gd name="T36" fmla="*/ 155 w 726"/>
                <a:gd name="T37" fmla="*/ 282 h 629"/>
                <a:gd name="T38" fmla="*/ 90 w 726"/>
                <a:gd name="T39" fmla="*/ 272 h 629"/>
                <a:gd name="T40" fmla="*/ 15 w 726"/>
                <a:gd name="T41" fmla="*/ 219 h 629"/>
                <a:gd name="T42" fmla="*/ 41 w 726"/>
                <a:gd name="T43" fmla="*/ 183 h 629"/>
                <a:gd name="T44" fmla="*/ 94 w 726"/>
                <a:gd name="T45" fmla="*/ 125 h 629"/>
                <a:gd name="T46" fmla="*/ 186 w 726"/>
                <a:gd name="T47" fmla="*/ 64 h 629"/>
                <a:gd name="T48" fmla="*/ 221 w 726"/>
                <a:gd name="T49" fmla="*/ 10 h 629"/>
                <a:gd name="T50" fmla="*/ 234 w 726"/>
                <a:gd name="T51" fmla="*/ 0 h 629"/>
                <a:gd name="T52" fmla="*/ 277 w 726"/>
                <a:gd name="T53" fmla="*/ 46 h 629"/>
                <a:gd name="T54" fmla="*/ 316 w 726"/>
                <a:gd name="T55" fmla="*/ 91 h 629"/>
                <a:gd name="T56" fmla="*/ 336 w 726"/>
                <a:gd name="T57" fmla="*/ 110 h 629"/>
                <a:gd name="T58" fmla="*/ 357 w 726"/>
                <a:gd name="T59" fmla="*/ 137 h 629"/>
                <a:gd name="T60" fmla="*/ 372 w 726"/>
                <a:gd name="T61" fmla="*/ 163 h 629"/>
                <a:gd name="T62" fmla="*/ 382 w 726"/>
                <a:gd name="T63" fmla="*/ 250 h 629"/>
                <a:gd name="T64" fmla="*/ 400 w 726"/>
                <a:gd name="T65" fmla="*/ 316 h 629"/>
                <a:gd name="T66" fmla="*/ 410 w 726"/>
                <a:gd name="T67" fmla="*/ 336 h 629"/>
                <a:gd name="T68" fmla="*/ 431 w 726"/>
                <a:gd name="T69" fmla="*/ 371 h 629"/>
                <a:gd name="T70" fmla="*/ 517 w 726"/>
                <a:gd name="T71" fmla="*/ 369 h 629"/>
                <a:gd name="T72" fmla="*/ 558 w 726"/>
                <a:gd name="T73" fmla="*/ 357 h 629"/>
                <a:gd name="T74" fmla="*/ 631 w 726"/>
                <a:gd name="T75" fmla="*/ 338 h 629"/>
                <a:gd name="T76" fmla="*/ 667 w 726"/>
                <a:gd name="T77" fmla="*/ 321 h 629"/>
                <a:gd name="T78" fmla="*/ 665 w 726"/>
                <a:gd name="T79" fmla="*/ 331 h 629"/>
                <a:gd name="T80" fmla="*/ 710 w 726"/>
                <a:gd name="T81" fmla="*/ 399 h 629"/>
                <a:gd name="T82" fmla="*/ 725 w 726"/>
                <a:gd name="T83" fmla="*/ 422 h 6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26" h="629">
                  <a:moveTo>
                    <a:pt x="710" y="448"/>
                  </a:moveTo>
                  <a:cubicBezTo>
                    <a:pt x="700" y="460"/>
                    <a:pt x="690" y="471"/>
                    <a:pt x="688" y="488"/>
                  </a:cubicBezTo>
                  <a:cubicBezTo>
                    <a:pt x="688" y="491"/>
                    <a:pt x="688" y="494"/>
                    <a:pt x="688" y="499"/>
                  </a:cubicBezTo>
                  <a:lnTo>
                    <a:pt x="688" y="501"/>
                  </a:lnTo>
                  <a:cubicBezTo>
                    <a:pt x="688" y="506"/>
                    <a:pt x="688" y="511"/>
                    <a:pt x="687" y="514"/>
                  </a:cubicBezTo>
                  <a:cubicBezTo>
                    <a:pt x="685" y="517"/>
                    <a:pt x="682" y="521"/>
                    <a:pt x="679" y="524"/>
                  </a:cubicBezTo>
                  <a:lnTo>
                    <a:pt x="677" y="525"/>
                  </a:lnTo>
                  <a:cubicBezTo>
                    <a:pt x="675" y="527"/>
                    <a:pt x="672" y="529"/>
                    <a:pt x="670" y="530"/>
                  </a:cubicBezTo>
                  <a:cubicBezTo>
                    <a:pt x="654" y="549"/>
                    <a:pt x="646" y="573"/>
                    <a:pt x="649" y="598"/>
                  </a:cubicBezTo>
                  <a:lnTo>
                    <a:pt x="649" y="605"/>
                  </a:lnTo>
                  <a:cubicBezTo>
                    <a:pt x="650" y="609"/>
                    <a:pt x="652" y="614"/>
                    <a:pt x="650" y="618"/>
                  </a:cubicBezTo>
                  <a:cubicBezTo>
                    <a:pt x="649" y="621"/>
                    <a:pt x="644" y="623"/>
                    <a:pt x="637" y="624"/>
                  </a:cubicBezTo>
                  <a:cubicBezTo>
                    <a:pt x="616" y="628"/>
                    <a:pt x="594" y="619"/>
                    <a:pt x="581" y="606"/>
                  </a:cubicBezTo>
                  <a:cubicBezTo>
                    <a:pt x="580" y="605"/>
                    <a:pt x="578" y="603"/>
                    <a:pt x="575" y="601"/>
                  </a:cubicBezTo>
                  <a:cubicBezTo>
                    <a:pt x="571" y="595"/>
                    <a:pt x="566" y="590"/>
                    <a:pt x="560" y="586"/>
                  </a:cubicBezTo>
                  <a:cubicBezTo>
                    <a:pt x="550" y="580"/>
                    <a:pt x="542" y="578"/>
                    <a:pt x="534" y="577"/>
                  </a:cubicBezTo>
                  <a:cubicBezTo>
                    <a:pt x="525" y="575"/>
                    <a:pt x="515" y="573"/>
                    <a:pt x="507" y="575"/>
                  </a:cubicBezTo>
                  <a:cubicBezTo>
                    <a:pt x="501" y="575"/>
                    <a:pt x="496" y="577"/>
                    <a:pt x="491" y="581"/>
                  </a:cubicBezTo>
                  <a:cubicBezTo>
                    <a:pt x="487" y="581"/>
                    <a:pt x="486" y="585"/>
                    <a:pt x="484" y="586"/>
                  </a:cubicBezTo>
                  <a:cubicBezTo>
                    <a:pt x="482" y="586"/>
                    <a:pt x="482" y="586"/>
                    <a:pt x="482" y="588"/>
                  </a:cubicBezTo>
                  <a:cubicBezTo>
                    <a:pt x="482" y="588"/>
                    <a:pt x="481" y="590"/>
                    <a:pt x="479" y="590"/>
                  </a:cubicBezTo>
                  <a:cubicBezTo>
                    <a:pt x="473" y="595"/>
                    <a:pt x="461" y="590"/>
                    <a:pt x="451" y="586"/>
                  </a:cubicBezTo>
                  <a:lnTo>
                    <a:pt x="423" y="577"/>
                  </a:lnTo>
                  <a:cubicBezTo>
                    <a:pt x="413" y="572"/>
                    <a:pt x="403" y="568"/>
                    <a:pt x="400" y="562"/>
                  </a:cubicBezTo>
                  <a:cubicBezTo>
                    <a:pt x="398" y="557"/>
                    <a:pt x="397" y="552"/>
                    <a:pt x="395" y="545"/>
                  </a:cubicBezTo>
                  <a:lnTo>
                    <a:pt x="395" y="539"/>
                  </a:lnTo>
                  <a:cubicBezTo>
                    <a:pt x="394" y="524"/>
                    <a:pt x="389" y="511"/>
                    <a:pt x="382" y="497"/>
                  </a:cubicBezTo>
                  <a:cubicBezTo>
                    <a:pt x="370" y="476"/>
                    <a:pt x="354" y="471"/>
                    <a:pt x="339" y="469"/>
                  </a:cubicBezTo>
                  <a:cubicBezTo>
                    <a:pt x="336" y="469"/>
                    <a:pt x="331" y="468"/>
                    <a:pt x="328" y="468"/>
                  </a:cubicBezTo>
                  <a:cubicBezTo>
                    <a:pt x="318" y="465"/>
                    <a:pt x="303" y="461"/>
                    <a:pt x="288" y="468"/>
                  </a:cubicBezTo>
                  <a:cubicBezTo>
                    <a:pt x="280" y="473"/>
                    <a:pt x="275" y="478"/>
                    <a:pt x="268" y="483"/>
                  </a:cubicBezTo>
                  <a:cubicBezTo>
                    <a:pt x="262" y="489"/>
                    <a:pt x="257" y="494"/>
                    <a:pt x="252" y="494"/>
                  </a:cubicBezTo>
                  <a:cubicBezTo>
                    <a:pt x="245" y="496"/>
                    <a:pt x="235" y="483"/>
                    <a:pt x="230" y="469"/>
                  </a:cubicBezTo>
                  <a:lnTo>
                    <a:pt x="207" y="408"/>
                  </a:lnTo>
                  <a:cubicBezTo>
                    <a:pt x="204" y="400"/>
                    <a:pt x="201" y="394"/>
                    <a:pt x="201" y="385"/>
                  </a:cubicBezTo>
                  <a:cubicBezTo>
                    <a:pt x="199" y="380"/>
                    <a:pt x="199" y="376"/>
                    <a:pt x="199" y="371"/>
                  </a:cubicBezTo>
                  <a:cubicBezTo>
                    <a:pt x="199" y="366"/>
                    <a:pt x="201" y="362"/>
                    <a:pt x="201" y="359"/>
                  </a:cubicBezTo>
                  <a:cubicBezTo>
                    <a:pt x="199" y="331"/>
                    <a:pt x="186" y="295"/>
                    <a:pt x="155" y="282"/>
                  </a:cubicBezTo>
                  <a:cubicBezTo>
                    <a:pt x="141" y="275"/>
                    <a:pt x="127" y="275"/>
                    <a:pt x="112" y="275"/>
                  </a:cubicBezTo>
                  <a:cubicBezTo>
                    <a:pt x="105" y="273"/>
                    <a:pt x="97" y="273"/>
                    <a:pt x="90" y="272"/>
                  </a:cubicBezTo>
                  <a:cubicBezTo>
                    <a:pt x="59" y="267"/>
                    <a:pt x="38" y="254"/>
                    <a:pt x="24" y="232"/>
                  </a:cubicBezTo>
                  <a:lnTo>
                    <a:pt x="15" y="219"/>
                  </a:lnTo>
                  <a:cubicBezTo>
                    <a:pt x="10" y="211"/>
                    <a:pt x="5" y="204"/>
                    <a:pt x="0" y="198"/>
                  </a:cubicBezTo>
                  <a:cubicBezTo>
                    <a:pt x="13" y="198"/>
                    <a:pt x="26" y="196"/>
                    <a:pt x="41" y="183"/>
                  </a:cubicBezTo>
                  <a:cubicBezTo>
                    <a:pt x="52" y="173"/>
                    <a:pt x="64" y="160"/>
                    <a:pt x="74" y="148"/>
                  </a:cubicBezTo>
                  <a:cubicBezTo>
                    <a:pt x="80" y="140"/>
                    <a:pt x="87" y="132"/>
                    <a:pt x="94" y="125"/>
                  </a:cubicBezTo>
                  <a:cubicBezTo>
                    <a:pt x="104" y="115"/>
                    <a:pt x="117" y="109"/>
                    <a:pt x="132" y="102"/>
                  </a:cubicBezTo>
                  <a:cubicBezTo>
                    <a:pt x="151" y="94"/>
                    <a:pt x="171" y="84"/>
                    <a:pt x="186" y="64"/>
                  </a:cubicBezTo>
                  <a:cubicBezTo>
                    <a:pt x="193" y="56"/>
                    <a:pt x="197" y="48"/>
                    <a:pt x="201" y="39"/>
                  </a:cubicBezTo>
                  <a:cubicBezTo>
                    <a:pt x="206" y="28"/>
                    <a:pt x="211" y="18"/>
                    <a:pt x="221" y="10"/>
                  </a:cubicBezTo>
                  <a:cubicBezTo>
                    <a:pt x="224" y="8"/>
                    <a:pt x="227" y="5"/>
                    <a:pt x="230" y="3"/>
                  </a:cubicBezTo>
                  <a:lnTo>
                    <a:pt x="234" y="0"/>
                  </a:lnTo>
                  <a:cubicBezTo>
                    <a:pt x="249" y="10"/>
                    <a:pt x="262" y="20"/>
                    <a:pt x="270" y="35"/>
                  </a:cubicBezTo>
                  <a:cubicBezTo>
                    <a:pt x="272" y="39"/>
                    <a:pt x="273" y="43"/>
                    <a:pt x="277" y="46"/>
                  </a:cubicBezTo>
                  <a:cubicBezTo>
                    <a:pt x="281" y="58"/>
                    <a:pt x="286" y="69"/>
                    <a:pt x="296" y="77"/>
                  </a:cubicBezTo>
                  <a:cubicBezTo>
                    <a:pt x="303" y="82"/>
                    <a:pt x="309" y="86"/>
                    <a:pt x="316" y="91"/>
                  </a:cubicBezTo>
                  <a:cubicBezTo>
                    <a:pt x="323" y="94"/>
                    <a:pt x="329" y="97"/>
                    <a:pt x="333" y="102"/>
                  </a:cubicBezTo>
                  <a:cubicBezTo>
                    <a:pt x="334" y="105"/>
                    <a:pt x="334" y="107"/>
                    <a:pt x="336" y="110"/>
                  </a:cubicBezTo>
                  <a:cubicBezTo>
                    <a:pt x="337" y="117"/>
                    <a:pt x="341" y="123"/>
                    <a:pt x="347" y="130"/>
                  </a:cubicBezTo>
                  <a:cubicBezTo>
                    <a:pt x="351" y="133"/>
                    <a:pt x="356" y="135"/>
                    <a:pt x="357" y="137"/>
                  </a:cubicBezTo>
                  <a:cubicBezTo>
                    <a:pt x="359" y="138"/>
                    <a:pt x="361" y="138"/>
                    <a:pt x="362" y="138"/>
                  </a:cubicBezTo>
                  <a:cubicBezTo>
                    <a:pt x="367" y="143"/>
                    <a:pt x="370" y="153"/>
                    <a:pt x="372" y="163"/>
                  </a:cubicBezTo>
                  <a:cubicBezTo>
                    <a:pt x="377" y="191"/>
                    <a:pt x="380" y="219"/>
                    <a:pt x="382" y="245"/>
                  </a:cubicBezTo>
                  <a:lnTo>
                    <a:pt x="382" y="250"/>
                  </a:lnTo>
                  <a:cubicBezTo>
                    <a:pt x="382" y="267"/>
                    <a:pt x="382" y="287"/>
                    <a:pt x="392" y="305"/>
                  </a:cubicBezTo>
                  <a:cubicBezTo>
                    <a:pt x="395" y="308"/>
                    <a:pt x="398" y="313"/>
                    <a:pt x="400" y="316"/>
                  </a:cubicBezTo>
                  <a:cubicBezTo>
                    <a:pt x="403" y="321"/>
                    <a:pt x="408" y="326"/>
                    <a:pt x="408" y="331"/>
                  </a:cubicBezTo>
                  <a:cubicBezTo>
                    <a:pt x="408" y="333"/>
                    <a:pt x="410" y="334"/>
                    <a:pt x="410" y="336"/>
                  </a:cubicBezTo>
                  <a:cubicBezTo>
                    <a:pt x="410" y="341"/>
                    <a:pt x="412" y="344"/>
                    <a:pt x="413" y="349"/>
                  </a:cubicBezTo>
                  <a:cubicBezTo>
                    <a:pt x="418" y="359"/>
                    <a:pt x="425" y="366"/>
                    <a:pt x="431" y="371"/>
                  </a:cubicBezTo>
                  <a:cubicBezTo>
                    <a:pt x="441" y="379"/>
                    <a:pt x="466" y="399"/>
                    <a:pt x="492" y="390"/>
                  </a:cubicBezTo>
                  <a:cubicBezTo>
                    <a:pt x="504" y="385"/>
                    <a:pt x="510" y="376"/>
                    <a:pt x="517" y="369"/>
                  </a:cubicBezTo>
                  <a:cubicBezTo>
                    <a:pt x="522" y="362"/>
                    <a:pt x="527" y="357"/>
                    <a:pt x="530" y="356"/>
                  </a:cubicBezTo>
                  <a:cubicBezTo>
                    <a:pt x="538" y="352"/>
                    <a:pt x="547" y="354"/>
                    <a:pt x="558" y="357"/>
                  </a:cubicBezTo>
                  <a:cubicBezTo>
                    <a:pt x="568" y="359"/>
                    <a:pt x="578" y="362"/>
                    <a:pt x="591" y="359"/>
                  </a:cubicBezTo>
                  <a:cubicBezTo>
                    <a:pt x="608" y="357"/>
                    <a:pt x="619" y="346"/>
                    <a:pt x="631" y="338"/>
                  </a:cubicBezTo>
                  <a:cubicBezTo>
                    <a:pt x="634" y="334"/>
                    <a:pt x="636" y="333"/>
                    <a:pt x="639" y="331"/>
                  </a:cubicBezTo>
                  <a:cubicBezTo>
                    <a:pt x="657" y="316"/>
                    <a:pt x="664" y="320"/>
                    <a:pt x="667" y="321"/>
                  </a:cubicBezTo>
                  <a:cubicBezTo>
                    <a:pt x="667" y="323"/>
                    <a:pt x="667" y="323"/>
                    <a:pt x="667" y="326"/>
                  </a:cubicBezTo>
                  <a:lnTo>
                    <a:pt x="665" y="331"/>
                  </a:lnTo>
                  <a:cubicBezTo>
                    <a:pt x="660" y="351"/>
                    <a:pt x="672" y="371"/>
                    <a:pt x="697" y="389"/>
                  </a:cubicBezTo>
                  <a:cubicBezTo>
                    <a:pt x="702" y="392"/>
                    <a:pt x="707" y="395"/>
                    <a:pt x="710" y="399"/>
                  </a:cubicBezTo>
                  <a:cubicBezTo>
                    <a:pt x="718" y="405"/>
                    <a:pt x="723" y="412"/>
                    <a:pt x="725" y="420"/>
                  </a:cubicBezTo>
                  <a:lnTo>
                    <a:pt x="725" y="422"/>
                  </a:lnTo>
                  <a:cubicBezTo>
                    <a:pt x="725" y="430"/>
                    <a:pt x="716" y="438"/>
                    <a:pt x="710" y="44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3" name="Freeform 39">
              <a:extLst>
                <a:ext uri="{FF2B5EF4-FFF2-40B4-BE49-F238E27FC236}">
                  <a16:creationId xmlns:a16="http://schemas.microsoft.com/office/drawing/2014/main" id="{D8641502-A2AE-C046-A095-789084FCD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38400" y="2989263"/>
              <a:ext cx="204788" cy="171450"/>
            </a:xfrm>
            <a:custGeom>
              <a:avLst/>
              <a:gdLst>
                <a:gd name="T0" fmla="*/ 534 w 570"/>
                <a:gd name="T1" fmla="*/ 252 h 475"/>
                <a:gd name="T2" fmla="*/ 523 w 570"/>
                <a:gd name="T3" fmla="*/ 281 h 475"/>
                <a:gd name="T4" fmla="*/ 547 w 570"/>
                <a:gd name="T5" fmla="*/ 316 h 475"/>
                <a:gd name="T6" fmla="*/ 562 w 570"/>
                <a:gd name="T7" fmla="*/ 329 h 475"/>
                <a:gd name="T8" fmla="*/ 554 w 570"/>
                <a:gd name="T9" fmla="*/ 385 h 475"/>
                <a:gd name="T10" fmla="*/ 549 w 570"/>
                <a:gd name="T11" fmla="*/ 390 h 475"/>
                <a:gd name="T12" fmla="*/ 546 w 570"/>
                <a:gd name="T13" fmla="*/ 393 h 475"/>
                <a:gd name="T14" fmla="*/ 539 w 570"/>
                <a:gd name="T15" fmla="*/ 403 h 475"/>
                <a:gd name="T16" fmla="*/ 531 w 570"/>
                <a:gd name="T17" fmla="*/ 418 h 475"/>
                <a:gd name="T18" fmla="*/ 529 w 570"/>
                <a:gd name="T19" fmla="*/ 428 h 475"/>
                <a:gd name="T20" fmla="*/ 526 w 570"/>
                <a:gd name="T21" fmla="*/ 443 h 475"/>
                <a:gd name="T22" fmla="*/ 485 w 570"/>
                <a:gd name="T23" fmla="*/ 473 h 475"/>
                <a:gd name="T24" fmla="*/ 440 w 570"/>
                <a:gd name="T25" fmla="*/ 451 h 475"/>
                <a:gd name="T26" fmla="*/ 351 w 570"/>
                <a:gd name="T27" fmla="*/ 433 h 475"/>
                <a:gd name="T28" fmla="*/ 335 w 570"/>
                <a:gd name="T29" fmla="*/ 456 h 475"/>
                <a:gd name="T30" fmla="*/ 320 w 570"/>
                <a:gd name="T31" fmla="*/ 471 h 475"/>
                <a:gd name="T32" fmla="*/ 312 w 570"/>
                <a:gd name="T33" fmla="*/ 471 h 475"/>
                <a:gd name="T34" fmla="*/ 285 w 570"/>
                <a:gd name="T35" fmla="*/ 466 h 475"/>
                <a:gd name="T36" fmla="*/ 269 w 570"/>
                <a:gd name="T37" fmla="*/ 458 h 475"/>
                <a:gd name="T38" fmla="*/ 264 w 570"/>
                <a:gd name="T39" fmla="*/ 453 h 475"/>
                <a:gd name="T40" fmla="*/ 254 w 570"/>
                <a:gd name="T41" fmla="*/ 441 h 475"/>
                <a:gd name="T42" fmla="*/ 234 w 570"/>
                <a:gd name="T43" fmla="*/ 430 h 475"/>
                <a:gd name="T44" fmla="*/ 223 w 570"/>
                <a:gd name="T45" fmla="*/ 425 h 475"/>
                <a:gd name="T46" fmla="*/ 211 w 570"/>
                <a:gd name="T47" fmla="*/ 418 h 475"/>
                <a:gd name="T48" fmla="*/ 211 w 570"/>
                <a:gd name="T49" fmla="*/ 408 h 475"/>
                <a:gd name="T50" fmla="*/ 211 w 570"/>
                <a:gd name="T51" fmla="*/ 400 h 475"/>
                <a:gd name="T52" fmla="*/ 182 w 570"/>
                <a:gd name="T53" fmla="*/ 341 h 475"/>
                <a:gd name="T54" fmla="*/ 129 w 570"/>
                <a:gd name="T55" fmla="*/ 286 h 475"/>
                <a:gd name="T56" fmla="*/ 111 w 570"/>
                <a:gd name="T57" fmla="*/ 250 h 475"/>
                <a:gd name="T58" fmla="*/ 103 w 570"/>
                <a:gd name="T59" fmla="*/ 224 h 475"/>
                <a:gd name="T60" fmla="*/ 58 w 570"/>
                <a:gd name="T61" fmla="*/ 189 h 475"/>
                <a:gd name="T62" fmla="*/ 43 w 570"/>
                <a:gd name="T63" fmla="*/ 184 h 475"/>
                <a:gd name="T64" fmla="*/ 2 w 570"/>
                <a:gd name="T65" fmla="*/ 153 h 475"/>
                <a:gd name="T66" fmla="*/ 14 w 570"/>
                <a:gd name="T67" fmla="*/ 120 h 475"/>
                <a:gd name="T68" fmla="*/ 24 w 570"/>
                <a:gd name="T69" fmla="*/ 26 h 475"/>
                <a:gd name="T70" fmla="*/ 122 w 570"/>
                <a:gd name="T71" fmla="*/ 16 h 475"/>
                <a:gd name="T72" fmla="*/ 150 w 570"/>
                <a:gd name="T73" fmla="*/ 28 h 475"/>
                <a:gd name="T74" fmla="*/ 188 w 570"/>
                <a:gd name="T75" fmla="*/ 44 h 475"/>
                <a:gd name="T76" fmla="*/ 213 w 570"/>
                <a:gd name="T77" fmla="*/ 57 h 475"/>
                <a:gd name="T78" fmla="*/ 225 w 570"/>
                <a:gd name="T79" fmla="*/ 66 h 475"/>
                <a:gd name="T80" fmla="*/ 244 w 570"/>
                <a:gd name="T81" fmla="*/ 82 h 475"/>
                <a:gd name="T82" fmla="*/ 271 w 570"/>
                <a:gd name="T83" fmla="*/ 103 h 475"/>
                <a:gd name="T84" fmla="*/ 317 w 570"/>
                <a:gd name="T85" fmla="*/ 115 h 475"/>
                <a:gd name="T86" fmla="*/ 343 w 570"/>
                <a:gd name="T87" fmla="*/ 118 h 475"/>
                <a:gd name="T88" fmla="*/ 355 w 570"/>
                <a:gd name="T89" fmla="*/ 123 h 475"/>
                <a:gd name="T90" fmla="*/ 388 w 570"/>
                <a:gd name="T91" fmla="*/ 130 h 475"/>
                <a:gd name="T92" fmla="*/ 404 w 570"/>
                <a:gd name="T93" fmla="*/ 130 h 475"/>
                <a:gd name="T94" fmla="*/ 437 w 570"/>
                <a:gd name="T95" fmla="*/ 131 h 475"/>
                <a:gd name="T96" fmla="*/ 444 w 570"/>
                <a:gd name="T97" fmla="*/ 151 h 475"/>
                <a:gd name="T98" fmla="*/ 450 w 570"/>
                <a:gd name="T99" fmla="*/ 181 h 475"/>
                <a:gd name="T100" fmla="*/ 500 w 570"/>
                <a:gd name="T101" fmla="*/ 217 h 475"/>
                <a:gd name="T102" fmla="*/ 511 w 570"/>
                <a:gd name="T103" fmla="*/ 222 h 475"/>
                <a:gd name="T104" fmla="*/ 516 w 570"/>
                <a:gd name="T105" fmla="*/ 224 h 475"/>
                <a:gd name="T106" fmla="*/ 541 w 570"/>
                <a:gd name="T107" fmla="*/ 240 h 475"/>
                <a:gd name="T108" fmla="*/ 534 w 570"/>
                <a:gd name="T109" fmla="*/ 252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70" h="475">
                  <a:moveTo>
                    <a:pt x="534" y="252"/>
                  </a:moveTo>
                  <a:cubicBezTo>
                    <a:pt x="529" y="257"/>
                    <a:pt x="523" y="267"/>
                    <a:pt x="523" y="281"/>
                  </a:cubicBezTo>
                  <a:cubicBezTo>
                    <a:pt x="524" y="300"/>
                    <a:pt x="538" y="309"/>
                    <a:pt x="547" y="316"/>
                  </a:cubicBezTo>
                  <a:cubicBezTo>
                    <a:pt x="554" y="321"/>
                    <a:pt x="561" y="324"/>
                    <a:pt x="562" y="329"/>
                  </a:cubicBezTo>
                  <a:cubicBezTo>
                    <a:pt x="569" y="342"/>
                    <a:pt x="564" y="370"/>
                    <a:pt x="554" y="385"/>
                  </a:cubicBezTo>
                  <a:cubicBezTo>
                    <a:pt x="554" y="387"/>
                    <a:pt x="551" y="388"/>
                    <a:pt x="549" y="390"/>
                  </a:cubicBezTo>
                  <a:cubicBezTo>
                    <a:pt x="547" y="392"/>
                    <a:pt x="547" y="393"/>
                    <a:pt x="546" y="393"/>
                  </a:cubicBezTo>
                  <a:cubicBezTo>
                    <a:pt x="542" y="397"/>
                    <a:pt x="541" y="400"/>
                    <a:pt x="539" y="403"/>
                  </a:cubicBezTo>
                  <a:cubicBezTo>
                    <a:pt x="534" y="408"/>
                    <a:pt x="533" y="413"/>
                    <a:pt x="531" y="418"/>
                  </a:cubicBezTo>
                  <a:cubicBezTo>
                    <a:pt x="531" y="421"/>
                    <a:pt x="529" y="425"/>
                    <a:pt x="529" y="428"/>
                  </a:cubicBezTo>
                  <a:cubicBezTo>
                    <a:pt x="528" y="433"/>
                    <a:pt x="528" y="438"/>
                    <a:pt x="526" y="443"/>
                  </a:cubicBezTo>
                  <a:cubicBezTo>
                    <a:pt x="518" y="458"/>
                    <a:pt x="500" y="471"/>
                    <a:pt x="485" y="473"/>
                  </a:cubicBezTo>
                  <a:cubicBezTo>
                    <a:pt x="473" y="474"/>
                    <a:pt x="457" y="463"/>
                    <a:pt x="440" y="451"/>
                  </a:cubicBezTo>
                  <a:cubicBezTo>
                    <a:pt x="414" y="431"/>
                    <a:pt x="381" y="408"/>
                    <a:pt x="351" y="433"/>
                  </a:cubicBezTo>
                  <a:cubicBezTo>
                    <a:pt x="341" y="440"/>
                    <a:pt x="337" y="448"/>
                    <a:pt x="335" y="456"/>
                  </a:cubicBezTo>
                  <a:cubicBezTo>
                    <a:pt x="330" y="464"/>
                    <a:pt x="328" y="468"/>
                    <a:pt x="320" y="471"/>
                  </a:cubicBezTo>
                  <a:cubicBezTo>
                    <a:pt x="318" y="471"/>
                    <a:pt x="315" y="473"/>
                    <a:pt x="312" y="471"/>
                  </a:cubicBezTo>
                  <a:cubicBezTo>
                    <a:pt x="304" y="473"/>
                    <a:pt x="294" y="469"/>
                    <a:pt x="285" y="466"/>
                  </a:cubicBezTo>
                  <a:cubicBezTo>
                    <a:pt x="279" y="464"/>
                    <a:pt x="274" y="461"/>
                    <a:pt x="269" y="458"/>
                  </a:cubicBezTo>
                  <a:cubicBezTo>
                    <a:pt x="267" y="456"/>
                    <a:pt x="266" y="454"/>
                    <a:pt x="264" y="453"/>
                  </a:cubicBezTo>
                  <a:cubicBezTo>
                    <a:pt x="262" y="448"/>
                    <a:pt x="259" y="445"/>
                    <a:pt x="254" y="441"/>
                  </a:cubicBezTo>
                  <a:cubicBezTo>
                    <a:pt x="248" y="435"/>
                    <a:pt x="241" y="433"/>
                    <a:pt x="234" y="430"/>
                  </a:cubicBezTo>
                  <a:cubicBezTo>
                    <a:pt x="231" y="428"/>
                    <a:pt x="228" y="426"/>
                    <a:pt x="223" y="425"/>
                  </a:cubicBezTo>
                  <a:cubicBezTo>
                    <a:pt x="218" y="421"/>
                    <a:pt x="213" y="418"/>
                    <a:pt x="211" y="418"/>
                  </a:cubicBezTo>
                  <a:cubicBezTo>
                    <a:pt x="211" y="416"/>
                    <a:pt x="211" y="413"/>
                    <a:pt x="211" y="408"/>
                  </a:cubicBezTo>
                  <a:lnTo>
                    <a:pt x="211" y="400"/>
                  </a:lnTo>
                  <a:cubicBezTo>
                    <a:pt x="210" y="370"/>
                    <a:pt x="208" y="362"/>
                    <a:pt x="182" y="341"/>
                  </a:cubicBezTo>
                  <a:cubicBezTo>
                    <a:pt x="162" y="323"/>
                    <a:pt x="144" y="308"/>
                    <a:pt x="129" y="286"/>
                  </a:cubicBezTo>
                  <a:cubicBezTo>
                    <a:pt x="119" y="273"/>
                    <a:pt x="116" y="262"/>
                    <a:pt x="111" y="250"/>
                  </a:cubicBezTo>
                  <a:cubicBezTo>
                    <a:pt x="109" y="240"/>
                    <a:pt x="106" y="232"/>
                    <a:pt x="103" y="224"/>
                  </a:cubicBezTo>
                  <a:cubicBezTo>
                    <a:pt x="91" y="199"/>
                    <a:pt x="73" y="194"/>
                    <a:pt x="58" y="189"/>
                  </a:cubicBezTo>
                  <a:cubicBezTo>
                    <a:pt x="53" y="188"/>
                    <a:pt x="48" y="186"/>
                    <a:pt x="43" y="184"/>
                  </a:cubicBezTo>
                  <a:cubicBezTo>
                    <a:pt x="20" y="176"/>
                    <a:pt x="5" y="164"/>
                    <a:pt x="2" y="153"/>
                  </a:cubicBezTo>
                  <a:cubicBezTo>
                    <a:pt x="0" y="143"/>
                    <a:pt x="4" y="133"/>
                    <a:pt x="14" y="120"/>
                  </a:cubicBezTo>
                  <a:cubicBezTo>
                    <a:pt x="45" y="84"/>
                    <a:pt x="38" y="56"/>
                    <a:pt x="24" y="26"/>
                  </a:cubicBezTo>
                  <a:cubicBezTo>
                    <a:pt x="58" y="10"/>
                    <a:pt x="86" y="0"/>
                    <a:pt x="122" y="16"/>
                  </a:cubicBezTo>
                  <a:cubicBezTo>
                    <a:pt x="132" y="21"/>
                    <a:pt x="141" y="24"/>
                    <a:pt x="150" y="28"/>
                  </a:cubicBezTo>
                  <a:cubicBezTo>
                    <a:pt x="164" y="34"/>
                    <a:pt x="177" y="39"/>
                    <a:pt x="188" y="44"/>
                  </a:cubicBezTo>
                  <a:cubicBezTo>
                    <a:pt x="197" y="49"/>
                    <a:pt x="205" y="52"/>
                    <a:pt x="213" y="57"/>
                  </a:cubicBezTo>
                  <a:cubicBezTo>
                    <a:pt x="216" y="59"/>
                    <a:pt x="221" y="62"/>
                    <a:pt x="225" y="66"/>
                  </a:cubicBezTo>
                  <a:cubicBezTo>
                    <a:pt x="231" y="69"/>
                    <a:pt x="238" y="75"/>
                    <a:pt x="244" y="82"/>
                  </a:cubicBezTo>
                  <a:cubicBezTo>
                    <a:pt x="253" y="90"/>
                    <a:pt x="261" y="97"/>
                    <a:pt x="271" y="103"/>
                  </a:cubicBezTo>
                  <a:cubicBezTo>
                    <a:pt x="287" y="113"/>
                    <a:pt x="302" y="115"/>
                    <a:pt x="317" y="115"/>
                  </a:cubicBezTo>
                  <a:cubicBezTo>
                    <a:pt x="327" y="115"/>
                    <a:pt x="335" y="117"/>
                    <a:pt x="343" y="118"/>
                  </a:cubicBezTo>
                  <a:cubicBezTo>
                    <a:pt x="348" y="120"/>
                    <a:pt x="351" y="122"/>
                    <a:pt x="355" y="123"/>
                  </a:cubicBezTo>
                  <a:cubicBezTo>
                    <a:pt x="365" y="127"/>
                    <a:pt x="373" y="130"/>
                    <a:pt x="388" y="130"/>
                  </a:cubicBezTo>
                  <a:cubicBezTo>
                    <a:pt x="393" y="130"/>
                    <a:pt x="398" y="130"/>
                    <a:pt x="404" y="130"/>
                  </a:cubicBezTo>
                  <a:cubicBezTo>
                    <a:pt x="414" y="130"/>
                    <a:pt x="432" y="128"/>
                    <a:pt x="437" y="131"/>
                  </a:cubicBezTo>
                  <a:cubicBezTo>
                    <a:pt x="442" y="135"/>
                    <a:pt x="444" y="140"/>
                    <a:pt x="444" y="151"/>
                  </a:cubicBezTo>
                  <a:cubicBezTo>
                    <a:pt x="444" y="161"/>
                    <a:pt x="445" y="171"/>
                    <a:pt x="450" y="181"/>
                  </a:cubicBezTo>
                  <a:cubicBezTo>
                    <a:pt x="460" y="204"/>
                    <a:pt x="482" y="211"/>
                    <a:pt x="500" y="217"/>
                  </a:cubicBezTo>
                  <a:cubicBezTo>
                    <a:pt x="505" y="219"/>
                    <a:pt x="508" y="220"/>
                    <a:pt x="511" y="222"/>
                  </a:cubicBezTo>
                  <a:lnTo>
                    <a:pt x="516" y="224"/>
                  </a:lnTo>
                  <a:cubicBezTo>
                    <a:pt x="526" y="227"/>
                    <a:pt x="541" y="232"/>
                    <a:pt x="541" y="240"/>
                  </a:cubicBezTo>
                  <a:cubicBezTo>
                    <a:pt x="541" y="244"/>
                    <a:pt x="539" y="245"/>
                    <a:pt x="534" y="25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4" name="Freeform 40">
              <a:extLst>
                <a:ext uri="{FF2B5EF4-FFF2-40B4-BE49-F238E27FC236}">
                  <a16:creationId xmlns:a16="http://schemas.microsoft.com/office/drawing/2014/main" id="{2D3709D3-C9A0-1A44-A392-3B11EF392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2650" y="3500438"/>
              <a:ext cx="438150" cy="449262"/>
            </a:xfrm>
            <a:custGeom>
              <a:avLst/>
              <a:gdLst>
                <a:gd name="T0" fmla="*/ 1213 w 1217"/>
                <a:gd name="T1" fmla="*/ 1078 h 1250"/>
                <a:gd name="T2" fmla="*/ 1120 w 1217"/>
                <a:gd name="T3" fmla="*/ 1099 h 1250"/>
                <a:gd name="T4" fmla="*/ 966 w 1217"/>
                <a:gd name="T5" fmla="*/ 1102 h 1250"/>
                <a:gd name="T6" fmla="*/ 789 w 1217"/>
                <a:gd name="T7" fmla="*/ 1102 h 1250"/>
                <a:gd name="T8" fmla="*/ 628 w 1217"/>
                <a:gd name="T9" fmla="*/ 1186 h 1250"/>
                <a:gd name="T10" fmla="*/ 524 w 1217"/>
                <a:gd name="T11" fmla="*/ 1227 h 1250"/>
                <a:gd name="T12" fmla="*/ 522 w 1217"/>
                <a:gd name="T13" fmla="*/ 1137 h 1250"/>
                <a:gd name="T14" fmla="*/ 489 w 1217"/>
                <a:gd name="T15" fmla="*/ 985 h 1250"/>
                <a:gd name="T16" fmla="*/ 450 w 1217"/>
                <a:gd name="T17" fmla="*/ 975 h 1250"/>
                <a:gd name="T18" fmla="*/ 445 w 1217"/>
                <a:gd name="T19" fmla="*/ 928 h 1250"/>
                <a:gd name="T20" fmla="*/ 432 w 1217"/>
                <a:gd name="T21" fmla="*/ 914 h 1250"/>
                <a:gd name="T22" fmla="*/ 417 w 1217"/>
                <a:gd name="T23" fmla="*/ 827 h 1250"/>
                <a:gd name="T24" fmla="*/ 356 w 1217"/>
                <a:gd name="T25" fmla="*/ 821 h 1250"/>
                <a:gd name="T26" fmla="*/ 313 w 1217"/>
                <a:gd name="T27" fmla="*/ 793 h 1250"/>
                <a:gd name="T28" fmla="*/ 315 w 1217"/>
                <a:gd name="T29" fmla="*/ 705 h 1250"/>
                <a:gd name="T30" fmla="*/ 252 w 1217"/>
                <a:gd name="T31" fmla="*/ 700 h 1250"/>
                <a:gd name="T32" fmla="*/ 214 w 1217"/>
                <a:gd name="T33" fmla="*/ 676 h 1250"/>
                <a:gd name="T34" fmla="*/ 259 w 1217"/>
                <a:gd name="T35" fmla="*/ 615 h 1250"/>
                <a:gd name="T36" fmla="*/ 239 w 1217"/>
                <a:gd name="T37" fmla="*/ 466 h 1250"/>
                <a:gd name="T38" fmla="*/ 170 w 1217"/>
                <a:gd name="T39" fmla="*/ 399 h 1250"/>
                <a:gd name="T40" fmla="*/ 125 w 1217"/>
                <a:gd name="T41" fmla="*/ 374 h 1250"/>
                <a:gd name="T42" fmla="*/ 61 w 1217"/>
                <a:gd name="T43" fmla="*/ 338 h 1250"/>
                <a:gd name="T44" fmla="*/ 13 w 1217"/>
                <a:gd name="T45" fmla="*/ 265 h 1250"/>
                <a:gd name="T46" fmla="*/ 2 w 1217"/>
                <a:gd name="T47" fmla="*/ 214 h 1250"/>
                <a:gd name="T48" fmla="*/ 38 w 1217"/>
                <a:gd name="T49" fmla="*/ 112 h 1250"/>
                <a:gd name="T50" fmla="*/ 40 w 1217"/>
                <a:gd name="T51" fmla="*/ 91 h 1250"/>
                <a:gd name="T52" fmla="*/ 79 w 1217"/>
                <a:gd name="T53" fmla="*/ 73 h 1250"/>
                <a:gd name="T54" fmla="*/ 135 w 1217"/>
                <a:gd name="T55" fmla="*/ 43 h 1250"/>
                <a:gd name="T56" fmla="*/ 242 w 1217"/>
                <a:gd name="T57" fmla="*/ 5 h 1250"/>
                <a:gd name="T58" fmla="*/ 260 w 1217"/>
                <a:gd name="T59" fmla="*/ 8 h 1250"/>
                <a:gd name="T60" fmla="*/ 283 w 1217"/>
                <a:gd name="T61" fmla="*/ 17 h 1250"/>
                <a:gd name="T62" fmla="*/ 292 w 1217"/>
                <a:gd name="T63" fmla="*/ 53 h 1250"/>
                <a:gd name="T64" fmla="*/ 344 w 1217"/>
                <a:gd name="T65" fmla="*/ 107 h 1250"/>
                <a:gd name="T66" fmla="*/ 405 w 1217"/>
                <a:gd name="T67" fmla="*/ 170 h 1250"/>
                <a:gd name="T68" fmla="*/ 483 w 1217"/>
                <a:gd name="T69" fmla="*/ 196 h 1250"/>
                <a:gd name="T70" fmla="*/ 517 w 1217"/>
                <a:gd name="T71" fmla="*/ 274 h 1250"/>
                <a:gd name="T72" fmla="*/ 597 w 1217"/>
                <a:gd name="T73" fmla="*/ 308 h 1250"/>
                <a:gd name="T74" fmla="*/ 667 w 1217"/>
                <a:gd name="T75" fmla="*/ 356 h 1250"/>
                <a:gd name="T76" fmla="*/ 756 w 1217"/>
                <a:gd name="T77" fmla="*/ 351 h 1250"/>
                <a:gd name="T78" fmla="*/ 824 w 1217"/>
                <a:gd name="T79" fmla="*/ 430 h 1250"/>
                <a:gd name="T80" fmla="*/ 845 w 1217"/>
                <a:gd name="T81" fmla="*/ 468 h 1250"/>
                <a:gd name="T82" fmla="*/ 987 w 1217"/>
                <a:gd name="T83" fmla="*/ 554 h 1250"/>
                <a:gd name="T84" fmla="*/ 1041 w 1217"/>
                <a:gd name="T85" fmla="*/ 575 h 1250"/>
                <a:gd name="T86" fmla="*/ 1048 w 1217"/>
                <a:gd name="T87" fmla="*/ 603 h 1250"/>
                <a:gd name="T88" fmla="*/ 1061 w 1217"/>
                <a:gd name="T89" fmla="*/ 633 h 1250"/>
                <a:gd name="T90" fmla="*/ 1074 w 1217"/>
                <a:gd name="T91" fmla="*/ 679 h 1250"/>
                <a:gd name="T92" fmla="*/ 1106 w 1217"/>
                <a:gd name="T93" fmla="*/ 746 h 1250"/>
                <a:gd name="T94" fmla="*/ 1138 w 1217"/>
                <a:gd name="T95" fmla="*/ 821 h 1250"/>
                <a:gd name="T96" fmla="*/ 1162 w 1217"/>
                <a:gd name="T97" fmla="*/ 893 h 1250"/>
                <a:gd name="T98" fmla="*/ 1171 w 1217"/>
                <a:gd name="T99" fmla="*/ 938 h 1250"/>
                <a:gd name="T100" fmla="*/ 1198 w 1217"/>
                <a:gd name="T101" fmla="*/ 1003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17" h="1250">
                  <a:moveTo>
                    <a:pt x="1216" y="1040"/>
                  </a:moveTo>
                  <a:cubicBezTo>
                    <a:pt x="1216" y="1051"/>
                    <a:pt x="1214" y="1064"/>
                    <a:pt x="1213" y="1078"/>
                  </a:cubicBezTo>
                  <a:cubicBezTo>
                    <a:pt x="1204" y="1079"/>
                    <a:pt x="1196" y="1082"/>
                    <a:pt x="1190" y="1086"/>
                  </a:cubicBezTo>
                  <a:cubicBezTo>
                    <a:pt x="1167" y="1086"/>
                    <a:pt x="1143" y="1092"/>
                    <a:pt x="1120" y="1099"/>
                  </a:cubicBezTo>
                  <a:cubicBezTo>
                    <a:pt x="1102" y="1104"/>
                    <a:pt x="1084" y="1109"/>
                    <a:pt x="1068" y="1109"/>
                  </a:cubicBezTo>
                  <a:cubicBezTo>
                    <a:pt x="1033" y="1112"/>
                    <a:pt x="1000" y="1107"/>
                    <a:pt x="966" y="1102"/>
                  </a:cubicBezTo>
                  <a:cubicBezTo>
                    <a:pt x="924" y="1097"/>
                    <a:pt x="880" y="1091"/>
                    <a:pt x="834" y="1097"/>
                  </a:cubicBezTo>
                  <a:cubicBezTo>
                    <a:pt x="819" y="1101"/>
                    <a:pt x="804" y="1102"/>
                    <a:pt x="789" y="1102"/>
                  </a:cubicBezTo>
                  <a:cubicBezTo>
                    <a:pt x="738" y="1107"/>
                    <a:pt x="684" y="1112"/>
                    <a:pt x="648" y="1158"/>
                  </a:cubicBezTo>
                  <a:cubicBezTo>
                    <a:pt x="641" y="1166"/>
                    <a:pt x="634" y="1176"/>
                    <a:pt x="628" y="1186"/>
                  </a:cubicBezTo>
                  <a:cubicBezTo>
                    <a:pt x="603" y="1226"/>
                    <a:pt x="585" y="1249"/>
                    <a:pt x="550" y="1244"/>
                  </a:cubicBezTo>
                  <a:cubicBezTo>
                    <a:pt x="537" y="1242"/>
                    <a:pt x="529" y="1236"/>
                    <a:pt x="524" y="1227"/>
                  </a:cubicBezTo>
                  <a:cubicBezTo>
                    <a:pt x="512" y="1213"/>
                    <a:pt x="512" y="1185"/>
                    <a:pt x="519" y="1150"/>
                  </a:cubicBezTo>
                  <a:lnTo>
                    <a:pt x="522" y="1137"/>
                  </a:lnTo>
                  <a:cubicBezTo>
                    <a:pt x="531" y="1104"/>
                    <a:pt x="539" y="1068"/>
                    <a:pt x="531" y="1031"/>
                  </a:cubicBezTo>
                  <a:cubicBezTo>
                    <a:pt x="524" y="1008"/>
                    <a:pt x="509" y="992"/>
                    <a:pt x="489" y="985"/>
                  </a:cubicBezTo>
                  <a:cubicBezTo>
                    <a:pt x="476" y="982"/>
                    <a:pt x="463" y="982"/>
                    <a:pt x="452" y="987"/>
                  </a:cubicBezTo>
                  <a:cubicBezTo>
                    <a:pt x="450" y="984"/>
                    <a:pt x="450" y="979"/>
                    <a:pt x="450" y="975"/>
                  </a:cubicBezTo>
                  <a:cubicBezTo>
                    <a:pt x="450" y="972"/>
                    <a:pt x="450" y="967"/>
                    <a:pt x="450" y="964"/>
                  </a:cubicBezTo>
                  <a:cubicBezTo>
                    <a:pt x="450" y="952"/>
                    <a:pt x="450" y="939"/>
                    <a:pt x="445" y="928"/>
                  </a:cubicBezTo>
                  <a:cubicBezTo>
                    <a:pt x="442" y="923"/>
                    <a:pt x="437" y="918"/>
                    <a:pt x="433" y="916"/>
                  </a:cubicBezTo>
                  <a:cubicBezTo>
                    <a:pt x="433" y="914"/>
                    <a:pt x="432" y="914"/>
                    <a:pt x="432" y="914"/>
                  </a:cubicBezTo>
                  <a:cubicBezTo>
                    <a:pt x="427" y="906"/>
                    <a:pt x="428" y="893"/>
                    <a:pt x="428" y="881"/>
                  </a:cubicBezTo>
                  <a:cubicBezTo>
                    <a:pt x="430" y="863"/>
                    <a:pt x="430" y="842"/>
                    <a:pt x="417" y="827"/>
                  </a:cubicBezTo>
                  <a:cubicBezTo>
                    <a:pt x="409" y="819"/>
                    <a:pt x="397" y="814"/>
                    <a:pt x="382" y="814"/>
                  </a:cubicBezTo>
                  <a:cubicBezTo>
                    <a:pt x="371" y="812"/>
                    <a:pt x="363" y="817"/>
                    <a:pt x="356" y="821"/>
                  </a:cubicBezTo>
                  <a:cubicBezTo>
                    <a:pt x="349" y="822"/>
                    <a:pt x="346" y="824"/>
                    <a:pt x="341" y="824"/>
                  </a:cubicBezTo>
                  <a:cubicBezTo>
                    <a:pt x="330" y="822"/>
                    <a:pt x="316" y="804"/>
                    <a:pt x="313" y="793"/>
                  </a:cubicBezTo>
                  <a:cubicBezTo>
                    <a:pt x="311" y="788"/>
                    <a:pt x="313" y="774"/>
                    <a:pt x="316" y="765"/>
                  </a:cubicBezTo>
                  <a:cubicBezTo>
                    <a:pt x="321" y="745"/>
                    <a:pt x="326" y="720"/>
                    <a:pt x="315" y="705"/>
                  </a:cubicBezTo>
                  <a:cubicBezTo>
                    <a:pt x="308" y="695"/>
                    <a:pt x="298" y="690"/>
                    <a:pt x="287" y="689"/>
                  </a:cubicBezTo>
                  <a:cubicBezTo>
                    <a:pt x="269" y="687"/>
                    <a:pt x="260" y="695"/>
                    <a:pt x="252" y="700"/>
                  </a:cubicBezTo>
                  <a:cubicBezTo>
                    <a:pt x="242" y="707"/>
                    <a:pt x="239" y="709"/>
                    <a:pt x="232" y="707"/>
                  </a:cubicBezTo>
                  <a:cubicBezTo>
                    <a:pt x="226" y="705"/>
                    <a:pt x="216" y="687"/>
                    <a:pt x="214" y="676"/>
                  </a:cubicBezTo>
                  <a:cubicBezTo>
                    <a:pt x="214" y="661"/>
                    <a:pt x="223" y="652"/>
                    <a:pt x="237" y="638"/>
                  </a:cubicBezTo>
                  <a:cubicBezTo>
                    <a:pt x="244" y="631"/>
                    <a:pt x="252" y="623"/>
                    <a:pt x="259" y="615"/>
                  </a:cubicBezTo>
                  <a:cubicBezTo>
                    <a:pt x="282" y="578"/>
                    <a:pt x="280" y="534"/>
                    <a:pt x="252" y="493"/>
                  </a:cubicBezTo>
                  <a:cubicBezTo>
                    <a:pt x="247" y="486"/>
                    <a:pt x="244" y="476"/>
                    <a:pt x="239" y="466"/>
                  </a:cubicBezTo>
                  <a:cubicBezTo>
                    <a:pt x="227" y="443"/>
                    <a:pt x="216" y="417"/>
                    <a:pt x="193" y="407"/>
                  </a:cubicBezTo>
                  <a:cubicBezTo>
                    <a:pt x="185" y="404"/>
                    <a:pt x="176" y="400"/>
                    <a:pt x="170" y="399"/>
                  </a:cubicBezTo>
                  <a:cubicBezTo>
                    <a:pt x="158" y="396"/>
                    <a:pt x="150" y="392"/>
                    <a:pt x="140" y="386"/>
                  </a:cubicBezTo>
                  <a:cubicBezTo>
                    <a:pt x="135" y="382"/>
                    <a:pt x="130" y="377"/>
                    <a:pt x="125" y="374"/>
                  </a:cubicBezTo>
                  <a:cubicBezTo>
                    <a:pt x="115" y="366"/>
                    <a:pt x="107" y="359"/>
                    <a:pt x="97" y="353"/>
                  </a:cubicBezTo>
                  <a:cubicBezTo>
                    <a:pt x="84" y="344"/>
                    <a:pt x="71" y="341"/>
                    <a:pt x="61" y="338"/>
                  </a:cubicBezTo>
                  <a:cubicBezTo>
                    <a:pt x="36" y="330"/>
                    <a:pt x="25" y="325"/>
                    <a:pt x="18" y="295"/>
                  </a:cubicBezTo>
                  <a:cubicBezTo>
                    <a:pt x="15" y="283"/>
                    <a:pt x="13" y="275"/>
                    <a:pt x="13" y="265"/>
                  </a:cubicBezTo>
                  <a:cubicBezTo>
                    <a:pt x="10" y="247"/>
                    <a:pt x="7" y="231"/>
                    <a:pt x="0" y="216"/>
                  </a:cubicBezTo>
                  <a:lnTo>
                    <a:pt x="2" y="214"/>
                  </a:lnTo>
                  <a:cubicBezTo>
                    <a:pt x="5" y="209"/>
                    <a:pt x="10" y="206"/>
                    <a:pt x="13" y="201"/>
                  </a:cubicBezTo>
                  <a:cubicBezTo>
                    <a:pt x="35" y="173"/>
                    <a:pt x="38" y="137"/>
                    <a:pt x="38" y="112"/>
                  </a:cubicBezTo>
                  <a:cubicBezTo>
                    <a:pt x="40" y="106"/>
                    <a:pt x="38" y="99"/>
                    <a:pt x="40" y="92"/>
                  </a:cubicBezTo>
                  <a:lnTo>
                    <a:pt x="40" y="91"/>
                  </a:lnTo>
                  <a:cubicBezTo>
                    <a:pt x="48" y="89"/>
                    <a:pt x="55" y="84"/>
                    <a:pt x="63" y="81"/>
                  </a:cubicBezTo>
                  <a:cubicBezTo>
                    <a:pt x="68" y="78"/>
                    <a:pt x="73" y="74"/>
                    <a:pt x="79" y="73"/>
                  </a:cubicBezTo>
                  <a:lnTo>
                    <a:pt x="84" y="71"/>
                  </a:lnTo>
                  <a:cubicBezTo>
                    <a:pt x="107" y="64"/>
                    <a:pt x="115" y="61"/>
                    <a:pt x="135" y="43"/>
                  </a:cubicBezTo>
                  <a:cubicBezTo>
                    <a:pt x="150" y="30"/>
                    <a:pt x="170" y="26"/>
                    <a:pt x="190" y="22"/>
                  </a:cubicBezTo>
                  <a:cubicBezTo>
                    <a:pt x="208" y="18"/>
                    <a:pt x="226" y="15"/>
                    <a:pt x="242" y="5"/>
                  </a:cubicBezTo>
                  <a:lnTo>
                    <a:pt x="251" y="0"/>
                  </a:lnTo>
                  <a:cubicBezTo>
                    <a:pt x="254" y="3"/>
                    <a:pt x="257" y="5"/>
                    <a:pt x="260" y="8"/>
                  </a:cubicBezTo>
                  <a:cubicBezTo>
                    <a:pt x="267" y="12"/>
                    <a:pt x="272" y="13"/>
                    <a:pt x="275" y="13"/>
                  </a:cubicBezTo>
                  <a:cubicBezTo>
                    <a:pt x="280" y="15"/>
                    <a:pt x="280" y="15"/>
                    <a:pt x="283" y="17"/>
                  </a:cubicBezTo>
                  <a:cubicBezTo>
                    <a:pt x="285" y="20"/>
                    <a:pt x="285" y="25"/>
                    <a:pt x="285" y="30"/>
                  </a:cubicBezTo>
                  <a:cubicBezTo>
                    <a:pt x="287" y="38"/>
                    <a:pt x="287" y="46"/>
                    <a:pt x="292" y="53"/>
                  </a:cubicBezTo>
                  <a:cubicBezTo>
                    <a:pt x="298" y="66"/>
                    <a:pt x="310" y="74"/>
                    <a:pt x="320" y="82"/>
                  </a:cubicBezTo>
                  <a:cubicBezTo>
                    <a:pt x="330" y="89"/>
                    <a:pt x="340" y="96"/>
                    <a:pt x="344" y="107"/>
                  </a:cubicBezTo>
                  <a:cubicBezTo>
                    <a:pt x="348" y="112"/>
                    <a:pt x="349" y="119"/>
                    <a:pt x="353" y="124"/>
                  </a:cubicBezTo>
                  <a:cubicBezTo>
                    <a:pt x="363" y="148"/>
                    <a:pt x="371" y="162"/>
                    <a:pt x="405" y="170"/>
                  </a:cubicBezTo>
                  <a:cubicBezTo>
                    <a:pt x="412" y="171"/>
                    <a:pt x="419" y="173"/>
                    <a:pt x="425" y="173"/>
                  </a:cubicBezTo>
                  <a:cubicBezTo>
                    <a:pt x="448" y="178"/>
                    <a:pt x="468" y="181"/>
                    <a:pt x="483" y="196"/>
                  </a:cubicBezTo>
                  <a:cubicBezTo>
                    <a:pt x="489" y="204"/>
                    <a:pt x="493" y="216"/>
                    <a:pt x="496" y="229"/>
                  </a:cubicBezTo>
                  <a:cubicBezTo>
                    <a:pt x="499" y="244"/>
                    <a:pt x="504" y="260"/>
                    <a:pt x="517" y="274"/>
                  </a:cubicBezTo>
                  <a:cubicBezTo>
                    <a:pt x="532" y="290"/>
                    <a:pt x="554" y="297"/>
                    <a:pt x="572" y="302"/>
                  </a:cubicBezTo>
                  <a:cubicBezTo>
                    <a:pt x="580" y="303"/>
                    <a:pt x="590" y="305"/>
                    <a:pt x="597" y="308"/>
                  </a:cubicBezTo>
                  <a:cubicBezTo>
                    <a:pt x="606" y="313"/>
                    <a:pt x="615" y="321"/>
                    <a:pt x="623" y="328"/>
                  </a:cubicBezTo>
                  <a:cubicBezTo>
                    <a:pt x="634" y="339"/>
                    <a:pt x="648" y="353"/>
                    <a:pt x="667" y="356"/>
                  </a:cubicBezTo>
                  <a:cubicBezTo>
                    <a:pt x="685" y="359"/>
                    <a:pt x="702" y="356"/>
                    <a:pt x="717" y="354"/>
                  </a:cubicBezTo>
                  <a:cubicBezTo>
                    <a:pt x="732" y="351"/>
                    <a:pt x="745" y="348"/>
                    <a:pt x="756" y="351"/>
                  </a:cubicBezTo>
                  <a:cubicBezTo>
                    <a:pt x="783" y="359"/>
                    <a:pt x="804" y="394"/>
                    <a:pt x="812" y="409"/>
                  </a:cubicBezTo>
                  <a:cubicBezTo>
                    <a:pt x="816" y="415"/>
                    <a:pt x="821" y="424"/>
                    <a:pt x="824" y="430"/>
                  </a:cubicBezTo>
                  <a:cubicBezTo>
                    <a:pt x="825" y="433"/>
                    <a:pt x="827" y="437"/>
                    <a:pt x="829" y="440"/>
                  </a:cubicBezTo>
                  <a:cubicBezTo>
                    <a:pt x="834" y="450"/>
                    <a:pt x="839" y="460"/>
                    <a:pt x="845" y="468"/>
                  </a:cubicBezTo>
                  <a:cubicBezTo>
                    <a:pt x="867" y="504"/>
                    <a:pt x="895" y="536"/>
                    <a:pt x="947" y="549"/>
                  </a:cubicBezTo>
                  <a:cubicBezTo>
                    <a:pt x="961" y="552"/>
                    <a:pt x="974" y="552"/>
                    <a:pt x="987" y="554"/>
                  </a:cubicBezTo>
                  <a:cubicBezTo>
                    <a:pt x="1002" y="554"/>
                    <a:pt x="1017" y="554"/>
                    <a:pt x="1028" y="559"/>
                  </a:cubicBezTo>
                  <a:cubicBezTo>
                    <a:pt x="1035" y="562"/>
                    <a:pt x="1038" y="568"/>
                    <a:pt x="1041" y="575"/>
                  </a:cubicBezTo>
                  <a:cubicBezTo>
                    <a:pt x="1043" y="580"/>
                    <a:pt x="1045" y="587"/>
                    <a:pt x="1046" y="593"/>
                  </a:cubicBezTo>
                  <a:cubicBezTo>
                    <a:pt x="1046" y="596"/>
                    <a:pt x="1048" y="600"/>
                    <a:pt x="1048" y="603"/>
                  </a:cubicBezTo>
                  <a:cubicBezTo>
                    <a:pt x="1050" y="611"/>
                    <a:pt x="1053" y="620"/>
                    <a:pt x="1058" y="626"/>
                  </a:cubicBezTo>
                  <a:lnTo>
                    <a:pt x="1061" y="633"/>
                  </a:lnTo>
                  <a:cubicBezTo>
                    <a:pt x="1068" y="646"/>
                    <a:pt x="1073" y="654"/>
                    <a:pt x="1074" y="667"/>
                  </a:cubicBezTo>
                  <a:cubicBezTo>
                    <a:pt x="1076" y="671"/>
                    <a:pt x="1074" y="676"/>
                    <a:pt x="1074" y="679"/>
                  </a:cubicBezTo>
                  <a:cubicBezTo>
                    <a:pt x="1074" y="689"/>
                    <a:pt x="1074" y="697"/>
                    <a:pt x="1078" y="707"/>
                  </a:cubicBezTo>
                  <a:cubicBezTo>
                    <a:pt x="1082" y="723"/>
                    <a:pt x="1094" y="735"/>
                    <a:pt x="1106" y="746"/>
                  </a:cubicBezTo>
                  <a:cubicBezTo>
                    <a:pt x="1117" y="756"/>
                    <a:pt x="1125" y="766"/>
                    <a:pt x="1130" y="778"/>
                  </a:cubicBezTo>
                  <a:cubicBezTo>
                    <a:pt x="1135" y="791"/>
                    <a:pt x="1137" y="806"/>
                    <a:pt x="1138" y="821"/>
                  </a:cubicBezTo>
                  <a:cubicBezTo>
                    <a:pt x="1142" y="840"/>
                    <a:pt x="1143" y="860"/>
                    <a:pt x="1153" y="878"/>
                  </a:cubicBezTo>
                  <a:cubicBezTo>
                    <a:pt x="1157" y="885"/>
                    <a:pt x="1158" y="888"/>
                    <a:pt x="1162" y="893"/>
                  </a:cubicBezTo>
                  <a:cubicBezTo>
                    <a:pt x="1168" y="903"/>
                    <a:pt x="1171" y="909"/>
                    <a:pt x="1173" y="921"/>
                  </a:cubicBezTo>
                  <a:cubicBezTo>
                    <a:pt x="1175" y="926"/>
                    <a:pt x="1173" y="931"/>
                    <a:pt x="1171" y="938"/>
                  </a:cubicBezTo>
                  <a:cubicBezTo>
                    <a:pt x="1170" y="946"/>
                    <a:pt x="1168" y="957"/>
                    <a:pt x="1171" y="967"/>
                  </a:cubicBezTo>
                  <a:cubicBezTo>
                    <a:pt x="1176" y="985"/>
                    <a:pt x="1188" y="995"/>
                    <a:pt x="1198" y="1003"/>
                  </a:cubicBezTo>
                  <a:cubicBezTo>
                    <a:pt x="1209" y="1015"/>
                    <a:pt x="1216" y="1020"/>
                    <a:pt x="1216" y="1040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5" name="Freeform 41">
              <a:extLst>
                <a:ext uri="{FF2B5EF4-FFF2-40B4-BE49-F238E27FC236}">
                  <a16:creationId xmlns:a16="http://schemas.microsoft.com/office/drawing/2014/main" id="{F8ECC969-2311-C44C-ABA1-FE51F804AF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4450" y="3348038"/>
              <a:ext cx="157163" cy="153987"/>
            </a:xfrm>
            <a:custGeom>
              <a:avLst/>
              <a:gdLst>
                <a:gd name="T0" fmla="*/ 268 w 437"/>
                <a:gd name="T1" fmla="*/ 343 h 428"/>
                <a:gd name="T2" fmla="*/ 275 w 437"/>
                <a:gd name="T3" fmla="*/ 373 h 428"/>
                <a:gd name="T4" fmla="*/ 280 w 437"/>
                <a:gd name="T5" fmla="*/ 392 h 428"/>
                <a:gd name="T6" fmla="*/ 250 w 437"/>
                <a:gd name="T7" fmla="*/ 419 h 428"/>
                <a:gd name="T8" fmla="*/ 176 w 437"/>
                <a:gd name="T9" fmla="*/ 412 h 428"/>
                <a:gd name="T10" fmla="*/ 171 w 437"/>
                <a:gd name="T11" fmla="*/ 409 h 428"/>
                <a:gd name="T12" fmla="*/ 112 w 437"/>
                <a:gd name="T13" fmla="*/ 396 h 428"/>
                <a:gd name="T14" fmla="*/ 92 w 437"/>
                <a:gd name="T15" fmla="*/ 401 h 428"/>
                <a:gd name="T16" fmla="*/ 92 w 437"/>
                <a:gd name="T17" fmla="*/ 402 h 428"/>
                <a:gd name="T18" fmla="*/ 66 w 437"/>
                <a:gd name="T19" fmla="*/ 401 h 428"/>
                <a:gd name="T20" fmla="*/ 61 w 437"/>
                <a:gd name="T21" fmla="*/ 397 h 428"/>
                <a:gd name="T22" fmla="*/ 39 w 437"/>
                <a:gd name="T23" fmla="*/ 368 h 428"/>
                <a:gd name="T24" fmla="*/ 13 w 437"/>
                <a:gd name="T25" fmla="*/ 332 h 428"/>
                <a:gd name="T26" fmla="*/ 0 w 437"/>
                <a:gd name="T27" fmla="*/ 323 h 428"/>
                <a:gd name="T28" fmla="*/ 0 w 437"/>
                <a:gd name="T29" fmla="*/ 312 h 428"/>
                <a:gd name="T30" fmla="*/ 0 w 437"/>
                <a:gd name="T31" fmla="*/ 302 h 428"/>
                <a:gd name="T32" fmla="*/ 15 w 437"/>
                <a:gd name="T33" fmla="*/ 276 h 428"/>
                <a:gd name="T34" fmla="*/ 36 w 437"/>
                <a:gd name="T35" fmla="*/ 229 h 428"/>
                <a:gd name="T36" fmla="*/ 29 w 437"/>
                <a:gd name="T37" fmla="*/ 211 h 428"/>
                <a:gd name="T38" fmla="*/ 46 w 437"/>
                <a:gd name="T39" fmla="*/ 193 h 428"/>
                <a:gd name="T40" fmla="*/ 76 w 437"/>
                <a:gd name="T41" fmla="*/ 178 h 428"/>
                <a:gd name="T42" fmla="*/ 132 w 437"/>
                <a:gd name="T43" fmla="*/ 131 h 428"/>
                <a:gd name="T44" fmla="*/ 132 w 437"/>
                <a:gd name="T45" fmla="*/ 88 h 428"/>
                <a:gd name="T46" fmla="*/ 143 w 437"/>
                <a:gd name="T47" fmla="*/ 50 h 428"/>
                <a:gd name="T48" fmla="*/ 176 w 437"/>
                <a:gd name="T49" fmla="*/ 33 h 428"/>
                <a:gd name="T50" fmla="*/ 227 w 437"/>
                <a:gd name="T51" fmla="*/ 0 h 428"/>
                <a:gd name="T52" fmla="*/ 237 w 437"/>
                <a:gd name="T53" fmla="*/ 2 h 428"/>
                <a:gd name="T54" fmla="*/ 272 w 437"/>
                <a:gd name="T55" fmla="*/ 12 h 428"/>
                <a:gd name="T56" fmla="*/ 278 w 437"/>
                <a:gd name="T57" fmla="*/ 19 h 428"/>
                <a:gd name="T58" fmla="*/ 293 w 437"/>
                <a:gd name="T59" fmla="*/ 28 h 428"/>
                <a:gd name="T60" fmla="*/ 323 w 437"/>
                <a:gd name="T61" fmla="*/ 35 h 428"/>
                <a:gd name="T62" fmla="*/ 408 w 437"/>
                <a:gd name="T63" fmla="*/ 51 h 428"/>
                <a:gd name="T64" fmla="*/ 415 w 437"/>
                <a:gd name="T65" fmla="*/ 56 h 428"/>
                <a:gd name="T66" fmla="*/ 412 w 437"/>
                <a:gd name="T67" fmla="*/ 66 h 428"/>
                <a:gd name="T68" fmla="*/ 407 w 437"/>
                <a:gd name="T69" fmla="*/ 103 h 428"/>
                <a:gd name="T70" fmla="*/ 412 w 437"/>
                <a:gd name="T71" fmla="*/ 124 h 428"/>
                <a:gd name="T72" fmla="*/ 425 w 437"/>
                <a:gd name="T73" fmla="*/ 139 h 428"/>
                <a:gd name="T74" fmla="*/ 430 w 437"/>
                <a:gd name="T75" fmla="*/ 144 h 428"/>
                <a:gd name="T76" fmla="*/ 435 w 437"/>
                <a:gd name="T77" fmla="*/ 168 h 428"/>
                <a:gd name="T78" fmla="*/ 428 w 437"/>
                <a:gd name="T79" fmla="*/ 188 h 428"/>
                <a:gd name="T80" fmla="*/ 425 w 437"/>
                <a:gd name="T81" fmla="*/ 200 h 428"/>
                <a:gd name="T82" fmla="*/ 426 w 437"/>
                <a:gd name="T83" fmla="*/ 239 h 428"/>
                <a:gd name="T84" fmla="*/ 433 w 437"/>
                <a:gd name="T85" fmla="*/ 262 h 428"/>
                <a:gd name="T86" fmla="*/ 436 w 437"/>
                <a:gd name="T87" fmla="*/ 269 h 428"/>
                <a:gd name="T88" fmla="*/ 420 w 437"/>
                <a:gd name="T89" fmla="*/ 272 h 428"/>
                <a:gd name="T90" fmla="*/ 369 w 437"/>
                <a:gd name="T91" fmla="*/ 290 h 428"/>
                <a:gd name="T92" fmla="*/ 336 w 437"/>
                <a:gd name="T93" fmla="*/ 302 h 428"/>
                <a:gd name="T94" fmla="*/ 321 w 437"/>
                <a:gd name="T95" fmla="*/ 305 h 428"/>
                <a:gd name="T96" fmla="*/ 268 w 437"/>
                <a:gd name="T97" fmla="*/ 343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7" h="428">
                  <a:moveTo>
                    <a:pt x="268" y="343"/>
                  </a:moveTo>
                  <a:cubicBezTo>
                    <a:pt x="267" y="355"/>
                    <a:pt x="272" y="364"/>
                    <a:pt x="275" y="373"/>
                  </a:cubicBezTo>
                  <a:cubicBezTo>
                    <a:pt x="280" y="381"/>
                    <a:pt x="281" y="386"/>
                    <a:pt x="280" y="392"/>
                  </a:cubicBezTo>
                  <a:cubicBezTo>
                    <a:pt x="275" y="407"/>
                    <a:pt x="262" y="416"/>
                    <a:pt x="250" y="419"/>
                  </a:cubicBezTo>
                  <a:cubicBezTo>
                    <a:pt x="227" y="427"/>
                    <a:pt x="194" y="424"/>
                    <a:pt x="176" y="412"/>
                  </a:cubicBezTo>
                  <a:lnTo>
                    <a:pt x="171" y="409"/>
                  </a:lnTo>
                  <a:cubicBezTo>
                    <a:pt x="151" y="396"/>
                    <a:pt x="141" y="389"/>
                    <a:pt x="112" y="396"/>
                  </a:cubicBezTo>
                  <a:cubicBezTo>
                    <a:pt x="104" y="397"/>
                    <a:pt x="99" y="399"/>
                    <a:pt x="92" y="401"/>
                  </a:cubicBezTo>
                  <a:lnTo>
                    <a:pt x="92" y="402"/>
                  </a:lnTo>
                  <a:cubicBezTo>
                    <a:pt x="80" y="406"/>
                    <a:pt x="74" y="407"/>
                    <a:pt x="66" y="401"/>
                  </a:cubicBezTo>
                  <a:cubicBezTo>
                    <a:pt x="64" y="399"/>
                    <a:pt x="62" y="399"/>
                    <a:pt x="61" y="397"/>
                  </a:cubicBezTo>
                  <a:cubicBezTo>
                    <a:pt x="52" y="389"/>
                    <a:pt x="46" y="379"/>
                    <a:pt x="39" y="368"/>
                  </a:cubicBezTo>
                  <a:cubicBezTo>
                    <a:pt x="33" y="356"/>
                    <a:pt x="24" y="343"/>
                    <a:pt x="13" y="332"/>
                  </a:cubicBezTo>
                  <a:cubicBezTo>
                    <a:pt x="8" y="328"/>
                    <a:pt x="3" y="327"/>
                    <a:pt x="0" y="323"/>
                  </a:cubicBezTo>
                  <a:cubicBezTo>
                    <a:pt x="0" y="318"/>
                    <a:pt x="0" y="315"/>
                    <a:pt x="0" y="312"/>
                  </a:cubicBezTo>
                  <a:cubicBezTo>
                    <a:pt x="0" y="308"/>
                    <a:pt x="0" y="305"/>
                    <a:pt x="0" y="302"/>
                  </a:cubicBezTo>
                  <a:cubicBezTo>
                    <a:pt x="1" y="294"/>
                    <a:pt x="8" y="285"/>
                    <a:pt x="15" y="276"/>
                  </a:cubicBezTo>
                  <a:cubicBezTo>
                    <a:pt x="24" y="262"/>
                    <a:pt x="36" y="249"/>
                    <a:pt x="36" y="229"/>
                  </a:cubicBezTo>
                  <a:cubicBezTo>
                    <a:pt x="34" y="223"/>
                    <a:pt x="33" y="216"/>
                    <a:pt x="29" y="211"/>
                  </a:cubicBezTo>
                  <a:cubicBezTo>
                    <a:pt x="34" y="205"/>
                    <a:pt x="39" y="200"/>
                    <a:pt x="46" y="193"/>
                  </a:cubicBezTo>
                  <a:cubicBezTo>
                    <a:pt x="54" y="188"/>
                    <a:pt x="64" y="183"/>
                    <a:pt x="76" y="178"/>
                  </a:cubicBezTo>
                  <a:cubicBezTo>
                    <a:pt x="97" y="168"/>
                    <a:pt x="122" y="159"/>
                    <a:pt x="132" y="131"/>
                  </a:cubicBezTo>
                  <a:cubicBezTo>
                    <a:pt x="136" y="114"/>
                    <a:pt x="133" y="101"/>
                    <a:pt x="132" y="88"/>
                  </a:cubicBezTo>
                  <a:cubicBezTo>
                    <a:pt x="130" y="71"/>
                    <a:pt x="128" y="61"/>
                    <a:pt x="143" y="50"/>
                  </a:cubicBezTo>
                  <a:cubicBezTo>
                    <a:pt x="153" y="42"/>
                    <a:pt x="164" y="38"/>
                    <a:pt x="176" y="33"/>
                  </a:cubicBezTo>
                  <a:cubicBezTo>
                    <a:pt x="194" y="27"/>
                    <a:pt x="214" y="19"/>
                    <a:pt x="227" y="0"/>
                  </a:cubicBezTo>
                  <a:cubicBezTo>
                    <a:pt x="230" y="2"/>
                    <a:pt x="234" y="2"/>
                    <a:pt x="237" y="2"/>
                  </a:cubicBezTo>
                  <a:cubicBezTo>
                    <a:pt x="250" y="4"/>
                    <a:pt x="263" y="5"/>
                    <a:pt x="272" y="12"/>
                  </a:cubicBezTo>
                  <a:cubicBezTo>
                    <a:pt x="275" y="14"/>
                    <a:pt x="277" y="17"/>
                    <a:pt x="278" y="19"/>
                  </a:cubicBezTo>
                  <a:cubicBezTo>
                    <a:pt x="281" y="22"/>
                    <a:pt x="286" y="27"/>
                    <a:pt x="293" y="28"/>
                  </a:cubicBezTo>
                  <a:cubicBezTo>
                    <a:pt x="303" y="35"/>
                    <a:pt x="314" y="35"/>
                    <a:pt x="323" y="35"/>
                  </a:cubicBezTo>
                  <a:cubicBezTo>
                    <a:pt x="352" y="35"/>
                    <a:pt x="385" y="35"/>
                    <a:pt x="408" y="51"/>
                  </a:cubicBezTo>
                  <a:cubicBezTo>
                    <a:pt x="415" y="55"/>
                    <a:pt x="415" y="56"/>
                    <a:pt x="415" y="56"/>
                  </a:cubicBezTo>
                  <a:cubicBezTo>
                    <a:pt x="415" y="58"/>
                    <a:pt x="413" y="61"/>
                    <a:pt x="412" y="66"/>
                  </a:cubicBezTo>
                  <a:cubicBezTo>
                    <a:pt x="407" y="78"/>
                    <a:pt x="405" y="91"/>
                    <a:pt x="407" y="103"/>
                  </a:cubicBezTo>
                  <a:cubicBezTo>
                    <a:pt x="407" y="111"/>
                    <a:pt x="408" y="117"/>
                    <a:pt x="412" y="124"/>
                  </a:cubicBezTo>
                  <a:cubicBezTo>
                    <a:pt x="415" y="131"/>
                    <a:pt x="420" y="134"/>
                    <a:pt x="425" y="139"/>
                  </a:cubicBezTo>
                  <a:cubicBezTo>
                    <a:pt x="426" y="140"/>
                    <a:pt x="430" y="142"/>
                    <a:pt x="430" y="144"/>
                  </a:cubicBezTo>
                  <a:cubicBezTo>
                    <a:pt x="436" y="152"/>
                    <a:pt x="436" y="162"/>
                    <a:pt x="435" y="168"/>
                  </a:cubicBezTo>
                  <a:cubicBezTo>
                    <a:pt x="433" y="175"/>
                    <a:pt x="431" y="182"/>
                    <a:pt x="428" y="188"/>
                  </a:cubicBezTo>
                  <a:cubicBezTo>
                    <a:pt x="428" y="193"/>
                    <a:pt x="426" y="196"/>
                    <a:pt x="425" y="200"/>
                  </a:cubicBezTo>
                  <a:cubicBezTo>
                    <a:pt x="421" y="213"/>
                    <a:pt x="423" y="228"/>
                    <a:pt x="426" y="239"/>
                  </a:cubicBezTo>
                  <a:cubicBezTo>
                    <a:pt x="426" y="247"/>
                    <a:pt x="430" y="254"/>
                    <a:pt x="433" y="262"/>
                  </a:cubicBezTo>
                  <a:cubicBezTo>
                    <a:pt x="435" y="266"/>
                    <a:pt x="435" y="267"/>
                    <a:pt x="436" y="269"/>
                  </a:cubicBezTo>
                  <a:cubicBezTo>
                    <a:pt x="431" y="269"/>
                    <a:pt x="425" y="271"/>
                    <a:pt x="420" y="272"/>
                  </a:cubicBezTo>
                  <a:cubicBezTo>
                    <a:pt x="400" y="276"/>
                    <a:pt x="384" y="282"/>
                    <a:pt x="369" y="290"/>
                  </a:cubicBezTo>
                  <a:cubicBezTo>
                    <a:pt x="357" y="294"/>
                    <a:pt x="347" y="299"/>
                    <a:pt x="336" y="302"/>
                  </a:cubicBezTo>
                  <a:cubicBezTo>
                    <a:pt x="333" y="304"/>
                    <a:pt x="328" y="305"/>
                    <a:pt x="321" y="305"/>
                  </a:cubicBezTo>
                  <a:cubicBezTo>
                    <a:pt x="301" y="308"/>
                    <a:pt x="272" y="313"/>
                    <a:pt x="268" y="34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6" name="Freeform 42">
              <a:extLst>
                <a:ext uri="{FF2B5EF4-FFF2-40B4-BE49-F238E27FC236}">
                  <a16:creationId xmlns:a16="http://schemas.microsoft.com/office/drawing/2014/main" id="{DDAA7207-BB07-BC41-B6E6-576DCB1B9D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0625" y="3473450"/>
              <a:ext cx="276225" cy="228600"/>
            </a:xfrm>
            <a:custGeom>
              <a:avLst/>
              <a:gdLst>
                <a:gd name="T0" fmla="*/ 710 w 769"/>
                <a:gd name="T1" fmla="*/ 343 h 637"/>
                <a:gd name="T2" fmla="*/ 745 w 769"/>
                <a:gd name="T3" fmla="*/ 399 h 637"/>
                <a:gd name="T4" fmla="*/ 768 w 769"/>
                <a:gd name="T5" fmla="*/ 428 h 637"/>
                <a:gd name="T6" fmla="*/ 628 w 769"/>
                <a:gd name="T7" fmla="*/ 554 h 637"/>
                <a:gd name="T8" fmla="*/ 521 w 769"/>
                <a:gd name="T9" fmla="*/ 455 h 637"/>
                <a:gd name="T10" fmla="*/ 467 w 769"/>
                <a:gd name="T11" fmla="*/ 456 h 637"/>
                <a:gd name="T12" fmla="*/ 429 w 769"/>
                <a:gd name="T13" fmla="*/ 422 h 637"/>
                <a:gd name="T14" fmla="*/ 355 w 769"/>
                <a:gd name="T15" fmla="*/ 437 h 637"/>
                <a:gd name="T16" fmla="*/ 267 w 769"/>
                <a:gd name="T17" fmla="*/ 437 h 637"/>
                <a:gd name="T18" fmla="*/ 228 w 769"/>
                <a:gd name="T19" fmla="*/ 575 h 637"/>
                <a:gd name="T20" fmla="*/ 243 w 769"/>
                <a:gd name="T21" fmla="*/ 628 h 637"/>
                <a:gd name="T22" fmla="*/ 206 w 769"/>
                <a:gd name="T23" fmla="*/ 636 h 637"/>
                <a:gd name="T24" fmla="*/ 129 w 769"/>
                <a:gd name="T25" fmla="*/ 600 h 637"/>
                <a:gd name="T26" fmla="*/ 0 w 769"/>
                <a:gd name="T27" fmla="*/ 514 h 637"/>
                <a:gd name="T28" fmla="*/ 63 w 769"/>
                <a:gd name="T29" fmla="*/ 420 h 637"/>
                <a:gd name="T30" fmla="*/ 124 w 769"/>
                <a:gd name="T31" fmla="*/ 315 h 637"/>
                <a:gd name="T32" fmla="*/ 111 w 769"/>
                <a:gd name="T33" fmla="*/ 244 h 637"/>
                <a:gd name="T34" fmla="*/ 131 w 769"/>
                <a:gd name="T35" fmla="*/ 201 h 637"/>
                <a:gd name="T36" fmla="*/ 137 w 769"/>
                <a:gd name="T37" fmla="*/ 165 h 637"/>
                <a:gd name="T38" fmla="*/ 149 w 769"/>
                <a:gd name="T39" fmla="*/ 120 h 637"/>
                <a:gd name="T40" fmla="*/ 142 w 769"/>
                <a:gd name="T41" fmla="*/ 63 h 637"/>
                <a:gd name="T42" fmla="*/ 175 w 769"/>
                <a:gd name="T43" fmla="*/ 71 h 637"/>
                <a:gd name="T44" fmla="*/ 192 w 769"/>
                <a:gd name="T45" fmla="*/ 87 h 637"/>
                <a:gd name="T46" fmla="*/ 271 w 769"/>
                <a:gd name="T47" fmla="*/ 114 h 637"/>
                <a:gd name="T48" fmla="*/ 305 w 769"/>
                <a:gd name="T49" fmla="*/ 63 h 637"/>
                <a:gd name="T50" fmla="*/ 318 w 769"/>
                <a:gd name="T51" fmla="*/ 12 h 637"/>
                <a:gd name="T52" fmla="*/ 333 w 769"/>
                <a:gd name="T53" fmla="*/ 0 h 637"/>
                <a:gd name="T54" fmla="*/ 361 w 769"/>
                <a:gd name="T55" fmla="*/ 33 h 637"/>
                <a:gd name="T56" fmla="*/ 407 w 769"/>
                <a:gd name="T57" fmla="*/ 81 h 637"/>
                <a:gd name="T58" fmla="*/ 465 w 769"/>
                <a:gd name="T59" fmla="*/ 140 h 637"/>
                <a:gd name="T60" fmla="*/ 519 w 769"/>
                <a:gd name="T61" fmla="*/ 150 h 637"/>
                <a:gd name="T62" fmla="*/ 582 w 769"/>
                <a:gd name="T63" fmla="*/ 216 h 637"/>
                <a:gd name="T64" fmla="*/ 730 w 769"/>
                <a:gd name="T65" fmla="*/ 288 h 637"/>
                <a:gd name="T66" fmla="*/ 725 w 769"/>
                <a:gd name="T67" fmla="*/ 315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69" h="637">
                  <a:moveTo>
                    <a:pt x="725" y="315"/>
                  </a:moveTo>
                  <a:cubicBezTo>
                    <a:pt x="719" y="321"/>
                    <a:pt x="710" y="329"/>
                    <a:pt x="710" y="343"/>
                  </a:cubicBezTo>
                  <a:cubicBezTo>
                    <a:pt x="709" y="362"/>
                    <a:pt x="725" y="379"/>
                    <a:pt x="737" y="392"/>
                  </a:cubicBezTo>
                  <a:cubicBezTo>
                    <a:pt x="740" y="394"/>
                    <a:pt x="743" y="397"/>
                    <a:pt x="745" y="399"/>
                  </a:cubicBezTo>
                  <a:lnTo>
                    <a:pt x="752" y="407"/>
                  </a:lnTo>
                  <a:cubicBezTo>
                    <a:pt x="758" y="413"/>
                    <a:pt x="765" y="420"/>
                    <a:pt x="768" y="428"/>
                  </a:cubicBezTo>
                  <a:cubicBezTo>
                    <a:pt x="762" y="460"/>
                    <a:pt x="750" y="491"/>
                    <a:pt x="732" y="507"/>
                  </a:cubicBezTo>
                  <a:cubicBezTo>
                    <a:pt x="709" y="529"/>
                    <a:pt x="650" y="560"/>
                    <a:pt x="628" y="554"/>
                  </a:cubicBezTo>
                  <a:cubicBezTo>
                    <a:pt x="610" y="547"/>
                    <a:pt x="597" y="527"/>
                    <a:pt x="582" y="507"/>
                  </a:cubicBezTo>
                  <a:cubicBezTo>
                    <a:pt x="564" y="486"/>
                    <a:pt x="547" y="461"/>
                    <a:pt x="521" y="455"/>
                  </a:cubicBezTo>
                  <a:cubicBezTo>
                    <a:pt x="508" y="450"/>
                    <a:pt x="496" y="453"/>
                    <a:pt x="486" y="456"/>
                  </a:cubicBezTo>
                  <a:cubicBezTo>
                    <a:pt x="477" y="460"/>
                    <a:pt x="473" y="460"/>
                    <a:pt x="467" y="456"/>
                  </a:cubicBezTo>
                  <a:cubicBezTo>
                    <a:pt x="463" y="455"/>
                    <a:pt x="460" y="450"/>
                    <a:pt x="455" y="445"/>
                  </a:cubicBezTo>
                  <a:cubicBezTo>
                    <a:pt x="450" y="437"/>
                    <a:pt x="442" y="427"/>
                    <a:pt x="429" y="422"/>
                  </a:cubicBezTo>
                  <a:cubicBezTo>
                    <a:pt x="402" y="412"/>
                    <a:pt x="384" y="420"/>
                    <a:pt x="366" y="430"/>
                  </a:cubicBezTo>
                  <a:cubicBezTo>
                    <a:pt x="361" y="433"/>
                    <a:pt x="358" y="435"/>
                    <a:pt x="355" y="437"/>
                  </a:cubicBezTo>
                  <a:cubicBezTo>
                    <a:pt x="346" y="443"/>
                    <a:pt x="346" y="443"/>
                    <a:pt x="332" y="437"/>
                  </a:cubicBezTo>
                  <a:cubicBezTo>
                    <a:pt x="307" y="427"/>
                    <a:pt x="285" y="427"/>
                    <a:pt x="267" y="437"/>
                  </a:cubicBezTo>
                  <a:cubicBezTo>
                    <a:pt x="246" y="446"/>
                    <a:pt x="233" y="468"/>
                    <a:pt x="224" y="498"/>
                  </a:cubicBezTo>
                  <a:cubicBezTo>
                    <a:pt x="218" y="522"/>
                    <a:pt x="220" y="549"/>
                    <a:pt x="228" y="575"/>
                  </a:cubicBezTo>
                  <a:cubicBezTo>
                    <a:pt x="229" y="580"/>
                    <a:pt x="233" y="586"/>
                    <a:pt x="236" y="593"/>
                  </a:cubicBezTo>
                  <a:cubicBezTo>
                    <a:pt x="244" y="610"/>
                    <a:pt x="249" y="621"/>
                    <a:pt x="243" y="628"/>
                  </a:cubicBezTo>
                  <a:cubicBezTo>
                    <a:pt x="239" y="631"/>
                    <a:pt x="233" y="633"/>
                    <a:pt x="223" y="634"/>
                  </a:cubicBezTo>
                  <a:cubicBezTo>
                    <a:pt x="218" y="634"/>
                    <a:pt x="211" y="634"/>
                    <a:pt x="206" y="636"/>
                  </a:cubicBezTo>
                  <a:cubicBezTo>
                    <a:pt x="201" y="626"/>
                    <a:pt x="195" y="616"/>
                    <a:pt x="183" y="610"/>
                  </a:cubicBezTo>
                  <a:cubicBezTo>
                    <a:pt x="167" y="601"/>
                    <a:pt x="147" y="601"/>
                    <a:pt x="129" y="600"/>
                  </a:cubicBezTo>
                  <a:cubicBezTo>
                    <a:pt x="117" y="600"/>
                    <a:pt x="106" y="600"/>
                    <a:pt x="96" y="598"/>
                  </a:cubicBezTo>
                  <a:cubicBezTo>
                    <a:pt x="47" y="585"/>
                    <a:pt x="24" y="554"/>
                    <a:pt x="0" y="514"/>
                  </a:cubicBezTo>
                  <a:cubicBezTo>
                    <a:pt x="7" y="502"/>
                    <a:pt x="14" y="493"/>
                    <a:pt x="20" y="481"/>
                  </a:cubicBezTo>
                  <a:cubicBezTo>
                    <a:pt x="33" y="460"/>
                    <a:pt x="48" y="440"/>
                    <a:pt x="63" y="420"/>
                  </a:cubicBezTo>
                  <a:cubicBezTo>
                    <a:pt x="78" y="402"/>
                    <a:pt x="91" y="384"/>
                    <a:pt x="104" y="364"/>
                  </a:cubicBezTo>
                  <a:cubicBezTo>
                    <a:pt x="114" y="349"/>
                    <a:pt x="122" y="334"/>
                    <a:pt x="124" y="315"/>
                  </a:cubicBezTo>
                  <a:cubicBezTo>
                    <a:pt x="124" y="301"/>
                    <a:pt x="122" y="288"/>
                    <a:pt x="117" y="277"/>
                  </a:cubicBezTo>
                  <a:cubicBezTo>
                    <a:pt x="113" y="265"/>
                    <a:pt x="109" y="254"/>
                    <a:pt x="111" y="244"/>
                  </a:cubicBezTo>
                  <a:cubicBezTo>
                    <a:pt x="112" y="237"/>
                    <a:pt x="116" y="231"/>
                    <a:pt x="121" y="222"/>
                  </a:cubicBezTo>
                  <a:cubicBezTo>
                    <a:pt x="124" y="216"/>
                    <a:pt x="129" y="209"/>
                    <a:pt x="131" y="201"/>
                  </a:cubicBezTo>
                  <a:cubicBezTo>
                    <a:pt x="134" y="193"/>
                    <a:pt x="134" y="185"/>
                    <a:pt x="136" y="176"/>
                  </a:cubicBezTo>
                  <a:cubicBezTo>
                    <a:pt x="136" y="173"/>
                    <a:pt x="137" y="168"/>
                    <a:pt x="137" y="165"/>
                  </a:cubicBezTo>
                  <a:cubicBezTo>
                    <a:pt x="139" y="158"/>
                    <a:pt x="140" y="152"/>
                    <a:pt x="142" y="147"/>
                  </a:cubicBezTo>
                  <a:cubicBezTo>
                    <a:pt x="145" y="138"/>
                    <a:pt x="147" y="130"/>
                    <a:pt x="149" y="120"/>
                  </a:cubicBezTo>
                  <a:cubicBezTo>
                    <a:pt x="150" y="102"/>
                    <a:pt x="147" y="84"/>
                    <a:pt x="144" y="68"/>
                  </a:cubicBezTo>
                  <a:lnTo>
                    <a:pt x="142" y="63"/>
                  </a:lnTo>
                  <a:cubicBezTo>
                    <a:pt x="147" y="63"/>
                    <a:pt x="152" y="64"/>
                    <a:pt x="157" y="64"/>
                  </a:cubicBezTo>
                  <a:cubicBezTo>
                    <a:pt x="164" y="66"/>
                    <a:pt x="170" y="68"/>
                    <a:pt x="175" y="71"/>
                  </a:cubicBezTo>
                  <a:cubicBezTo>
                    <a:pt x="178" y="72"/>
                    <a:pt x="183" y="77"/>
                    <a:pt x="187" y="81"/>
                  </a:cubicBezTo>
                  <a:cubicBezTo>
                    <a:pt x="188" y="82"/>
                    <a:pt x="190" y="86"/>
                    <a:pt x="192" y="87"/>
                  </a:cubicBezTo>
                  <a:cubicBezTo>
                    <a:pt x="206" y="102"/>
                    <a:pt x="228" y="112"/>
                    <a:pt x="248" y="114"/>
                  </a:cubicBezTo>
                  <a:cubicBezTo>
                    <a:pt x="256" y="115"/>
                    <a:pt x="262" y="114"/>
                    <a:pt x="271" y="114"/>
                  </a:cubicBezTo>
                  <a:cubicBezTo>
                    <a:pt x="287" y="110"/>
                    <a:pt x="299" y="104"/>
                    <a:pt x="304" y="92"/>
                  </a:cubicBezTo>
                  <a:cubicBezTo>
                    <a:pt x="309" y="81"/>
                    <a:pt x="307" y="71"/>
                    <a:pt x="305" y="63"/>
                  </a:cubicBezTo>
                  <a:lnTo>
                    <a:pt x="305" y="56"/>
                  </a:lnTo>
                  <a:cubicBezTo>
                    <a:pt x="302" y="41"/>
                    <a:pt x="309" y="23"/>
                    <a:pt x="318" y="12"/>
                  </a:cubicBezTo>
                  <a:cubicBezTo>
                    <a:pt x="320" y="10"/>
                    <a:pt x="323" y="8"/>
                    <a:pt x="325" y="8"/>
                  </a:cubicBezTo>
                  <a:cubicBezTo>
                    <a:pt x="327" y="5"/>
                    <a:pt x="330" y="2"/>
                    <a:pt x="333" y="0"/>
                  </a:cubicBezTo>
                  <a:cubicBezTo>
                    <a:pt x="337" y="0"/>
                    <a:pt x="338" y="2"/>
                    <a:pt x="340" y="5"/>
                  </a:cubicBezTo>
                  <a:cubicBezTo>
                    <a:pt x="350" y="12"/>
                    <a:pt x="355" y="21"/>
                    <a:pt x="361" y="33"/>
                  </a:cubicBezTo>
                  <a:cubicBezTo>
                    <a:pt x="369" y="46"/>
                    <a:pt x="376" y="59"/>
                    <a:pt x="388" y="69"/>
                  </a:cubicBezTo>
                  <a:cubicBezTo>
                    <a:pt x="396" y="74"/>
                    <a:pt x="401" y="79"/>
                    <a:pt x="407" y="81"/>
                  </a:cubicBezTo>
                  <a:cubicBezTo>
                    <a:pt x="404" y="105"/>
                    <a:pt x="407" y="128"/>
                    <a:pt x="425" y="140"/>
                  </a:cubicBezTo>
                  <a:cubicBezTo>
                    <a:pt x="440" y="148"/>
                    <a:pt x="455" y="143"/>
                    <a:pt x="465" y="140"/>
                  </a:cubicBezTo>
                  <a:cubicBezTo>
                    <a:pt x="472" y="138"/>
                    <a:pt x="477" y="137"/>
                    <a:pt x="480" y="137"/>
                  </a:cubicBezTo>
                  <a:cubicBezTo>
                    <a:pt x="491" y="137"/>
                    <a:pt x="509" y="145"/>
                    <a:pt x="519" y="150"/>
                  </a:cubicBezTo>
                  <a:cubicBezTo>
                    <a:pt x="541" y="160"/>
                    <a:pt x="552" y="175"/>
                    <a:pt x="564" y="193"/>
                  </a:cubicBezTo>
                  <a:cubicBezTo>
                    <a:pt x="569" y="201"/>
                    <a:pt x="575" y="208"/>
                    <a:pt x="582" y="216"/>
                  </a:cubicBezTo>
                  <a:cubicBezTo>
                    <a:pt x="612" y="250"/>
                    <a:pt x="646" y="260"/>
                    <a:pt x="689" y="267"/>
                  </a:cubicBezTo>
                  <a:cubicBezTo>
                    <a:pt x="709" y="272"/>
                    <a:pt x="725" y="278"/>
                    <a:pt x="730" y="288"/>
                  </a:cubicBezTo>
                  <a:cubicBezTo>
                    <a:pt x="734" y="293"/>
                    <a:pt x="735" y="298"/>
                    <a:pt x="734" y="305"/>
                  </a:cubicBezTo>
                  <a:cubicBezTo>
                    <a:pt x="732" y="308"/>
                    <a:pt x="729" y="311"/>
                    <a:pt x="725" y="315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7" name="Freeform 43">
              <a:extLst>
                <a:ext uri="{FF2B5EF4-FFF2-40B4-BE49-F238E27FC236}">
                  <a16:creationId xmlns:a16="http://schemas.microsoft.com/office/drawing/2014/main" id="{7B410B9A-0908-7A4F-8727-57063C86ED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3475" y="3138488"/>
              <a:ext cx="460375" cy="279400"/>
            </a:xfrm>
            <a:custGeom>
              <a:avLst/>
              <a:gdLst>
                <a:gd name="T0" fmla="*/ 740 w 1281"/>
                <a:gd name="T1" fmla="*/ 427 h 774"/>
                <a:gd name="T2" fmla="*/ 724 w 1281"/>
                <a:gd name="T3" fmla="*/ 514 h 774"/>
                <a:gd name="T4" fmla="*/ 714 w 1281"/>
                <a:gd name="T5" fmla="*/ 562 h 774"/>
                <a:gd name="T6" fmla="*/ 669 w 1281"/>
                <a:gd name="T7" fmla="*/ 592 h 774"/>
                <a:gd name="T8" fmla="*/ 610 w 1281"/>
                <a:gd name="T9" fmla="*/ 676 h 774"/>
                <a:gd name="T10" fmla="*/ 569 w 1281"/>
                <a:gd name="T11" fmla="*/ 737 h 774"/>
                <a:gd name="T12" fmla="*/ 516 w 1281"/>
                <a:gd name="T13" fmla="*/ 773 h 774"/>
                <a:gd name="T14" fmla="*/ 480 w 1281"/>
                <a:gd name="T15" fmla="*/ 727 h 774"/>
                <a:gd name="T16" fmla="*/ 468 w 1281"/>
                <a:gd name="T17" fmla="*/ 694 h 774"/>
                <a:gd name="T18" fmla="*/ 401 w 1281"/>
                <a:gd name="T19" fmla="*/ 710 h 774"/>
                <a:gd name="T20" fmla="*/ 351 w 1281"/>
                <a:gd name="T21" fmla="*/ 725 h 774"/>
                <a:gd name="T22" fmla="*/ 285 w 1281"/>
                <a:gd name="T23" fmla="*/ 745 h 774"/>
                <a:gd name="T24" fmla="*/ 236 w 1281"/>
                <a:gd name="T25" fmla="*/ 743 h 774"/>
                <a:gd name="T26" fmla="*/ 224 w 1281"/>
                <a:gd name="T27" fmla="*/ 725 h 774"/>
                <a:gd name="T28" fmla="*/ 210 w 1281"/>
                <a:gd name="T29" fmla="*/ 695 h 774"/>
                <a:gd name="T30" fmla="*/ 196 w 1281"/>
                <a:gd name="T31" fmla="*/ 643 h 774"/>
                <a:gd name="T32" fmla="*/ 186 w 1281"/>
                <a:gd name="T33" fmla="*/ 552 h 774"/>
                <a:gd name="T34" fmla="*/ 157 w 1281"/>
                <a:gd name="T35" fmla="*/ 508 h 774"/>
                <a:gd name="T36" fmla="*/ 149 w 1281"/>
                <a:gd name="T37" fmla="*/ 496 h 774"/>
                <a:gd name="T38" fmla="*/ 116 w 1281"/>
                <a:gd name="T39" fmla="*/ 460 h 774"/>
                <a:gd name="T40" fmla="*/ 88 w 1281"/>
                <a:gd name="T41" fmla="*/ 430 h 774"/>
                <a:gd name="T42" fmla="*/ 41 w 1281"/>
                <a:gd name="T43" fmla="*/ 376 h 774"/>
                <a:gd name="T44" fmla="*/ 20 w 1281"/>
                <a:gd name="T45" fmla="*/ 313 h 774"/>
                <a:gd name="T46" fmla="*/ 4 w 1281"/>
                <a:gd name="T47" fmla="*/ 270 h 774"/>
                <a:gd name="T48" fmla="*/ 28 w 1281"/>
                <a:gd name="T49" fmla="*/ 252 h 774"/>
                <a:gd name="T50" fmla="*/ 68 w 1281"/>
                <a:gd name="T51" fmla="*/ 237 h 774"/>
                <a:gd name="T52" fmla="*/ 137 w 1281"/>
                <a:gd name="T53" fmla="*/ 201 h 774"/>
                <a:gd name="T54" fmla="*/ 210 w 1281"/>
                <a:gd name="T55" fmla="*/ 183 h 774"/>
                <a:gd name="T56" fmla="*/ 350 w 1281"/>
                <a:gd name="T57" fmla="*/ 142 h 774"/>
                <a:gd name="T58" fmla="*/ 399 w 1281"/>
                <a:gd name="T59" fmla="*/ 84 h 774"/>
                <a:gd name="T60" fmla="*/ 455 w 1281"/>
                <a:gd name="T61" fmla="*/ 55 h 774"/>
                <a:gd name="T62" fmla="*/ 523 w 1281"/>
                <a:gd name="T63" fmla="*/ 60 h 774"/>
                <a:gd name="T64" fmla="*/ 646 w 1281"/>
                <a:gd name="T65" fmla="*/ 41 h 774"/>
                <a:gd name="T66" fmla="*/ 656 w 1281"/>
                <a:gd name="T67" fmla="*/ 10 h 774"/>
                <a:gd name="T68" fmla="*/ 804 w 1281"/>
                <a:gd name="T69" fmla="*/ 28 h 774"/>
                <a:gd name="T70" fmla="*/ 864 w 1281"/>
                <a:gd name="T71" fmla="*/ 43 h 774"/>
                <a:gd name="T72" fmla="*/ 1025 w 1281"/>
                <a:gd name="T73" fmla="*/ 48 h 774"/>
                <a:gd name="T74" fmla="*/ 1102 w 1281"/>
                <a:gd name="T75" fmla="*/ 99 h 774"/>
                <a:gd name="T76" fmla="*/ 1140 w 1281"/>
                <a:gd name="T77" fmla="*/ 132 h 774"/>
                <a:gd name="T78" fmla="*/ 1157 w 1281"/>
                <a:gd name="T79" fmla="*/ 153 h 774"/>
                <a:gd name="T80" fmla="*/ 1231 w 1281"/>
                <a:gd name="T81" fmla="*/ 237 h 774"/>
                <a:gd name="T82" fmla="*/ 1275 w 1281"/>
                <a:gd name="T83" fmla="*/ 295 h 774"/>
                <a:gd name="T84" fmla="*/ 1147 w 1281"/>
                <a:gd name="T85" fmla="*/ 330 h 774"/>
                <a:gd name="T86" fmla="*/ 1018 w 1281"/>
                <a:gd name="T87" fmla="*/ 358 h 774"/>
                <a:gd name="T88" fmla="*/ 954 w 1281"/>
                <a:gd name="T89" fmla="*/ 392 h 774"/>
                <a:gd name="T90" fmla="*/ 951 w 1281"/>
                <a:gd name="T91" fmla="*/ 391 h 774"/>
                <a:gd name="T92" fmla="*/ 852 w 1281"/>
                <a:gd name="T93" fmla="*/ 351 h 774"/>
                <a:gd name="T94" fmla="*/ 819 w 1281"/>
                <a:gd name="T95" fmla="*/ 376 h 774"/>
                <a:gd name="T96" fmla="*/ 773 w 1281"/>
                <a:gd name="T97" fmla="*/ 369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81" h="774">
                  <a:moveTo>
                    <a:pt x="740" y="414"/>
                  </a:moveTo>
                  <a:lnTo>
                    <a:pt x="740" y="427"/>
                  </a:lnTo>
                  <a:cubicBezTo>
                    <a:pt x="740" y="443"/>
                    <a:pt x="740" y="452"/>
                    <a:pt x="733" y="470"/>
                  </a:cubicBezTo>
                  <a:cubicBezTo>
                    <a:pt x="728" y="485"/>
                    <a:pt x="727" y="499"/>
                    <a:pt x="724" y="514"/>
                  </a:cubicBezTo>
                  <a:cubicBezTo>
                    <a:pt x="722" y="529"/>
                    <a:pt x="720" y="544"/>
                    <a:pt x="715" y="555"/>
                  </a:cubicBezTo>
                  <a:cubicBezTo>
                    <a:pt x="715" y="557"/>
                    <a:pt x="714" y="560"/>
                    <a:pt x="714" y="562"/>
                  </a:cubicBezTo>
                  <a:cubicBezTo>
                    <a:pt x="709" y="570"/>
                    <a:pt x="702" y="575"/>
                    <a:pt x="695" y="580"/>
                  </a:cubicBezTo>
                  <a:cubicBezTo>
                    <a:pt x="687" y="585"/>
                    <a:pt x="679" y="588"/>
                    <a:pt x="669" y="592"/>
                  </a:cubicBezTo>
                  <a:cubicBezTo>
                    <a:pt x="656" y="597"/>
                    <a:pt x="643" y="602"/>
                    <a:pt x="630" y="611"/>
                  </a:cubicBezTo>
                  <a:cubicBezTo>
                    <a:pt x="603" y="633"/>
                    <a:pt x="607" y="656"/>
                    <a:pt x="610" y="676"/>
                  </a:cubicBezTo>
                  <a:cubicBezTo>
                    <a:pt x="611" y="686"/>
                    <a:pt x="611" y="695"/>
                    <a:pt x="608" y="705"/>
                  </a:cubicBezTo>
                  <a:cubicBezTo>
                    <a:pt x="603" y="722"/>
                    <a:pt x="588" y="728"/>
                    <a:pt x="569" y="737"/>
                  </a:cubicBezTo>
                  <a:cubicBezTo>
                    <a:pt x="555" y="743"/>
                    <a:pt x="544" y="748"/>
                    <a:pt x="532" y="756"/>
                  </a:cubicBezTo>
                  <a:cubicBezTo>
                    <a:pt x="526" y="761"/>
                    <a:pt x="519" y="768"/>
                    <a:pt x="516" y="773"/>
                  </a:cubicBezTo>
                  <a:cubicBezTo>
                    <a:pt x="511" y="770"/>
                    <a:pt x="506" y="765"/>
                    <a:pt x="501" y="761"/>
                  </a:cubicBezTo>
                  <a:cubicBezTo>
                    <a:pt x="491" y="755"/>
                    <a:pt x="476" y="742"/>
                    <a:pt x="480" y="727"/>
                  </a:cubicBezTo>
                  <a:cubicBezTo>
                    <a:pt x="481" y="723"/>
                    <a:pt x="481" y="718"/>
                    <a:pt x="481" y="712"/>
                  </a:cubicBezTo>
                  <a:cubicBezTo>
                    <a:pt x="480" y="702"/>
                    <a:pt x="475" y="697"/>
                    <a:pt x="468" y="694"/>
                  </a:cubicBezTo>
                  <a:cubicBezTo>
                    <a:pt x="452" y="682"/>
                    <a:pt x="432" y="686"/>
                    <a:pt x="410" y="704"/>
                  </a:cubicBezTo>
                  <a:cubicBezTo>
                    <a:pt x="407" y="705"/>
                    <a:pt x="404" y="709"/>
                    <a:pt x="401" y="710"/>
                  </a:cubicBezTo>
                  <a:cubicBezTo>
                    <a:pt x="392" y="718"/>
                    <a:pt x="384" y="727"/>
                    <a:pt x="374" y="728"/>
                  </a:cubicBezTo>
                  <a:cubicBezTo>
                    <a:pt x="368" y="728"/>
                    <a:pt x="359" y="727"/>
                    <a:pt x="351" y="725"/>
                  </a:cubicBezTo>
                  <a:cubicBezTo>
                    <a:pt x="338" y="722"/>
                    <a:pt x="323" y="718"/>
                    <a:pt x="308" y="725"/>
                  </a:cubicBezTo>
                  <a:cubicBezTo>
                    <a:pt x="298" y="730"/>
                    <a:pt x="292" y="738"/>
                    <a:pt x="285" y="745"/>
                  </a:cubicBezTo>
                  <a:cubicBezTo>
                    <a:pt x="280" y="751"/>
                    <a:pt x="275" y="756"/>
                    <a:pt x="270" y="758"/>
                  </a:cubicBezTo>
                  <a:cubicBezTo>
                    <a:pt x="261" y="763"/>
                    <a:pt x="247" y="753"/>
                    <a:pt x="236" y="743"/>
                  </a:cubicBezTo>
                  <a:cubicBezTo>
                    <a:pt x="231" y="740"/>
                    <a:pt x="228" y="737"/>
                    <a:pt x="226" y="733"/>
                  </a:cubicBezTo>
                  <a:cubicBezTo>
                    <a:pt x="224" y="732"/>
                    <a:pt x="224" y="728"/>
                    <a:pt x="224" y="725"/>
                  </a:cubicBezTo>
                  <a:cubicBezTo>
                    <a:pt x="223" y="723"/>
                    <a:pt x="223" y="720"/>
                    <a:pt x="223" y="717"/>
                  </a:cubicBezTo>
                  <a:cubicBezTo>
                    <a:pt x="219" y="709"/>
                    <a:pt x="214" y="702"/>
                    <a:pt x="210" y="695"/>
                  </a:cubicBezTo>
                  <a:cubicBezTo>
                    <a:pt x="208" y="692"/>
                    <a:pt x="205" y="689"/>
                    <a:pt x="203" y="686"/>
                  </a:cubicBezTo>
                  <a:cubicBezTo>
                    <a:pt x="196" y="674"/>
                    <a:pt x="196" y="659"/>
                    <a:pt x="196" y="643"/>
                  </a:cubicBezTo>
                  <a:lnTo>
                    <a:pt x="196" y="639"/>
                  </a:lnTo>
                  <a:cubicBezTo>
                    <a:pt x="195" y="610"/>
                    <a:pt x="191" y="580"/>
                    <a:pt x="186" y="552"/>
                  </a:cubicBezTo>
                  <a:cubicBezTo>
                    <a:pt x="185" y="542"/>
                    <a:pt x="180" y="521"/>
                    <a:pt x="163" y="511"/>
                  </a:cubicBezTo>
                  <a:cubicBezTo>
                    <a:pt x="162" y="509"/>
                    <a:pt x="160" y="509"/>
                    <a:pt x="157" y="508"/>
                  </a:cubicBezTo>
                  <a:cubicBezTo>
                    <a:pt x="155" y="506"/>
                    <a:pt x="153" y="506"/>
                    <a:pt x="153" y="504"/>
                  </a:cubicBezTo>
                  <a:cubicBezTo>
                    <a:pt x="152" y="504"/>
                    <a:pt x="150" y="499"/>
                    <a:pt x="149" y="496"/>
                  </a:cubicBezTo>
                  <a:cubicBezTo>
                    <a:pt x="147" y="491"/>
                    <a:pt x="145" y="488"/>
                    <a:pt x="144" y="483"/>
                  </a:cubicBezTo>
                  <a:cubicBezTo>
                    <a:pt x="137" y="471"/>
                    <a:pt x="125" y="466"/>
                    <a:pt x="116" y="460"/>
                  </a:cubicBezTo>
                  <a:cubicBezTo>
                    <a:pt x="111" y="458"/>
                    <a:pt x="106" y="455"/>
                    <a:pt x="102" y="452"/>
                  </a:cubicBezTo>
                  <a:cubicBezTo>
                    <a:pt x="96" y="447"/>
                    <a:pt x="93" y="438"/>
                    <a:pt x="88" y="430"/>
                  </a:cubicBezTo>
                  <a:cubicBezTo>
                    <a:pt x="86" y="425"/>
                    <a:pt x="83" y="420"/>
                    <a:pt x="81" y="415"/>
                  </a:cubicBezTo>
                  <a:cubicBezTo>
                    <a:pt x="71" y="399"/>
                    <a:pt x="58" y="386"/>
                    <a:pt x="41" y="376"/>
                  </a:cubicBezTo>
                  <a:cubicBezTo>
                    <a:pt x="48" y="364"/>
                    <a:pt x="50" y="351"/>
                    <a:pt x="38" y="335"/>
                  </a:cubicBezTo>
                  <a:cubicBezTo>
                    <a:pt x="32" y="326"/>
                    <a:pt x="27" y="320"/>
                    <a:pt x="20" y="313"/>
                  </a:cubicBezTo>
                  <a:cubicBezTo>
                    <a:pt x="7" y="300"/>
                    <a:pt x="0" y="292"/>
                    <a:pt x="2" y="277"/>
                  </a:cubicBezTo>
                  <a:cubicBezTo>
                    <a:pt x="2" y="274"/>
                    <a:pt x="2" y="272"/>
                    <a:pt x="4" y="270"/>
                  </a:cubicBezTo>
                  <a:cubicBezTo>
                    <a:pt x="5" y="262"/>
                    <a:pt x="12" y="259"/>
                    <a:pt x="25" y="254"/>
                  </a:cubicBezTo>
                  <a:cubicBezTo>
                    <a:pt x="27" y="252"/>
                    <a:pt x="28" y="252"/>
                    <a:pt x="28" y="252"/>
                  </a:cubicBezTo>
                  <a:lnTo>
                    <a:pt x="37" y="247"/>
                  </a:lnTo>
                  <a:cubicBezTo>
                    <a:pt x="46" y="244"/>
                    <a:pt x="58" y="241"/>
                    <a:pt x="68" y="237"/>
                  </a:cubicBezTo>
                  <a:cubicBezTo>
                    <a:pt x="84" y="232"/>
                    <a:pt x="102" y="226"/>
                    <a:pt x="117" y="218"/>
                  </a:cubicBezTo>
                  <a:cubicBezTo>
                    <a:pt x="125" y="213"/>
                    <a:pt x="130" y="206"/>
                    <a:pt x="137" y="201"/>
                  </a:cubicBezTo>
                  <a:cubicBezTo>
                    <a:pt x="149" y="193"/>
                    <a:pt x="157" y="186"/>
                    <a:pt x="172" y="183"/>
                  </a:cubicBezTo>
                  <a:cubicBezTo>
                    <a:pt x="185" y="181"/>
                    <a:pt x="196" y="181"/>
                    <a:pt x="210" y="183"/>
                  </a:cubicBezTo>
                  <a:cubicBezTo>
                    <a:pt x="228" y="183"/>
                    <a:pt x="247" y="185"/>
                    <a:pt x="267" y="180"/>
                  </a:cubicBezTo>
                  <a:cubicBezTo>
                    <a:pt x="292" y="173"/>
                    <a:pt x="326" y="160"/>
                    <a:pt x="350" y="142"/>
                  </a:cubicBezTo>
                  <a:cubicBezTo>
                    <a:pt x="368" y="127"/>
                    <a:pt x="384" y="107"/>
                    <a:pt x="396" y="84"/>
                  </a:cubicBezTo>
                  <a:lnTo>
                    <a:pt x="399" y="84"/>
                  </a:lnTo>
                  <a:cubicBezTo>
                    <a:pt x="409" y="86"/>
                    <a:pt x="417" y="86"/>
                    <a:pt x="425" y="83"/>
                  </a:cubicBezTo>
                  <a:cubicBezTo>
                    <a:pt x="443" y="78"/>
                    <a:pt x="450" y="64"/>
                    <a:pt x="455" y="55"/>
                  </a:cubicBezTo>
                  <a:cubicBezTo>
                    <a:pt x="458" y="48"/>
                    <a:pt x="460" y="43"/>
                    <a:pt x="463" y="40"/>
                  </a:cubicBezTo>
                  <a:cubicBezTo>
                    <a:pt x="478" y="28"/>
                    <a:pt x="496" y="40"/>
                    <a:pt x="523" y="60"/>
                  </a:cubicBezTo>
                  <a:cubicBezTo>
                    <a:pt x="542" y="74"/>
                    <a:pt x="564" y="89"/>
                    <a:pt x="587" y="86"/>
                  </a:cubicBezTo>
                  <a:cubicBezTo>
                    <a:pt x="610" y="83"/>
                    <a:pt x="635" y="63"/>
                    <a:pt x="646" y="41"/>
                  </a:cubicBezTo>
                  <a:cubicBezTo>
                    <a:pt x="649" y="35"/>
                    <a:pt x="651" y="27"/>
                    <a:pt x="653" y="20"/>
                  </a:cubicBezTo>
                  <a:cubicBezTo>
                    <a:pt x="653" y="17"/>
                    <a:pt x="654" y="13"/>
                    <a:pt x="656" y="10"/>
                  </a:cubicBezTo>
                  <a:cubicBezTo>
                    <a:pt x="682" y="13"/>
                    <a:pt x="709" y="18"/>
                    <a:pt x="737" y="22"/>
                  </a:cubicBezTo>
                  <a:cubicBezTo>
                    <a:pt x="756" y="25"/>
                    <a:pt x="778" y="27"/>
                    <a:pt x="804" y="28"/>
                  </a:cubicBezTo>
                  <a:cubicBezTo>
                    <a:pt x="817" y="28"/>
                    <a:pt x="829" y="32"/>
                    <a:pt x="840" y="36"/>
                  </a:cubicBezTo>
                  <a:cubicBezTo>
                    <a:pt x="847" y="38"/>
                    <a:pt x="855" y="41"/>
                    <a:pt x="864" y="43"/>
                  </a:cubicBezTo>
                  <a:cubicBezTo>
                    <a:pt x="893" y="50"/>
                    <a:pt x="921" y="36"/>
                    <a:pt x="946" y="27"/>
                  </a:cubicBezTo>
                  <a:cubicBezTo>
                    <a:pt x="984" y="10"/>
                    <a:pt x="1005" y="0"/>
                    <a:pt x="1025" y="48"/>
                  </a:cubicBezTo>
                  <a:cubicBezTo>
                    <a:pt x="1043" y="86"/>
                    <a:pt x="1056" y="91"/>
                    <a:pt x="1088" y="96"/>
                  </a:cubicBezTo>
                  <a:cubicBezTo>
                    <a:pt x="1091" y="97"/>
                    <a:pt x="1097" y="97"/>
                    <a:pt x="1102" y="99"/>
                  </a:cubicBezTo>
                  <a:cubicBezTo>
                    <a:pt x="1117" y="102"/>
                    <a:pt x="1125" y="111"/>
                    <a:pt x="1132" y="120"/>
                  </a:cubicBezTo>
                  <a:cubicBezTo>
                    <a:pt x="1135" y="124"/>
                    <a:pt x="1139" y="129"/>
                    <a:pt x="1140" y="132"/>
                  </a:cubicBezTo>
                  <a:cubicBezTo>
                    <a:pt x="1144" y="135"/>
                    <a:pt x="1145" y="139"/>
                    <a:pt x="1149" y="142"/>
                  </a:cubicBezTo>
                  <a:cubicBezTo>
                    <a:pt x="1152" y="147"/>
                    <a:pt x="1153" y="150"/>
                    <a:pt x="1157" y="153"/>
                  </a:cubicBezTo>
                  <a:cubicBezTo>
                    <a:pt x="1165" y="162"/>
                    <a:pt x="1172" y="170"/>
                    <a:pt x="1180" y="178"/>
                  </a:cubicBezTo>
                  <a:cubicBezTo>
                    <a:pt x="1196" y="198"/>
                    <a:pt x="1213" y="219"/>
                    <a:pt x="1231" y="237"/>
                  </a:cubicBezTo>
                  <a:cubicBezTo>
                    <a:pt x="1236" y="241"/>
                    <a:pt x="1241" y="246"/>
                    <a:pt x="1246" y="251"/>
                  </a:cubicBezTo>
                  <a:cubicBezTo>
                    <a:pt x="1265" y="267"/>
                    <a:pt x="1280" y="282"/>
                    <a:pt x="1275" y="295"/>
                  </a:cubicBezTo>
                  <a:cubicBezTo>
                    <a:pt x="1270" y="308"/>
                    <a:pt x="1221" y="341"/>
                    <a:pt x="1201" y="346"/>
                  </a:cubicBezTo>
                  <a:cubicBezTo>
                    <a:pt x="1180" y="351"/>
                    <a:pt x="1165" y="341"/>
                    <a:pt x="1147" y="330"/>
                  </a:cubicBezTo>
                  <a:cubicBezTo>
                    <a:pt x="1139" y="325"/>
                    <a:pt x="1130" y="320"/>
                    <a:pt x="1121" y="315"/>
                  </a:cubicBezTo>
                  <a:cubicBezTo>
                    <a:pt x="1066" y="290"/>
                    <a:pt x="1038" y="330"/>
                    <a:pt x="1018" y="358"/>
                  </a:cubicBezTo>
                  <a:cubicBezTo>
                    <a:pt x="1005" y="376"/>
                    <a:pt x="995" y="391"/>
                    <a:pt x="982" y="394"/>
                  </a:cubicBezTo>
                  <a:cubicBezTo>
                    <a:pt x="974" y="399"/>
                    <a:pt x="966" y="397"/>
                    <a:pt x="954" y="392"/>
                  </a:cubicBezTo>
                  <a:cubicBezTo>
                    <a:pt x="954" y="392"/>
                    <a:pt x="952" y="392"/>
                    <a:pt x="951" y="391"/>
                  </a:cubicBezTo>
                  <a:cubicBezTo>
                    <a:pt x="951" y="391"/>
                    <a:pt x="952" y="391"/>
                    <a:pt x="951" y="391"/>
                  </a:cubicBezTo>
                  <a:cubicBezTo>
                    <a:pt x="943" y="387"/>
                    <a:pt x="936" y="381"/>
                    <a:pt x="928" y="374"/>
                  </a:cubicBezTo>
                  <a:cubicBezTo>
                    <a:pt x="908" y="359"/>
                    <a:pt x="885" y="340"/>
                    <a:pt x="852" y="351"/>
                  </a:cubicBezTo>
                  <a:cubicBezTo>
                    <a:pt x="842" y="354"/>
                    <a:pt x="836" y="361"/>
                    <a:pt x="831" y="368"/>
                  </a:cubicBezTo>
                  <a:cubicBezTo>
                    <a:pt x="826" y="371"/>
                    <a:pt x="822" y="374"/>
                    <a:pt x="819" y="376"/>
                  </a:cubicBezTo>
                  <a:cubicBezTo>
                    <a:pt x="812" y="379"/>
                    <a:pt x="809" y="377"/>
                    <a:pt x="801" y="374"/>
                  </a:cubicBezTo>
                  <a:cubicBezTo>
                    <a:pt x="794" y="373"/>
                    <a:pt x="784" y="368"/>
                    <a:pt x="773" y="369"/>
                  </a:cubicBezTo>
                  <a:cubicBezTo>
                    <a:pt x="740" y="374"/>
                    <a:pt x="740" y="397"/>
                    <a:pt x="740" y="414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8" name="Freeform 44">
              <a:extLst>
                <a:ext uri="{FF2B5EF4-FFF2-40B4-BE49-F238E27FC236}">
                  <a16:creationId xmlns:a16="http://schemas.microsoft.com/office/drawing/2014/main" id="{C1F6FB49-2347-2B4B-811E-1B08FEF26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38413" y="3632200"/>
              <a:ext cx="295275" cy="254000"/>
            </a:xfrm>
            <a:custGeom>
              <a:avLst/>
              <a:gdLst>
                <a:gd name="T0" fmla="*/ 211 w 820"/>
                <a:gd name="T1" fmla="*/ 704 h 707"/>
                <a:gd name="T2" fmla="*/ 168 w 820"/>
                <a:gd name="T3" fmla="*/ 706 h 707"/>
                <a:gd name="T4" fmla="*/ 171 w 820"/>
                <a:gd name="T5" fmla="*/ 673 h 707"/>
                <a:gd name="T6" fmla="*/ 145 w 820"/>
                <a:gd name="T7" fmla="*/ 617 h 707"/>
                <a:gd name="T8" fmla="*/ 125 w 820"/>
                <a:gd name="T9" fmla="*/ 592 h 707"/>
                <a:gd name="T10" fmla="*/ 127 w 820"/>
                <a:gd name="T11" fmla="*/ 575 h 707"/>
                <a:gd name="T12" fmla="*/ 128 w 820"/>
                <a:gd name="T13" fmla="*/ 551 h 707"/>
                <a:gd name="T14" fmla="*/ 114 w 820"/>
                <a:gd name="T15" fmla="*/ 513 h 707"/>
                <a:gd name="T16" fmla="*/ 105 w 820"/>
                <a:gd name="T17" fmla="*/ 500 h 707"/>
                <a:gd name="T18" fmla="*/ 94 w 820"/>
                <a:gd name="T19" fmla="*/ 450 h 707"/>
                <a:gd name="T20" fmla="*/ 84 w 820"/>
                <a:gd name="T21" fmla="*/ 402 h 707"/>
                <a:gd name="T22" fmla="*/ 54 w 820"/>
                <a:gd name="T23" fmla="*/ 361 h 707"/>
                <a:gd name="T24" fmla="*/ 31 w 820"/>
                <a:gd name="T25" fmla="*/ 332 h 707"/>
                <a:gd name="T26" fmla="*/ 30 w 820"/>
                <a:gd name="T27" fmla="*/ 314 h 707"/>
                <a:gd name="T28" fmla="*/ 30 w 820"/>
                <a:gd name="T29" fmla="*/ 297 h 707"/>
                <a:gd name="T30" fmla="*/ 13 w 820"/>
                <a:gd name="T31" fmla="*/ 253 h 707"/>
                <a:gd name="T32" fmla="*/ 8 w 820"/>
                <a:gd name="T33" fmla="*/ 248 h 707"/>
                <a:gd name="T34" fmla="*/ 0 w 820"/>
                <a:gd name="T35" fmla="*/ 221 h 707"/>
                <a:gd name="T36" fmla="*/ 11 w 820"/>
                <a:gd name="T37" fmla="*/ 218 h 707"/>
                <a:gd name="T38" fmla="*/ 49 w 820"/>
                <a:gd name="T39" fmla="*/ 205 h 707"/>
                <a:gd name="T40" fmla="*/ 46 w 820"/>
                <a:gd name="T41" fmla="*/ 141 h 707"/>
                <a:gd name="T42" fmla="*/ 39 w 820"/>
                <a:gd name="T43" fmla="*/ 126 h 707"/>
                <a:gd name="T44" fmla="*/ 36 w 820"/>
                <a:gd name="T45" fmla="*/ 63 h 707"/>
                <a:gd name="T46" fmla="*/ 66 w 820"/>
                <a:gd name="T47" fmla="*/ 19 h 707"/>
                <a:gd name="T48" fmla="*/ 109 w 820"/>
                <a:gd name="T49" fmla="*/ 20 h 707"/>
                <a:gd name="T50" fmla="*/ 156 w 820"/>
                <a:gd name="T51" fmla="*/ 19 h 707"/>
                <a:gd name="T52" fmla="*/ 166 w 820"/>
                <a:gd name="T53" fmla="*/ 12 h 707"/>
                <a:gd name="T54" fmla="*/ 208 w 820"/>
                <a:gd name="T55" fmla="*/ 5 h 707"/>
                <a:gd name="T56" fmla="*/ 221 w 820"/>
                <a:gd name="T57" fmla="*/ 19 h 707"/>
                <a:gd name="T58" fmla="*/ 240 w 820"/>
                <a:gd name="T59" fmla="*/ 38 h 707"/>
                <a:gd name="T60" fmla="*/ 282 w 820"/>
                <a:gd name="T61" fmla="*/ 40 h 707"/>
                <a:gd name="T62" fmla="*/ 301 w 820"/>
                <a:gd name="T63" fmla="*/ 38 h 707"/>
                <a:gd name="T64" fmla="*/ 348 w 820"/>
                <a:gd name="T65" fmla="*/ 83 h 707"/>
                <a:gd name="T66" fmla="*/ 407 w 820"/>
                <a:gd name="T67" fmla="*/ 137 h 707"/>
                <a:gd name="T68" fmla="*/ 537 w 820"/>
                <a:gd name="T69" fmla="*/ 86 h 707"/>
                <a:gd name="T70" fmla="*/ 572 w 820"/>
                <a:gd name="T71" fmla="*/ 27 h 707"/>
                <a:gd name="T72" fmla="*/ 578 w 820"/>
                <a:gd name="T73" fmla="*/ 37 h 707"/>
                <a:gd name="T74" fmla="*/ 595 w 820"/>
                <a:gd name="T75" fmla="*/ 53 h 707"/>
                <a:gd name="T76" fmla="*/ 608 w 820"/>
                <a:gd name="T77" fmla="*/ 63 h 707"/>
                <a:gd name="T78" fmla="*/ 616 w 820"/>
                <a:gd name="T79" fmla="*/ 78 h 707"/>
                <a:gd name="T80" fmla="*/ 656 w 820"/>
                <a:gd name="T81" fmla="*/ 109 h 707"/>
                <a:gd name="T82" fmla="*/ 703 w 820"/>
                <a:gd name="T83" fmla="*/ 108 h 707"/>
                <a:gd name="T84" fmla="*/ 751 w 820"/>
                <a:gd name="T85" fmla="*/ 108 h 707"/>
                <a:gd name="T86" fmla="*/ 807 w 820"/>
                <a:gd name="T87" fmla="*/ 182 h 707"/>
                <a:gd name="T88" fmla="*/ 807 w 820"/>
                <a:gd name="T89" fmla="*/ 276 h 707"/>
                <a:gd name="T90" fmla="*/ 776 w 820"/>
                <a:gd name="T91" fmla="*/ 332 h 707"/>
                <a:gd name="T92" fmla="*/ 753 w 820"/>
                <a:gd name="T93" fmla="*/ 366 h 707"/>
                <a:gd name="T94" fmla="*/ 708 w 820"/>
                <a:gd name="T95" fmla="*/ 406 h 707"/>
                <a:gd name="T96" fmla="*/ 682 w 820"/>
                <a:gd name="T97" fmla="*/ 421 h 707"/>
                <a:gd name="T98" fmla="*/ 642 w 820"/>
                <a:gd name="T99" fmla="*/ 468 h 707"/>
                <a:gd name="T100" fmla="*/ 619 w 820"/>
                <a:gd name="T101" fmla="*/ 500 h 707"/>
                <a:gd name="T102" fmla="*/ 540 w 820"/>
                <a:gd name="T103" fmla="*/ 551 h 707"/>
                <a:gd name="T104" fmla="*/ 516 w 820"/>
                <a:gd name="T105" fmla="*/ 551 h 707"/>
                <a:gd name="T106" fmla="*/ 502 w 820"/>
                <a:gd name="T107" fmla="*/ 549 h 707"/>
                <a:gd name="T108" fmla="*/ 461 w 820"/>
                <a:gd name="T109" fmla="*/ 562 h 707"/>
                <a:gd name="T110" fmla="*/ 448 w 820"/>
                <a:gd name="T111" fmla="*/ 574 h 707"/>
                <a:gd name="T112" fmla="*/ 425 w 820"/>
                <a:gd name="T113" fmla="*/ 587 h 707"/>
                <a:gd name="T114" fmla="*/ 412 w 820"/>
                <a:gd name="T115" fmla="*/ 590 h 707"/>
                <a:gd name="T116" fmla="*/ 372 w 820"/>
                <a:gd name="T117" fmla="*/ 603 h 707"/>
                <a:gd name="T118" fmla="*/ 331 w 820"/>
                <a:gd name="T119" fmla="*/ 648 h 707"/>
                <a:gd name="T120" fmla="*/ 295 w 820"/>
                <a:gd name="T121" fmla="*/ 689 h 707"/>
                <a:gd name="T122" fmla="*/ 211 w 820"/>
                <a:gd name="T123" fmla="*/ 704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0" h="707">
                  <a:moveTo>
                    <a:pt x="211" y="704"/>
                  </a:moveTo>
                  <a:cubicBezTo>
                    <a:pt x="196" y="706"/>
                    <a:pt x="183" y="706"/>
                    <a:pt x="168" y="706"/>
                  </a:cubicBezTo>
                  <a:cubicBezTo>
                    <a:pt x="170" y="696"/>
                    <a:pt x="171" y="684"/>
                    <a:pt x="171" y="673"/>
                  </a:cubicBezTo>
                  <a:cubicBezTo>
                    <a:pt x="173" y="643"/>
                    <a:pt x="156" y="628"/>
                    <a:pt x="145" y="617"/>
                  </a:cubicBezTo>
                  <a:cubicBezTo>
                    <a:pt x="135" y="610"/>
                    <a:pt x="128" y="603"/>
                    <a:pt x="125" y="592"/>
                  </a:cubicBezTo>
                  <a:cubicBezTo>
                    <a:pt x="124" y="589"/>
                    <a:pt x="125" y="582"/>
                    <a:pt x="127" y="575"/>
                  </a:cubicBezTo>
                  <a:cubicBezTo>
                    <a:pt x="128" y="567"/>
                    <a:pt x="130" y="559"/>
                    <a:pt x="128" y="551"/>
                  </a:cubicBezTo>
                  <a:cubicBezTo>
                    <a:pt x="127" y="534"/>
                    <a:pt x="119" y="523"/>
                    <a:pt x="114" y="513"/>
                  </a:cubicBezTo>
                  <a:cubicBezTo>
                    <a:pt x="110" y="510"/>
                    <a:pt x="107" y="505"/>
                    <a:pt x="105" y="500"/>
                  </a:cubicBezTo>
                  <a:cubicBezTo>
                    <a:pt x="97" y="485"/>
                    <a:pt x="96" y="468"/>
                    <a:pt x="94" y="450"/>
                  </a:cubicBezTo>
                  <a:cubicBezTo>
                    <a:pt x="92" y="434"/>
                    <a:pt x="89" y="417"/>
                    <a:pt x="84" y="402"/>
                  </a:cubicBezTo>
                  <a:cubicBezTo>
                    <a:pt x="77" y="384"/>
                    <a:pt x="64" y="371"/>
                    <a:pt x="54" y="361"/>
                  </a:cubicBezTo>
                  <a:cubicBezTo>
                    <a:pt x="44" y="351"/>
                    <a:pt x="35" y="342"/>
                    <a:pt x="31" y="332"/>
                  </a:cubicBezTo>
                  <a:cubicBezTo>
                    <a:pt x="30" y="327"/>
                    <a:pt x="30" y="320"/>
                    <a:pt x="30" y="314"/>
                  </a:cubicBezTo>
                  <a:cubicBezTo>
                    <a:pt x="30" y="309"/>
                    <a:pt x="31" y="302"/>
                    <a:pt x="30" y="297"/>
                  </a:cubicBezTo>
                  <a:cubicBezTo>
                    <a:pt x="28" y="279"/>
                    <a:pt x="20" y="266"/>
                    <a:pt x="13" y="253"/>
                  </a:cubicBezTo>
                  <a:lnTo>
                    <a:pt x="8" y="248"/>
                  </a:lnTo>
                  <a:cubicBezTo>
                    <a:pt x="5" y="239"/>
                    <a:pt x="3" y="231"/>
                    <a:pt x="0" y="221"/>
                  </a:cubicBezTo>
                  <a:cubicBezTo>
                    <a:pt x="3" y="220"/>
                    <a:pt x="8" y="220"/>
                    <a:pt x="11" y="218"/>
                  </a:cubicBezTo>
                  <a:cubicBezTo>
                    <a:pt x="23" y="218"/>
                    <a:pt x="38" y="216"/>
                    <a:pt x="49" y="205"/>
                  </a:cubicBezTo>
                  <a:cubicBezTo>
                    <a:pt x="67" y="183"/>
                    <a:pt x="54" y="157"/>
                    <a:pt x="46" y="141"/>
                  </a:cubicBezTo>
                  <a:cubicBezTo>
                    <a:pt x="43" y="136"/>
                    <a:pt x="41" y="131"/>
                    <a:pt x="39" y="126"/>
                  </a:cubicBezTo>
                  <a:cubicBezTo>
                    <a:pt x="33" y="104"/>
                    <a:pt x="31" y="83"/>
                    <a:pt x="36" y="63"/>
                  </a:cubicBezTo>
                  <a:cubicBezTo>
                    <a:pt x="43" y="42"/>
                    <a:pt x="53" y="27"/>
                    <a:pt x="66" y="19"/>
                  </a:cubicBezTo>
                  <a:cubicBezTo>
                    <a:pt x="77" y="14"/>
                    <a:pt x="92" y="14"/>
                    <a:pt x="109" y="20"/>
                  </a:cubicBezTo>
                  <a:cubicBezTo>
                    <a:pt x="132" y="30"/>
                    <a:pt x="138" y="29"/>
                    <a:pt x="156" y="19"/>
                  </a:cubicBezTo>
                  <a:cubicBezTo>
                    <a:pt x="158" y="17"/>
                    <a:pt x="161" y="15"/>
                    <a:pt x="166" y="12"/>
                  </a:cubicBezTo>
                  <a:cubicBezTo>
                    <a:pt x="181" y="4"/>
                    <a:pt x="193" y="0"/>
                    <a:pt x="208" y="5"/>
                  </a:cubicBezTo>
                  <a:cubicBezTo>
                    <a:pt x="212" y="7"/>
                    <a:pt x="216" y="12"/>
                    <a:pt x="221" y="19"/>
                  </a:cubicBezTo>
                  <a:cubicBezTo>
                    <a:pt x="226" y="25"/>
                    <a:pt x="231" y="33"/>
                    <a:pt x="240" y="38"/>
                  </a:cubicBezTo>
                  <a:cubicBezTo>
                    <a:pt x="257" y="48"/>
                    <a:pt x="270" y="43"/>
                    <a:pt x="282" y="40"/>
                  </a:cubicBezTo>
                  <a:cubicBezTo>
                    <a:pt x="290" y="38"/>
                    <a:pt x="295" y="37"/>
                    <a:pt x="301" y="38"/>
                  </a:cubicBezTo>
                  <a:cubicBezTo>
                    <a:pt x="318" y="43"/>
                    <a:pt x="333" y="63"/>
                    <a:pt x="348" y="83"/>
                  </a:cubicBezTo>
                  <a:cubicBezTo>
                    <a:pt x="364" y="106"/>
                    <a:pt x="381" y="129"/>
                    <a:pt x="407" y="137"/>
                  </a:cubicBezTo>
                  <a:cubicBezTo>
                    <a:pt x="443" y="150"/>
                    <a:pt x="516" y="106"/>
                    <a:pt x="537" y="86"/>
                  </a:cubicBezTo>
                  <a:cubicBezTo>
                    <a:pt x="552" y="71"/>
                    <a:pt x="563" y="50"/>
                    <a:pt x="572" y="27"/>
                  </a:cubicBezTo>
                  <a:cubicBezTo>
                    <a:pt x="573" y="30"/>
                    <a:pt x="575" y="33"/>
                    <a:pt x="578" y="37"/>
                  </a:cubicBezTo>
                  <a:cubicBezTo>
                    <a:pt x="583" y="43"/>
                    <a:pt x="590" y="48"/>
                    <a:pt x="595" y="53"/>
                  </a:cubicBezTo>
                  <a:cubicBezTo>
                    <a:pt x="600" y="57"/>
                    <a:pt x="605" y="60"/>
                    <a:pt x="608" y="63"/>
                  </a:cubicBezTo>
                  <a:cubicBezTo>
                    <a:pt x="611" y="68"/>
                    <a:pt x="614" y="73"/>
                    <a:pt x="616" y="78"/>
                  </a:cubicBezTo>
                  <a:cubicBezTo>
                    <a:pt x="624" y="91"/>
                    <a:pt x="631" y="104"/>
                    <a:pt x="656" y="109"/>
                  </a:cubicBezTo>
                  <a:cubicBezTo>
                    <a:pt x="672" y="113"/>
                    <a:pt x="689" y="109"/>
                    <a:pt x="703" y="108"/>
                  </a:cubicBezTo>
                  <a:cubicBezTo>
                    <a:pt x="720" y="104"/>
                    <a:pt x="736" y="103"/>
                    <a:pt x="751" y="108"/>
                  </a:cubicBezTo>
                  <a:cubicBezTo>
                    <a:pt x="774" y="114"/>
                    <a:pt x="796" y="150"/>
                    <a:pt x="807" y="182"/>
                  </a:cubicBezTo>
                  <a:cubicBezTo>
                    <a:pt x="819" y="210"/>
                    <a:pt x="814" y="249"/>
                    <a:pt x="807" y="276"/>
                  </a:cubicBezTo>
                  <a:cubicBezTo>
                    <a:pt x="801" y="297"/>
                    <a:pt x="789" y="314"/>
                    <a:pt x="776" y="332"/>
                  </a:cubicBezTo>
                  <a:cubicBezTo>
                    <a:pt x="768" y="342"/>
                    <a:pt x="759" y="353"/>
                    <a:pt x="753" y="366"/>
                  </a:cubicBezTo>
                  <a:cubicBezTo>
                    <a:pt x="740" y="388"/>
                    <a:pt x="728" y="394"/>
                    <a:pt x="708" y="406"/>
                  </a:cubicBezTo>
                  <a:cubicBezTo>
                    <a:pt x="700" y="411"/>
                    <a:pt x="692" y="414"/>
                    <a:pt x="682" y="421"/>
                  </a:cubicBezTo>
                  <a:cubicBezTo>
                    <a:pt x="662" y="434"/>
                    <a:pt x="652" y="452"/>
                    <a:pt x="642" y="468"/>
                  </a:cubicBezTo>
                  <a:cubicBezTo>
                    <a:pt x="636" y="480"/>
                    <a:pt x="629" y="491"/>
                    <a:pt x="619" y="500"/>
                  </a:cubicBezTo>
                  <a:cubicBezTo>
                    <a:pt x="601" y="519"/>
                    <a:pt x="570" y="542"/>
                    <a:pt x="540" y="551"/>
                  </a:cubicBezTo>
                  <a:cubicBezTo>
                    <a:pt x="532" y="552"/>
                    <a:pt x="525" y="552"/>
                    <a:pt x="516" y="551"/>
                  </a:cubicBezTo>
                  <a:lnTo>
                    <a:pt x="502" y="549"/>
                  </a:lnTo>
                  <a:cubicBezTo>
                    <a:pt x="479" y="547"/>
                    <a:pt x="474" y="551"/>
                    <a:pt x="461" y="562"/>
                  </a:cubicBezTo>
                  <a:lnTo>
                    <a:pt x="448" y="574"/>
                  </a:lnTo>
                  <a:cubicBezTo>
                    <a:pt x="441" y="582"/>
                    <a:pt x="437" y="585"/>
                    <a:pt x="425" y="587"/>
                  </a:cubicBezTo>
                  <a:cubicBezTo>
                    <a:pt x="422" y="589"/>
                    <a:pt x="417" y="589"/>
                    <a:pt x="412" y="590"/>
                  </a:cubicBezTo>
                  <a:cubicBezTo>
                    <a:pt x="400" y="592"/>
                    <a:pt x="385" y="594"/>
                    <a:pt x="372" y="603"/>
                  </a:cubicBezTo>
                  <a:cubicBezTo>
                    <a:pt x="354" y="615"/>
                    <a:pt x="343" y="631"/>
                    <a:pt x="331" y="648"/>
                  </a:cubicBezTo>
                  <a:cubicBezTo>
                    <a:pt x="321" y="664"/>
                    <a:pt x="310" y="679"/>
                    <a:pt x="295" y="689"/>
                  </a:cubicBezTo>
                  <a:cubicBezTo>
                    <a:pt x="275" y="704"/>
                    <a:pt x="242" y="704"/>
                    <a:pt x="211" y="704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9" name="Freeform 45">
              <a:extLst>
                <a:ext uri="{FF2B5EF4-FFF2-40B4-BE49-F238E27FC236}">
                  <a16:creationId xmlns:a16="http://schemas.microsoft.com/office/drawing/2014/main" id="{818F7312-5758-1142-AF53-DEFD64FA76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1763" y="3270250"/>
              <a:ext cx="223837" cy="182563"/>
            </a:xfrm>
            <a:custGeom>
              <a:avLst/>
              <a:gdLst>
                <a:gd name="T0" fmla="*/ 222 w 622"/>
                <a:gd name="T1" fmla="*/ 386 h 505"/>
                <a:gd name="T2" fmla="*/ 202 w 622"/>
                <a:gd name="T3" fmla="*/ 333 h 505"/>
                <a:gd name="T4" fmla="*/ 192 w 622"/>
                <a:gd name="T5" fmla="*/ 315 h 505"/>
                <a:gd name="T6" fmla="*/ 201 w 622"/>
                <a:gd name="T7" fmla="*/ 265 h 505"/>
                <a:gd name="T8" fmla="*/ 84 w 622"/>
                <a:gd name="T9" fmla="*/ 223 h 505"/>
                <a:gd name="T10" fmla="*/ 57 w 622"/>
                <a:gd name="T11" fmla="*/ 213 h 505"/>
                <a:gd name="T12" fmla="*/ 1 w 622"/>
                <a:gd name="T13" fmla="*/ 190 h 505"/>
                <a:gd name="T14" fmla="*/ 8 w 622"/>
                <a:gd name="T15" fmla="*/ 148 h 505"/>
                <a:gd name="T16" fmla="*/ 24 w 622"/>
                <a:gd name="T17" fmla="*/ 58 h 505"/>
                <a:gd name="T18" fmla="*/ 34 w 622"/>
                <a:gd name="T19" fmla="*/ 27 h 505"/>
                <a:gd name="T20" fmla="*/ 89 w 622"/>
                <a:gd name="T21" fmla="*/ 32 h 505"/>
                <a:gd name="T22" fmla="*/ 118 w 622"/>
                <a:gd name="T23" fmla="*/ 7 h 505"/>
                <a:gd name="T24" fmla="*/ 202 w 622"/>
                <a:gd name="T25" fmla="*/ 48 h 505"/>
                <a:gd name="T26" fmla="*/ 263 w 622"/>
                <a:gd name="T27" fmla="*/ 129 h 505"/>
                <a:gd name="T28" fmla="*/ 375 w 622"/>
                <a:gd name="T29" fmla="*/ 178 h 505"/>
                <a:gd name="T30" fmla="*/ 486 w 622"/>
                <a:gd name="T31" fmla="*/ 223 h 505"/>
                <a:gd name="T32" fmla="*/ 530 w 622"/>
                <a:gd name="T33" fmla="*/ 246 h 505"/>
                <a:gd name="T34" fmla="*/ 561 w 622"/>
                <a:gd name="T35" fmla="*/ 274 h 505"/>
                <a:gd name="T36" fmla="*/ 586 w 622"/>
                <a:gd name="T37" fmla="*/ 323 h 505"/>
                <a:gd name="T38" fmla="*/ 604 w 622"/>
                <a:gd name="T39" fmla="*/ 333 h 505"/>
                <a:gd name="T40" fmla="*/ 611 w 622"/>
                <a:gd name="T41" fmla="*/ 366 h 505"/>
                <a:gd name="T42" fmla="*/ 609 w 622"/>
                <a:gd name="T43" fmla="*/ 425 h 505"/>
                <a:gd name="T44" fmla="*/ 612 w 622"/>
                <a:gd name="T45" fmla="*/ 457 h 505"/>
                <a:gd name="T46" fmla="*/ 599 w 622"/>
                <a:gd name="T47" fmla="*/ 488 h 505"/>
                <a:gd name="T48" fmla="*/ 543 w 622"/>
                <a:gd name="T49" fmla="*/ 480 h 505"/>
                <a:gd name="T50" fmla="*/ 479 w 622"/>
                <a:gd name="T51" fmla="*/ 453 h 505"/>
                <a:gd name="T52" fmla="*/ 454 w 622"/>
                <a:gd name="T53" fmla="*/ 461 h 505"/>
                <a:gd name="T54" fmla="*/ 421 w 622"/>
                <a:gd name="T55" fmla="*/ 445 h 505"/>
                <a:gd name="T56" fmla="*/ 351 w 622"/>
                <a:gd name="T57" fmla="*/ 461 h 505"/>
                <a:gd name="T58" fmla="*/ 247 w 622"/>
                <a:gd name="T59" fmla="*/ 478 h 505"/>
                <a:gd name="T60" fmla="*/ 219 w 622"/>
                <a:gd name="T61" fmla="*/ 466 h 505"/>
                <a:gd name="T62" fmla="*/ 210 w 622"/>
                <a:gd name="T63" fmla="*/ 422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22" h="505">
                  <a:moveTo>
                    <a:pt x="215" y="410"/>
                  </a:moveTo>
                  <a:cubicBezTo>
                    <a:pt x="217" y="402"/>
                    <a:pt x="220" y="394"/>
                    <a:pt x="222" y="386"/>
                  </a:cubicBezTo>
                  <a:cubicBezTo>
                    <a:pt x="224" y="369"/>
                    <a:pt x="220" y="353"/>
                    <a:pt x="212" y="343"/>
                  </a:cubicBezTo>
                  <a:cubicBezTo>
                    <a:pt x="209" y="338"/>
                    <a:pt x="206" y="336"/>
                    <a:pt x="202" y="333"/>
                  </a:cubicBezTo>
                  <a:cubicBezTo>
                    <a:pt x="199" y="330"/>
                    <a:pt x="197" y="326"/>
                    <a:pt x="196" y="325"/>
                  </a:cubicBezTo>
                  <a:cubicBezTo>
                    <a:pt x="194" y="323"/>
                    <a:pt x="192" y="320"/>
                    <a:pt x="192" y="315"/>
                  </a:cubicBezTo>
                  <a:cubicBezTo>
                    <a:pt x="192" y="307"/>
                    <a:pt x="194" y="298"/>
                    <a:pt x="197" y="289"/>
                  </a:cubicBezTo>
                  <a:cubicBezTo>
                    <a:pt x="201" y="282"/>
                    <a:pt x="204" y="274"/>
                    <a:pt x="201" y="265"/>
                  </a:cubicBezTo>
                  <a:cubicBezTo>
                    <a:pt x="199" y="252"/>
                    <a:pt x="187" y="246"/>
                    <a:pt x="184" y="242"/>
                  </a:cubicBezTo>
                  <a:cubicBezTo>
                    <a:pt x="154" y="223"/>
                    <a:pt x="118" y="223"/>
                    <a:pt x="84" y="223"/>
                  </a:cubicBezTo>
                  <a:cubicBezTo>
                    <a:pt x="77" y="223"/>
                    <a:pt x="70" y="223"/>
                    <a:pt x="66" y="219"/>
                  </a:cubicBezTo>
                  <a:cubicBezTo>
                    <a:pt x="64" y="218"/>
                    <a:pt x="61" y="216"/>
                    <a:pt x="57" y="213"/>
                  </a:cubicBezTo>
                  <a:cubicBezTo>
                    <a:pt x="54" y="209"/>
                    <a:pt x="52" y="208"/>
                    <a:pt x="49" y="205"/>
                  </a:cubicBezTo>
                  <a:cubicBezTo>
                    <a:pt x="34" y="195"/>
                    <a:pt x="16" y="193"/>
                    <a:pt x="1" y="19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" y="176"/>
                    <a:pt x="6" y="163"/>
                    <a:pt x="8" y="148"/>
                  </a:cubicBezTo>
                  <a:cubicBezTo>
                    <a:pt x="11" y="135"/>
                    <a:pt x="13" y="122"/>
                    <a:pt x="16" y="109"/>
                  </a:cubicBezTo>
                  <a:cubicBezTo>
                    <a:pt x="24" y="88"/>
                    <a:pt x="24" y="74"/>
                    <a:pt x="24" y="58"/>
                  </a:cubicBezTo>
                  <a:lnTo>
                    <a:pt x="24" y="46"/>
                  </a:lnTo>
                  <a:cubicBezTo>
                    <a:pt x="24" y="28"/>
                    <a:pt x="24" y="28"/>
                    <a:pt x="34" y="27"/>
                  </a:cubicBezTo>
                  <a:cubicBezTo>
                    <a:pt x="39" y="27"/>
                    <a:pt x="42" y="27"/>
                    <a:pt x="49" y="30"/>
                  </a:cubicBezTo>
                  <a:cubicBezTo>
                    <a:pt x="57" y="35"/>
                    <a:pt x="72" y="40"/>
                    <a:pt x="89" y="32"/>
                  </a:cubicBezTo>
                  <a:cubicBezTo>
                    <a:pt x="97" y="27"/>
                    <a:pt x="102" y="22"/>
                    <a:pt x="107" y="17"/>
                  </a:cubicBezTo>
                  <a:cubicBezTo>
                    <a:pt x="112" y="12"/>
                    <a:pt x="115" y="8"/>
                    <a:pt x="118" y="7"/>
                  </a:cubicBezTo>
                  <a:cubicBezTo>
                    <a:pt x="136" y="0"/>
                    <a:pt x="150" y="10"/>
                    <a:pt x="169" y="27"/>
                  </a:cubicBezTo>
                  <a:cubicBezTo>
                    <a:pt x="179" y="35"/>
                    <a:pt x="189" y="41"/>
                    <a:pt x="202" y="48"/>
                  </a:cubicBezTo>
                  <a:cubicBezTo>
                    <a:pt x="210" y="51"/>
                    <a:pt x="217" y="53"/>
                    <a:pt x="225" y="55"/>
                  </a:cubicBezTo>
                  <a:cubicBezTo>
                    <a:pt x="237" y="78"/>
                    <a:pt x="250" y="104"/>
                    <a:pt x="263" y="129"/>
                  </a:cubicBezTo>
                  <a:cubicBezTo>
                    <a:pt x="286" y="167"/>
                    <a:pt x="316" y="170"/>
                    <a:pt x="347" y="175"/>
                  </a:cubicBezTo>
                  <a:cubicBezTo>
                    <a:pt x="355" y="175"/>
                    <a:pt x="365" y="176"/>
                    <a:pt x="375" y="178"/>
                  </a:cubicBezTo>
                  <a:cubicBezTo>
                    <a:pt x="403" y="185"/>
                    <a:pt x="438" y="198"/>
                    <a:pt x="466" y="209"/>
                  </a:cubicBezTo>
                  <a:cubicBezTo>
                    <a:pt x="472" y="213"/>
                    <a:pt x="479" y="218"/>
                    <a:pt x="486" y="223"/>
                  </a:cubicBezTo>
                  <a:cubicBezTo>
                    <a:pt x="491" y="228"/>
                    <a:pt x="497" y="231"/>
                    <a:pt x="504" y="236"/>
                  </a:cubicBezTo>
                  <a:cubicBezTo>
                    <a:pt x="512" y="241"/>
                    <a:pt x="520" y="242"/>
                    <a:pt x="530" y="246"/>
                  </a:cubicBezTo>
                  <a:cubicBezTo>
                    <a:pt x="538" y="247"/>
                    <a:pt x="548" y="251"/>
                    <a:pt x="553" y="254"/>
                  </a:cubicBezTo>
                  <a:cubicBezTo>
                    <a:pt x="561" y="261"/>
                    <a:pt x="561" y="264"/>
                    <a:pt x="561" y="274"/>
                  </a:cubicBezTo>
                  <a:cubicBezTo>
                    <a:pt x="561" y="279"/>
                    <a:pt x="561" y="285"/>
                    <a:pt x="563" y="292"/>
                  </a:cubicBezTo>
                  <a:cubicBezTo>
                    <a:pt x="568" y="312"/>
                    <a:pt x="576" y="318"/>
                    <a:pt x="586" y="323"/>
                  </a:cubicBezTo>
                  <a:cubicBezTo>
                    <a:pt x="589" y="325"/>
                    <a:pt x="593" y="326"/>
                    <a:pt x="598" y="330"/>
                  </a:cubicBezTo>
                  <a:lnTo>
                    <a:pt x="604" y="333"/>
                  </a:lnTo>
                  <a:cubicBezTo>
                    <a:pt x="614" y="341"/>
                    <a:pt x="619" y="345"/>
                    <a:pt x="621" y="351"/>
                  </a:cubicBezTo>
                  <a:cubicBezTo>
                    <a:pt x="621" y="356"/>
                    <a:pt x="617" y="359"/>
                    <a:pt x="611" y="366"/>
                  </a:cubicBezTo>
                  <a:cubicBezTo>
                    <a:pt x="603" y="374"/>
                    <a:pt x="593" y="384"/>
                    <a:pt x="594" y="399"/>
                  </a:cubicBezTo>
                  <a:cubicBezTo>
                    <a:pt x="596" y="412"/>
                    <a:pt x="603" y="419"/>
                    <a:pt x="609" y="425"/>
                  </a:cubicBezTo>
                  <a:cubicBezTo>
                    <a:pt x="614" y="429"/>
                    <a:pt x="617" y="433"/>
                    <a:pt x="619" y="437"/>
                  </a:cubicBezTo>
                  <a:cubicBezTo>
                    <a:pt x="621" y="445"/>
                    <a:pt x="617" y="448"/>
                    <a:pt x="612" y="457"/>
                  </a:cubicBezTo>
                  <a:cubicBezTo>
                    <a:pt x="609" y="461"/>
                    <a:pt x="604" y="468"/>
                    <a:pt x="601" y="476"/>
                  </a:cubicBezTo>
                  <a:cubicBezTo>
                    <a:pt x="599" y="481"/>
                    <a:pt x="599" y="485"/>
                    <a:pt x="599" y="488"/>
                  </a:cubicBezTo>
                  <a:cubicBezTo>
                    <a:pt x="596" y="491"/>
                    <a:pt x="591" y="493"/>
                    <a:pt x="588" y="494"/>
                  </a:cubicBezTo>
                  <a:cubicBezTo>
                    <a:pt x="566" y="504"/>
                    <a:pt x="563" y="499"/>
                    <a:pt x="543" y="480"/>
                  </a:cubicBezTo>
                  <a:lnTo>
                    <a:pt x="540" y="475"/>
                  </a:lnTo>
                  <a:cubicBezTo>
                    <a:pt x="519" y="453"/>
                    <a:pt x="509" y="447"/>
                    <a:pt x="479" y="453"/>
                  </a:cubicBezTo>
                  <a:cubicBezTo>
                    <a:pt x="472" y="453"/>
                    <a:pt x="467" y="457"/>
                    <a:pt x="464" y="458"/>
                  </a:cubicBezTo>
                  <a:cubicBezTo>
                    <a:pt x="459" y="461"/>
                    <a:pt x="458" y="461"/>
                    <a:pt x="454" y="461"/>
                  </a:cubicBezTo>
                  <a:cubicBezTo>
                    <a:pt x="451" y="463"/>
                    <a:pt x="444" y="458"/>
                    <a:pt x="439" y="455"/>
                  </a:cubicBezTo>
                  <a:cubicBezTo>
                    <a:pt x="435" y="452"/>
                    <a:pt x="428" y="447"/>
                    <a:pt x="421" y="445"/>
                  </a:cubicBezTo>
                  <a:cubicBezTo>
                    <a:pt x="395" y="437"/>
                    <a:pt x="380" y="445"/>
                    <a:pt x="365" y="453"/>
                  </a:cubicBezTo>
                  <a:cubicBezTo>
                    <a:pt x="360" y="457"/>
                    <a:pt x="355" y="460"/>
                    <a:pt x="351" y="461"/>
                  </a:cubicBezTo>
                  <a:cubicBezTo>
                    <a:pt x="327" y="471"/>
                    <a:pt x="301" y="473"/>
                    <a:pt x="276" y="476"/>
                  </a:cubicBezTo>
                  <a:lnTo>
                    <a:pt x="247" y="478"/>
                  </a:lnTo>
                  <a:cubicBezTo>
                    <a:pt x="240" y="478"/>
                    <a:pt x="232" y="480"/>
                    <a:pt x="225" y="480"/>
                  </a:cubicBezTo>
                  <a:cubicBezTo>
                    <a:pt x="222" y="476"/>
                    <a:pt x="220" y="471"/>
                    <a:pt x="219" y="466"/>
                  </a:cubicBezTo>
                  <a:cubicBezTo>
                    <a:pt x="215" y="460"/>
                    <a:pt x="214" y="453"/>
                    <a:pt x="212" y="448"/>
                  </a:cubicBezTo>
                  <a:cubicBezTo>
                    <a:pt x="210" y="440"/>
                    <a:pt x="209" y="429"/>
                    <a:pt x="210" y="422"/>
                  </a:cubicBezTo>
                  <a:cubicBezTo>
                    <a:pt x="212" y="419"/>
                    <a:pt x="214" y="414"/>
                    <a:pt x="215" y="410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10" name="Freeform 46">
              <a:extLst>
                <a:ext uri="{FF2B5EF4-FFF2-40B4-BE49-F238E27FC236}">
                  <a16:creationId xmlns:a16="http://schemas.microsoft.com/office/drawing/2014/main" id="{BC9C8F99-E14A-5F47-AEDE-FE4AF6E677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0950" y="2917825"/>
              <a:ext cx="439738" cy="258763"/>
            </a:xfrm>
            <a:custGeom>
              <a:avLst/>
              <a:gdLst>
                <a:gd name="T0" fmla="*/ 834 w 1220"/>
                <a:gd name="T1" fmla="*/ 718 h 719"/>
                <a:gd name="T2" fmla="*/ 768 w 1220"/>
                <a:gd name="T3" fmla="*/ 680 h 719"/>
                <a:gd name="T4" fmla="*/ 611 w 1220"/>
                <a:gd name="T5" fmla="*/ 613 h 719"/>
                <a:gd name="T6" fmla="*/ 524 w 1220"/>
                <a:gd name="T7" fmla="*/ 621 h 719"/>
                <a:gd name="T8" fmla="*/ 417 w 1220"/>
                <a:gd name="T9" fmla="*/ 606 h 719"/>
                <a:gd name="T10" fmla="*/ 359 w 1220"/>
                <a:gd name="T11" fmla="*/ 516 h 719"/>
                <a:gd name="T12" fmla="*/ 323 w 1220"/>
                <a:gd name="T13" fmla="*/ 478 h 719"/>
                <a:gd name="T14" fmla="*/ 341 w 1220"/>
                <a:gd name="T15" fmla="*/ 437 h 719"/>
                <a:gd name="T16" fmla="*/ 295 w 1220"/>
                <a:gd name="T17" fmla="*/ 395 h 719"/>
                <a:gd name="T18" fmla="*/ 247 w 1220"/>
                <a:gd name="T19" fmla="*/ 367 h 719"/>
                <a:gd name="T20" fmla="*/ 226 w 1220"/>
                <a:gd name="T21" fmla="*/ 308 h 719"/>
                <a:gd name="T22" fmla="*/ 163 w 1220"/>
                <a:gd name="T23" fmla="*/ 301 h 719"/>
                <a:gd name="T24" fmla="*/ 125 w 1220"/>
                <a:gd name="T25" fmla="*/ 292 h 719"/>
                <a:gd name="T26" fmla="*/ 58 w 1220"/>
                <a:gd name="T27" fmla="*/ 280 h 719"/>
                <a:gd name="T28" fmla="*/ 13 w 1220"/>
                <a:gd name="T29" fmla="*/ 241 h 719"/>
                <a:gd name="T30" fmla="*/ 12 w 1220"/>
                <a:gd name="T31" fmla="*/ 219 h 719"/>
                <a:gd name="T32" fmla="*/ 59 w 1220"/>
                <a:gd name="T33" fmla="*/ 211 h 719"/>
                <a:gd name="T34" fmla="*/ 158 w 1220"/>
                <a:gd name="T35" fmla="*/ 143 h 719"/>
                <a:gd name="T36" fmla="*/ 279 w 1220"/>
                <a:gd name="T37" fmla="*/ 96 h 719"/>
                <a:gd name="T38" fmla="*/ 280 w 1220"/>
                <a:gd name="T39" fmla="*/ 44 h 719"/>
                <a:gd name="T40" fmla="*/ 363 w 1220"/>
                <a:gd name="T41" fmla="*/ 28 h 719"/>
                <a:gd name="T42" fmla="*/ 468 w 1220"/>
                <a:gd name="T43" fmla="*/ 8 h 719"/>
                <a:gd name="T44" fmla="*/ 531 w 1220"/>
                <a:gd name="T45" fmla="*/ 33 h 719"/>
                <a:gd name="T46" fmla="*/ 590 w 1220"/>
                <a:gd name="T47" fmla="*/ 13 h 719"/>
                <a:gd name="T48" fmla="*/ 654 w 1220"/>
                <a:gd name="T49" fmla="*/ 89 h 719"/>
                <a:gd name="T50" fmla="*/ 720 w 1220"/>
                <a:gd name="T51" fmla="*/ 173 h 719"/>
                <a:gd name="T52" fmla="*/ 804 w 1220"/>
                <a:gd name="T53" fmla="*/ 270 h 719"/>
                <a:gd name="T54" fmla="*/ 885 w 1220"/>
                <a:gd name="T55" fmla="*/ 372 h 719"/>
                <a:gd name="T56" fmla="*/ 941 w 1220"/>
                <a:gd name="T57" fmla="*/ 395 h 719"/>
                <a:gd name="T58" fmla="*/ 964 w 1220"/>
                <a:gd name="T59" fmla="*/ 422 h 719"/>
                <a:gd name="T60" fmla="*/ 974 w 1220"/>
                <a:gd name="T61" fmla="*/ 430 h 719"/>
                <a:gd name="T62" fmla="*/ 979 w 1220"/>
                <a:gd name="T63" fmla="*/ 432 h 719"/>
                <a:gd name="T64" fmla="*/ 992 w 1220"/>
                <a:gd name="T65" fmla="*/ 437 h 719"/>
                <a:gd name="T66" fmla="*/ 1023 w 1220"/>
                <a:gd name="T67" fmla="*/ 450 h 719"/>
                <a:gd name="T68" fmla="*/ 1134 w 1220"/>
                <a:gd name="T69" fmla="*/ 440 h 719"/>
                <a:gd name="T70" fmla="*/ 1219 w 1220"/>
                <a:gd name="T71" fmla="*/ 470 h 719"/>
                <a:gd name="T72" fmla="*/ 1163 w 1220"/>
                <a:gd name="T73" fmla="*/ 586 h 719"/>
                <a:gd name="T74" fmla="*/ 1139 w 1220"/>
                <a:gd name="T75" fmla="*/ 659 h 719"/>
                <a:gd name="T76" fmla="*/ 1083 w 1220"/>
                <a:gd name="T77" fmla="*/ 662 h 719"/>
                <a:gd name="T78" fmla="*/ 1025 w 1220"/>
                <a:gd name="T79" fmla="*/ 662 h 719"/>
                <a:gd name="T80" fmla="*/ 999 w 1220"/>
                <a:gd name="T81" fmla="*/ 661 h 719"/>
                <a:gd name="T82" fmla="*/ 921 w 1220"/>
                <a:gd name="T83" fmla="*/ 667 h 719"/>
                <a:gd name="T84" fmla="*/ 863 w 1220"/>
                <a:gd name="T85" fmla="*/ 70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20" h="719">
                  <a:moveTo>
                    <a:pt x="863" y="700"/>
                  </a:moveTo>
                  <a:cubicBezTo>
                    <a:pt x="854" y="705"/>
                    <a:pt x="844" y="712"/>
                    <a:pt x="834" y="718"/>
                  </a:cubicBezTo>
                  <a:cubicBezTo>
                    <a:pt x="822" y="703"/>
                    <a:pt x="809" y="689"/>
                    <a:pt x="784" y="684"/>
                  </a:cubicBezTo>
                  <a:cubicBezTo>
                    <a:pt x="779" y="682"/>
                    <a:pt x="773" y="682"/>
                    <a:pt x="768" y="680"/>
                  </a:cubicBezTo>
                  <a:cubicBezTo>
                    <a:pt x="743" y="675"/>
                    <a:pt x="738" y="675"/>
                    <a:pt x="727" y="647"/>
                  </a:cubicBezTo>
                  <a:cubicBezTo>
                    <a:pt x="695" y="577"/>
                    <a:pt x="649" y="596"/>
                    <a:pt x="611" y="613"/>
                  </a:cubicBezTo>
                  <a:cubicBezTo>
                    <a:pt x="590" y="623"/>
                    <a:pt x="567" y="633"/>
                    <a:pt x="545" y="628"/>
                  </a:cubicBezTo>
                  <a:cubicBezTo>
                    <a:pt x="539" y="626"/>
                    <a:pt x="532" y="623"/>
                    <a:pt x="524" y="621"/>
                  </a:cubicBezTo>
                  <a:cubicBezTo>
                    <a:pt x="513" y="618"/>
                    <a:pt x="499" y="613"/>
                    <a:pt x="483" y="613"/>
                  </a:cubicBezTo>
                  <a:cubicBezTo>
                    <a:pt x="458" y="611"/>
                    <a:pt x="437" y="610"/>
                    <a:pt x="417" y="606"/>
                  </a:cubicBezTo>
                  <a:cubicBezTo>
                    <a:pt x="396" y="603"/>
                    <a:pt x="372" y="600"/>
                    <a:pt x="351" y="596"/>
                  </a:cubicBezTo>
                  <a:cubicBezTo>
                    <a:pt x="364" y="575"/>
                    <a:pt x="371" y="539"/>
                    <a:pt x="359" y="516"/>
                  </a:cubicBezTo>
                  <a:cubicBezTo>
                    <a:pt x="354" y="504"/>
                    <a:pt x="344" y="498"/>
                    <a:pt x="336" y="493"/>
                  </a:cubicBezTo>
                  <a:cubicBezTo>
                    <a:pt x="328" y="486"/>
                    <a:pt x="323" y="483"/>
                    <a:pt x="323" y="478"/>
                  </a:cubicBezTo>
                  <a:cubicBezTo>
                    <a:pt x="323" y="473"/>
                    <a:pt x="325" y="471"/>
                    <a:pt x="330" y="466"/>
                  </a:cubicBezTo>
                  <a:cubicBezTo>
                    <a:pt x="335" y="461"/>
                    <a:pt x="343" y="451"/>
                    <a:pt x="341" y="437"/>
                  </a:cubicBezTo>
                  <a:cubicBezTo>
                    <a:pt x="340" y="412"/>
                    <a:pt x="313" y="402"/>
                    <a:pt x="298" y="397"/>
                  </a:cubicBezTo>
                  <a:lnTo>
                    <a:pt x="295" y="395"/>
                  </a:lnTo>
                  <a:cubicBezTo>
                    <a:pt x="292" y="394"/>
                    <a:pt x="287" y="392"/>
                    <a:pt x="284" y="390"/>
                  </a:cubicBezTo>
                  <a:cubicBezTo>
                    <a:pt x="264" y="384"/>
                    <a:pt x="254" y="381"/>
                    <a:pt x="247" y="367"/>
                  </a:cubicBezTo>
                  <a:cubicBezTo>
                    <a:pt x="244" y="362"/>
                    <a:pt x="244" y="356"/>
                    <a:pt x="244" y="349"/>
                  </a:cubicBezTo>
                  <a:cubicBezTo>
                    <a:pt x="242" y="336"/>
                    <a:pt x="242" y="320"/>
                    <a:pt x="226" y="308"/>
                  </a:cubicBezTo>
                  <a:cubicBezTo>
                    <a:pt x="213" y="300"/>
                    <a:pt x="193" y="300"/>
                    <a:pt x="176" y="301"/>
                  </a:cubicBezTo>
                  <a:cubicBezTo>
                    <a:pt x="172" y="301"/>
                    <a:pt x="167" y="303"/>
                    <a:pt x="163" y="301"/>
                  </a:cubicBezTo>
                  <a:cubicBezTo>
                    <a:pt x="152" y="301"/>
                    <a:pt x="147" y="300"/>
                    <a:pt x="139" y="297"/>
                  </a:cubicBezTo>
                  <a:cubicBezTo>
                    <a:pt x="135" y="295"/>
                    <a:pt x="130" y="293"/>
                    <a:pt x="125" y="292"/>
                  </a:cubicBezTo>
                  <a:cubicBezTo>
                    <a:pt x="114" y="287"/>
                    <a:pt x="102" y="287"/>
                    <a:pt x="91" y="287"/>
                  </a:cubicBezTo>
                  <a:cubicBezTo>
                    <a:pt x="79" y="287"/>
                    <a:pt x="69" y="287"/>
                    <a:pt x="58" y="280"/>
                  </a:cubicBezTo>
                  <a:cubicBezTo>
                    <a:pt x="51" y="275"/>
                    <a:pt x="45" y="269"/>
                    <a:pt x="36" y="260"/>
                  </a:cubicBezTo>
                  <a:cubicBezTo>
                    <a:pt x="30" y="254"/>
                    <a:pt x="22" y="247"/>
                    <a:pt x="13" y="241"/>
                  </a:cubicBezTo>
                  <a:cubicBezTo>
                    <a:pt x="8" y="239"/>
                    <a:pt x="5" y="236"/>
                    <a:pt x="0" y="232"/>
                  </a:cubicBezTo>
                  <a:cubicBezTo>
                    <a:pt x="3" y="227"/>
                    <a:pt x="7" y="222"/>
                    <a:pt x="12" y="219"/>
                  </a:cubicBezTo>
                  <a:cubicBezTo>
                    <a:pt x="22" y="211"/>
                    <a:pt x="28" y="211"/>
                    <a:pt x="41" y="211"/>
                  </a:cubicBezTo>
                  <a:cubicBezTo>
                    <a:pt x="46" y="211"/>
                    <a:pt x="53" y="213"/>
                    <a:pt x="59" y="211"/>
                  </a:cubicBezTo>
                  <a:cubicBezTo>
                    <a:pt x="89" y="209"/>
                    <a:pt x="106" y="191"/>
                    <a:pt x="120" y="175"/>
                  </a:cubicBezTo>
                  <a:cubicBezTo>
                    <a:pt x="130" y="161"/>
                    <a:pt x="142" y="150"/>
                    <a:pt x="158" y="143"/>
                  </a:cubicBezTo>
                  <a:cubicBezTo>
                    <a:pt x="167" y="142"/>
                    <a:pt x="176" y="140"/>
                    <a:pt x="186" y="138"/>
                  </a:cubicBezTo>
                  <a:cubicBezTo>
                    <a:pt x="223" y="133"/>
                    <a:pt x="267" y="127"/>
                    <a:pt x="279" y="96"/>
                  </a:cubicBezTo>
                  <a:cubicBezTo>
                    <a:pt x="284" y="82"/>
                    <a:pt x="282" y="71"/>
                    <a:pt x="280" y="63"/>
                  </a:cubicBezTo>
                  <a:cubicBezTo>
                    <a:pt x="279" y="54"/>
                    <a:pt x="279" y="49"/>
                    <a:pt x="280" y="44"/>
                  </a:cubicBezTo>
                  <a:cubicBezTo>
                    <a:pt x="282" y="36"/>
                    <a:pt x="285" y="30"/>
                    <a:pt x="292" y="23"/>
                  </a:cubicBezTo>
                  <a:cubicBezTo>
                    <a:pt x="313" y="33"/>
                    <a:pt x="340" y="35"/>
                    <a:pt x="363" y="28"/>
                  </a:cubicBezTo>
                  <a:cubicBezTo>
                    <a:pt x="374" y="25"/>
                    <a:pt x="386" y="21"/>
                    <a:pt x="396" y="16"/>
                  </a:cubicBezTo>
                  <a:cubicBezTo>
                    <a:pt x="420" y="7"/>
                    <a:pt x="442" y="0"/>
                    <a:pt x="468" y="8"/>
                  </a:cubicBezTo>
                  <a:cubicBezTo>
                    <a:pt x="475" y="12"/>
                    <a:pt x="481" y="15"/>
                    <a:pt x="486" y="18"/>
                  </a:cubicBezTo>
                  <a:cubicBezTo>
                    <a:pt x="499" y="25"/>
                    <a:pt x="513" y="33"/>
                    <a:pt x="531" y="33"/>
                  </a:cubicBezTo>
                  <a:cubicBezTo>
                    <a:pt x="545" y="33"/>
                    <a:pt x="557" y="28"/>
                    <a:pt x="569" y="21"/>
                  </a:cubicBezTo>
                  <a:cubicBezTo>
                    <a:pt x="575" y="18"/>
                    <a:pt x="582" y="15"/>
                    <a:pt x="590" y="13"/>
                  </a:cubicBezTo>
                  <a:cubicBezTo>
                    <a:pt x="620" y="10"/>
                    <a:pt x="633" y="38"/>
                    <a:pt x="649" y="76"/>
                  </a:cubicBezTo>
                  <a:cubicBezTo>
                    <a:pt x="651" y="79"/>
                    <a:pt x="653" y="84"/>
                    <a:pt x="654" y="89"/>
                  </a:cubicBezTo>
                  <a:cubicBezTo>
                    <a:pt x="666" y="110"/>
                    <a:pt x="681" y="127"/>
                    <a:pt x="694" y="142"/>
                  </a:cubicBezTo>
                  <a:cubicBezTo>
                    <a:pt x="704" y="152"/>
                    <a:pt x="714" y="161"/>
                    <a:pt x="720" y="173"/>
                  </a:cubicBezTo>
                  <a:cubicBezTo>
                    <a:pt x="733" y="193"/>
                    <a:pt x="750" y="211"/>
                    <a:pt x="765" y="226"/>
                  </a:cubicBezTo>
                  <a:cubicBezTo>
                    <a:pt x="779" y="241"/>
                    <a:pt x="793" y="254"/>
                    <a:pt x="804" y="270"/>
                  </a:cubicBezTo>
                  <a:cubicBezTo>
                    <a:pt x="811" y="280"/>
                    <a:pt x="816" y="292"/>
                    <a:pt x="822" y="303"/>
                  </a:cubicBezTo>
                  <a:cubicBezTo>
                    <a:pt x="835" y="329"/>
                    <a:pt x="852" y="361"/>
                    <a:pt x="885" y="372"/>
                  </a:cubicBezTo>
                  <a:cubicBezTo>
                    <a:pt x="891" y="374"/>
                    <a:pt x="896" y="376"/>
                    <a:pt x="901" y="377"/>
                  </a:cubicBezTo>
                  <a:cubicBezTo>
                    <a:pt x="918" y="381"/>
                    <a:pt x="929" y="384"/>
                    <a:pt x="941" y="395"/>
                  </a:cubicBezTo>
                  <a:cubicBezTo>
                    <a:pt x="946" y="399"/>
                    <a:pt x="949" y="404"/>
                    <a:pt x="952" y="409"/>
                  </a:cubicBezTo>
                  <a:cubicBezTo>
                    <a:pt x="956" y="414"/>
                    <a:pt x="959" y="418"/>
                    <a:pt x="964" y="422"/>
                  </a:cubicBezTo>
                  <a:lnTo>
                    <a:pt x="962" y="423"/>
                  </a:lnTo>
                  <a:lnTo>
                    <a:pt x="974" y="430"/>
                  </a:lnTo>
                  <a:lnTo>
                    <a:pt x="980" y="420"/>
                  </a:lnTo>
                  <a:lnTo>
                    <a:pt x="979" y="432"/>
                  </a:lnTo>
                  <a:lnTo>
                    <a:pt x="979" y="432"/>
                  </a:lnTo>
                  <a:lnTo>
                    <a:pt x="992" y="437"/>
                  </a:lnTo>
                  <a:cubicBezTo>
                    <a:pt x="995" y="438"/>
                    <a:pt x="999" y="440"/>
                    <a:pt x="1003" y="442"/>
                  </a:cubicBezTo>
                  <a:cubicBezTo>
                    <a:pt x="1010" y="445"/>
                    <a:pt x="1015" y="448"/>
                    <a:pt x="1023" y="450"/>
                  </a:cubicBezTo>
                  <a:cubicBezTo>
                    <a:pt x="1043" y="455"/>
                    <a:pt x="1071" y="461"/>
                    <a:pt x="1094" y="456"/>
                  </a:cubicBezTo>
                  <a:cubicBezTo>
                    <a:pt x="1111" y="453"/>
                    <a:pt x="1122" y="446"/>
                    <a:pt x="1134" y="440"/>
                  </a:cubicBezTo>
                  <a:cubicBezTo>
                    <a:pt x="1153" y="427"/>
                    <a:pt x="1163" y="422"/>
                    <a:pt x="1185" y="437"/>
                  </a:cubicBezTo>
                  <a:cubicBezTo>
                    <a:pt x="1198" y="445"/>
                    <a:pt x="1208" y="458"/>
                    <a:pt x="1219" y="470"/>
                  </a:cubicBezTo>
                  <a:cubicBezTo>
                    <a:pt x="1196" y="484"/>
                    <a:pt x="1178" y="511"/>
                    <a:pt x="1171" y="540"/>
                  </a:cubicBezTo>
                  <a:cubicBezTo>
                    <a:pt x="1167" y="557"/>
                    <a:pt x="1165" y="572"/>
                    <a:pt x="1163" y="586"/>
                  </a:cubicBezTo>
                  <a:cubicBezTo>
                    <a:pt x="1162" y="598"/>
                    <a:pt x="1162" y="608"/>
                    <a:pt x="1158" y="618"/>
                  </a:cubicBezTo>
                  <a:cubicBezTo>
                    <a:pt x="1155" y="639"/>
                    <a:pt x="1148" y="652"/>
                    <a:pt x="1139" y="659"/>
                  </a:cubicBezTo>
                  <a:cubicBezTo>
                    <a:pt x="1129" y="666"/>
                    <a:pt x="1115" y="667"/>
                    <a:pt x="1094" y="664"/>
                  </a:cubicBezTo>
                  <a:lnTo>
                    <a:pt x="1083" y="662"/>
                  </a:lnTo>
                  <a:cubicBezTo>
                    <a:pt x="1068" y="661"/>
                    <a:pt x="1051" y="657"/>
                    <a:pt x="1035" y="659"/>
                  </a:cubicBezTo>
                  <a:cubicBezTo>
                    <a:pt x="1031" y="661"/>
                    <a:pt x="1028" y="661"/>
                    <a:pt x="1025" y="662"/>
                  </a:cubicBezTo>
                  <a:cubicBezTo>
                    <a:pt x="1018" y="664"/>
                    <a:pt x="1013" y="664"/>
                    <a:pt x="1008" y="664"/>
                  </a:cubicBezTo>
                  <a:cubicBezTo>
                    <a:pt x="1005" y="664"/>
                    <a:pt x="1002" y="662"/>
                    <a:pt x="999" y="661"/>
                  </a:cubicBezTo>
                  <a:lnTo>
                    <a:pt x="992" y="659"/>
                  </a:lnTo>
                  <a:cubicBezTo>
                    <a:pt x="971" y="654"/>
                    <a:pt x="946" y="657"/>
                    <a:pt x="921" y="667"/>
                  </a:cubicBezTo>
                  <a:cubicBezTo>
                    <a:pt x="901" y="675"/>
                    <a:pt x="883" y="687"/>
                    <a:pt x="867" y="697"/>
                  </a:cubicBezTo>
                  <a:lnTo>
                    <a:pt x="863" y="70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11" name="Freeform 47">
              <a:extLst>
                <a:ext uri="{FF2B5EF4-FFF2-40B4-BE49-F238E27FC236}">
                  <a16:creationId xmlns:a16="http://schemas.microsoft.com/office/drawing/2014/main" id="{E968E40D-1F0F-E048-B0BA-94EABDE687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1575" y="2527300"/>
              <a:ext cx="606425" cy="552450"/>
            </a:xfrm>
            <a:custGeom>
              <a:avLst/>
              <a:gdLst>
                <a:gd name="T0" fmla="*/ 801 w 1686"/>
                <a:gd name="T1" fmla="*/ 440 h 1536"/>
                <a:gd name="T2" fmla="*/ 845 w 1686"/>
                <a:gd name="T3" fmla="*/ 514 h 1536"/>
                <a:gd name="T4" fmla="*/ 881 w 1686"/>
                <a:gd name="T5" fmla="*/ 555 h 1536"/>
                <a:gd name="T6" fmla="*/ 959 w 1686"/>
                <a:gd name="T7" fmla="*/ 619 h 1536"/>
                <a:gd name="T8" fmla="*/ 1073 w 1686"/>
                <a:gd name="T9" fmla="*/ 728 h 1536"/>
                <a:gd name="T10" fmla="*/ 1190 w 1686"/>
                <a:gd name="T11" fmla="*/ 814 h 1536"/>
                <a:gd name="T12" fmla="*/ 1259 w 1686"/>
                <a:gd name="T13" fmla="*/ 903 h 1536"/>
                <a:gd name="T14" fmla="*/ 1417 w 1686"/>
                <a:gd name="T15" fmla="*/ 965 h 1536"/>
                <a:gd name="T16" fmla="*/ 1596 w 1686"/>
                <a:gd name="T17" fmla="*/ 1046 h 1536"/>
                <a:gd name="T18" fmla="*/ 1588 w 1686"/>
                <a:gd name="T19" fmla="*/ 1102 h 1536"/>
                <a:gd name="T20" fmla="*/ 1662 w 1686"/>
                <a:gd name="T21" fmla="*/ 1174 h 1536"/>
                <a:gd name="T22" fmla="*/ 1685 w 1686"/>
                <a:gd name="T23" fmla="*/ 1272 h 1536"/>
                <a:gd name="T24" fmla="*/ 1539 w 1686"/>
                <a:gd name="T25" fmla="*/ 1339 h 1536"/>
                <a:gd name="T26" fmla="*/ 1468 w 1686"/>
                <a:gd name="T27" fmla="*/ 1349 h 1536"/>
                <a:gd name="T28" fmla="*/ 1481 w 1686"/>
                <a:gd name="T29" fmla="*/ 1398 h 1536"/>
                <a:gd name="T30" fmla="*/ 1522 w 1686"/>
                <a:gd name="T31" fmla="*/ 1438 h 1536"/>
                <a:gd name="T32" fmla="*/ 1526 w 1686"/>
                <a:gd name="T33" fmla="*/ 1445 h 1536"/>
                <a:gd name="T34" fmla="*/ 1463 w 1686"/>
                <a:gd name="T35" fmla="*/ 1514 h 1536"/>
                <a:gd name="T36" fmla="*/ 1339 w 1686"/>
                <a:gd name="T37" fmla="*/ 1504 h 1536"/>
                <a:gd name="T38" fmla="*/ 1232 w 1686"/>
                <a:gd name="T39" fmla="*/ 1505 h 1536"/>
                <a:gd name="T40" fmla="*/ 1191 w 1686"/>
                <a:gd name="T41" fmla="*/ 1479 h 1536"/>
                <a:gd name="T42" fmla="*/ 1112 w 1686"/>
                <a:gd name="T43" fmla="*/ 1435 h 1536"/>
                <a:gd name="T44" fmla="*/ 1003 w 1686"/>
                <a:gd name="T45" fmla="*/ 1295 h 1536"/>
                <a:gd name="T46" fmla="*/ 898 w 1686"/>
                <a:gd name="T47" fmla="*/ 1164 h 1536"/>
                <a:gd name="T48" fmla="*/ 774 w 1686"/>
                <a:gd name="T49" fmla="*/ 1085 h 1536"/>
                <a:gd name="T50" fmla="*/ 697 w 1686"/>
                <a:gd name="T51" fmla="*/ 1072 h 1536"/>
                <a:gd name="T52" fmla="*/ 529 w 1686"/>
                <a:gd name="T53" fmla="*/ 1089 h 1536"/>
                <a:gd name="T54" fmla="*/ 473 w 1686"/>
                <a:gd name="T55" fmla="*/ 973 h 1536"/>
                <a:gd name="T56" fmla="*/ 382 w 1686"/>
                <a:gd name="T57" fmla="*/ 817 h 1536"/>
                <a:gd name="T58" fmla="*/ 254 w 1686"/>
                <a:gd name="T59" fmla="*/ 730 h 1536"/>
                <a:gd name="T60" fmla="*/ 147 w 1686"/>
                <a:gd name="T61" fmla="*/ 586 h 1536"/>
                <a:gd name="T62" fmla="*/ 56 w 1686"/>
                <a:gd name="T63" fmla="*/ 568 h 1536"/>
                <a:gd name="T64" fmla="*/ 78 w 1686"/>
                <a:gd name="T65" fmla="*/ 501 h 1536"/>
                <a:gd name="T66" fmla="*/ 23 w 1686"/>
                <a:gd name="T67" fmla="*/ 405 h 1536"/>
                <a:gd name="T68" fmla="*/ 5 w 1686"/>
                <a:gd name="T69" fmla="*/ 380 h 1536"/>
                <a:gd name="T70" fmla="*/ 53 w 1686"/>
                <a:gd name="T71" fmla="*/ 301 h 1536"/>
                <a:gd name="T72" fmla="*/ 183 w 1686"/>
                <a:gd name="T73" fmla="*/ 296 h 1536"/>
                <a:gd name="T74" fmla="*/ 234 w 1686"/>
                <a:gd name="T75" fmla="*/ 267 h 1536"/>
                <a:gd name="T76" fmla="*/ 300 w 1686"/>
                <a:gd name="T77" fmla="*/ 166 h 1536"/>
                <a:gd name="T78" fmla="*/ 430 w 1686"/>
                <a:gd name="T79" fmla="*/ 62 h 1536"/>
                <a:gd name="T80" fmla="*/ 547 w 1686"/>
                <a:gd name="T81" fmla="*/ 21 h 1536"/>
                <a:gd name="T82" fmla="*/ 608 w 1686"/>
                <a:gd name="T83" fmla="*/ 0 h 1536"/>
                <a:gd name="T84" fmla="*/ 646 w 1686"/>
                <a:gd name="T85" fmla="*/ 10 h 1536"/>
                <a:gd name="T86" fmla="*/ 746 w 1686"/>
                <a:gd name="T87" fmla="*/ 33 h 1536"/>
                <a:gd name="T88" fmla="*/ 816 w 1686"/>
                <a:gd name="T89" fmla="*/ 117 h 1536"/>
                <a:gd name="T90" fmla="*/ 799 w 1686"/>
                <a:gd name="T91" fmla="*/ 258 h 1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86" h="1536">
                  <a:moveTo>
                    <a:pt x="773" y="369"/>
                  </a:moveTo>
                  <a:cubicBezTo>
                    <a:pt x="771" y="384"/>
                    <a:pt x="768" y="405"/>
                    <a:pt x="778" y="421"/>
                  </a:cubicBezTo>
                  <a:cubicBezTo>
                    <a:pt x="784" y="431"/>
                    <a:pt x="794" y="436"/>
                    <a:pt x="801" y="440"/>
                  </a:cubicBezTo>
                  <a:cubicBezTo>
                    <a:pt x="807" y="443"/>
                    <a:pt x="812" y="445"/>
                    <a:pt x="814" y="449"/>
                  </a:cubicBezTo>
                  <a:cubicBezTo>
                    <a:pt x="820" y="456"/>
                    <a:pt x="822" y="463"/>
                    <a:pt x="824" y="471"/>
                  </a:cubicBezTo>
                  <a:cubicBezTo>
                    <a:pt x="825" y="484"/>
                    <a:pt x="829" y="499"/>
                    <a:pt x="845" y="514"/>
                  </a:cubicBezTo>
                  <a:cubicBezTo>
                    <a:pt x="850" y="517"/>
                    <a:pt x="853" y="520"/>
                    <a:pt x="858" y="524"/>
                  </a:cubicBezTo>
                  <a:cubicBezTo>
                    <a:pt x="863" y="527"/>
                    <a:pt x="868" y="530"/>
                    <a:pt x="872" y="533"/>
                  </a:cubicBezTo>
                  <a:cubicBezTo>
                    <a:pt x="876" y="540"/>
                    <a:pt x="878" y="547"/>
                    <a:pt x="881" y="555"/>
                  </a:cubicBezTo>
                  <a:cubicBezTo>
                    <a:pt x="883" y="561"/>
                    <a:pt x="885" y="568"/>
                    <a:pt x="890" y="576"/>
                  </a:cubicBezTo>
                  <a:cubicBezTo>
                    <a:pt x="901" y="598"/>
                    <a:pt x="919" y="604"/>
                    <a:pt x="936" y="609"/>
                  </a:cubicBezTo>
                  <a:cubicBezTo>
                    <a:pt x="944" y="613"/>
                    <a:pt x="952" y="614"/>
                    <a:pt x="959" y="619"/>
                  </a:cubicBezTo>
                  <a:cubicBezTo>
                    <a:pt x="974" y="629"/>
                    <a:pt x="982" y="646"/>
                    <a:pt x="989" y="664"/>
                  </a:cubicBezTo>
                  <a:cubicBezTo>
                    <a:pt x="995" y="678"/>
                    <a:pt x="1003" y="693"/>
                    <a:pt x="1015" y="705"/>
                  </a:cubicBezTo>
                  <a:cubicBezTo>
                    <a:pt x="1031" y="725"/>
                    <a:pt x="1053" y="726"/>
                    <a:pt x="1073" y="728"/>
                  </a:cubicBezTo>
                  <a:lnTo>
                    <a:pt x="1086" y="730"/>
                  </a:lnTo>
                  <a:cubicBezTo>
                    <a:pt x="1114" y="733"/>
                    <a:pt x="1122" y="738"/>
                    <a:pt x="1137" y="761"/>
                  </a:cubicBezTo>
                  <a:cubicBezTo>
                    <a:pt x="1152" y="786"/>
                    <a:pt x="1170" y="799"/>
                    <a:pt x="1190" y="814"/>
                  </a:cubicBezTo>
                  <a:lnTo>
                    <a:pt x="1201" y="822"/>
                  </a:lnTo>
                  <a:cubicBezTo>
                    <a:pt x="1219" y="835"/>
                    <a:pt x="1229" y="851"/>
                    <a:pt x="1239" y="870"/>
                  </a:cubicBezTo>
                  <a:cubicBezTo>
                    <a:pt x="1244" y="879"/>
                    <a:pt x="1250" y="891"/>
                    <a:pt x="1259" y="903"/>
                  </a:cubicBezTo>
                  <a:cubicBezTo>
                    <a:pt x="1283" y="937"/>
                    <a:pt x="1320" y="934"/>
                    <a:pt x="1349" y="932"/>
                  </a:cubicBezTo>
                  <a:cubicBezTo>
                    <a:pt x="1379" y="929"/>
                    <a:pt x="1399" y="929"/>
                    <a:pt x="1412" y="954"/>
                  </a:cubicBezTo>
                  <a:lnTo>
                    <a:pt x="1417" y="965"/>
                  </a:lnTo>
                  <a:cubicBezTo>
                    <a:pt x="1440" y="1010"/>
                    <a:pt x="1481" y="1090"/>
                    <a:pt x="1545" y="1062"/>
                  </a:cubicBezTo>
                  <a:cubicBezTo>
                    <a:pt x="1549" y="1061"/>
                    <a:pt x="1550" y="1059"/>
                    <a:pt x="1555" y="1059"/>
                  </a:cubicBezTo>
                  <a:cubicBezTo>
                    <a:pt x="1567" y="1052"/>
                    <a:pt x="1588" y="1043"/>
                    <a:pt x="1596" y="1046"/>
                  </a:cubicBezTo>
                  <a:cubicBezTo>
                    <a:pt x="1600" y="1049"/>
                    <a:pt x="1601" y="1054"/>
                    <a:pt x="1603" y="1059"/>
                  </a:cubicBezTo>
                  <a:cubicBezTo>
                    <a:pt x="1603" y="1064"/>
                    <a:pt x="1601" y="1067"/>
                    <a:pt x="1598" y="1074"/>
                  </a:cubicBezTo>
                  <a:cubicBezTo>
                    <a:pt x="1593" y="1080"/>
                    <a:pt x="1588" y="1089"/>
                    <a:pt x="1588" y="1102"/>
                  </a:cubicBezTo>
                  <a:cubicBezTo>
                    <a:pt x="1588" y="1125"/>
                    <a:pt x="1610" y="1145"/>
                    <a:pt x="1618" y="1151"/>
                  </a:cubicBezTo>
                  <a:cubicBezTo>
                    <a:pt x="1626" y="1158"/>
                    <a:pt x="1636" y="1161"/>
                    <a:pt x="1644" y="1164"/>
                  </a:cubicBezTo>
                  <a:cubicBezTo>
                    <a:pt x="1652" y="1168"/>
                    <a:pt x="1659" y="1171"/>
                    <a:pt x="1662" y="1174"/>
                  </a:cubicBezTo>
                  <a:cubicBezTo>
                    <a:pt x="1669" y="1179"/>
                    <a:pt x="1669" y="1189"/>
                    <a:pt x="1669" y="1204"/>
                  </a:cubicBezTo>
                  <a:cubicBezTo>
                    <a:pt x="1669" y="1207"/>
                    <a:pt x="1669" y="1211"/>
                    <a:pt x="1669" y="1216"/>
                  </a:cubicBezTo>
                  <a:cubicBezTo>
                    <a:pt x="1669" y="1237"/>
                    <a:pt x="1675" y="1255"/>
                    <a:pt x="1685" y="1272"/>
                  </a:cubicBezTo>
                  <a:lnTo>
                    <a:pt x="1669" y="1285"/>
                  </a:lnTo>
                  <a:cubicBezTo>
                    <a:pt x="1649" y="1300"/>
                    <a:pt x="1628" y="1316"/>
                    <a:pt x="1606" y="1328"/>
                  </a:cubicBezTo>
                  <a:cubicBezTo>
                    <a:pt x="1590" y="1336"/>
                    <a:pt x="1563" y="1344"/>
                    <a:pt x="1539" y="1339"/>
                  </a:cubicBezTo>
                  <a:cubicBezTo>
                    <a:pt x="1534" y="1339"/>
                    <a:pt x="1531" y="1339"/>
                    <a:pt x="1527" y="1337"/>
                  </a:cubicBezTo>
                  <a:cubicBezTo>
                    <a:pt x="1521" y="1336"/>
                    <a:pt x="1514" y="1334"/>
                    <a:pt x="1507" y="1334"/>
                  </a:cubicBezTo>
                  <a:cubicBezTo>
                    <a:pt x="1491" y="1332"/>
                    <a:pt x="1476" y="1339"/>
                    <a:pt x="1468" y="1349"/>
                  </a:cubicBezTo>
                  <a:cubicBezTo>
                    <a:pt x="1461" y="1356"/>
                    <a:pt x="1458" y="1365"/>
                    <a:pt x="1460" y="1375"/>
                  </a:cubicBezTo>
                  <a:cubicBezTo>
                    <a:pt x="1461" y="1384"/>
                    <a:pt x="1466" y="1392"/>
                    <a:pt x="1475" y="1395"/>
                  </a:cubicBezTo>
                  <a:cubicBezTo>
                    <a:pt x="1475" y="1395"/>
                    <a:pt x="1476" y="1397"/>
                    <a:pt x="1481" y="1398"/>
                  </a:cubicBezTo>
                  <a:cubicBezTo>
                    <a:pt x="1481" y="1398"/>
                    <a:pt x="1483" y="1402"/>
                    <a:pt x="1484" y="1405"/>
                  </a:cubicBezTo>
                  <a:lnTo>
                    <a:pt x="1486" y="1410"/>
                  </a:lnTo>
                  <a:cubicBezTo>
                    <a:pt x="1494" y="1423"/>
                    <a:pt x="1507" y="1435"/>
                    <a:pt x="1522" y="1438"/>
                  </a:cubicBezTo>
                  <a:lnTo>
                    <a:pt x="1526" y="1438"/>
                  </a:lnTo>
                  <a:cubicBezTo>
                    <a:pt x="1527" y="1438"/>
                    <a:pt x="1529" y="1438"/>
                    <a:pt x="1529" y="1438"/>
                  </a:cubicBezTo>
                  <a:cubicBezTo>
                    <a:pt x="1529" y="1440"/>
                    <a:pt x="1527" y="1443"/>
                    <a:pt x="1526" y="1445"/>
                  </a:cubicBezTo>
                  <a:cubicBezTo>
                    <a:pt x="1522" y="1446"/>
                    <a:pt x="1517" y="1448"/>
                    <a:pt x="1514" y="1449"/>
                  </a:cubicBezTo>
                  <a:cubicBezTo>
                    <a:pt x="1509" y="1451"/>
                    <a:pt x="1504" y="1454"/>
                    <a:pt x="1499" y="1456"/>
                  </a:cubicBezTo>
                  <a:cubicBezTo>
                    <a:pt x="1478" y="1469"/>
                    <a:pt x="1471" y="1492"/>
                    <a:pt x="1463" y="1514"/>
                  </a:cubicBezTo>
                  <a:cubicBezTo>
                    <a:pt x="1460" y="1520"/>
                    <a:pt x="1458" y="1529"/>
                    <a:pt x="1455" y="1535"/>
                  </a:cubicBezTo>
                  <a:cubicBezTo>
                    <a:pt x="1445" y="1524"/>
                    <a:pt x="1432" y="1512"/>
                    <a:pt x="1418" y="1502"/>
                  </a:cubicBezTo>
                  <a:cubicBezTo>
                    <a:pt x="1384" y="1476"/>
                    <a:pt x="1359" y="1492"/>
                    <a:pt x="1339" y="1504"/>
                  </a:cubicBezTo>
                  <a:cubicBezTo>
                    <a:pt x="1330" y="1510"/>
                    <a:pt x="1320" y="1515"/>
                    <a:pt x="1308" y="1519"/>
                  </a:cubicBezTo>
                  <a:cubicBezTo>
                    <a:pt x="1295" y="1520"/>
                    <a:pt x="1272" y="1519"/>
                    <a:pt x="1249" y="1512"/>
                  </a:cubicBezTo>
                  <a:cubicBezTo>
                    <a:pt x="1242" y="1509"/>
                    <a:pt x="1237" y="1507"/>
                    <a:pt x="1232" y="1505"/>
                  </a:cubicBezTo>
                  <a:cubicBezTo>
                    <a:pt x="1227" y="1502"/>
                    <a:pt x="1224" y="1501"/>
                    <a:pt x="1221" y="1501"/>
                  </a:cubicBezTo>
                  <a:cubicBezTo>
                    <a:pt x="1214" y="1496"/>
                    <a:pt x="1208" y="1494"/>
                    <a:pt x="1204" y="1494"/>
                  </a:cubicBezTo>
                  <a:cubicBezTo>
                    <a:pt x="1199" y="1489"/>
                    <a:pt x="1196" y="1486"/>
                    <a:pt x="1191" y="1479"/>
                  </a:cubicBezTo>
                  <a:cubicBezTo>
                    <a:pt x="1188" y="1474"/>
                    <a:pt x="1183" y="1469"/>
                    <a:pt x="1178" y="1463"/>
                  </a:cubicBezTo>
                  <a:cubicBezTo>
                    <a:pt x="1161" y="1448"/>
                    <a:pt x="1145" y="1443"/>
                    <a:pt x="1129" y="1438"/>
                  </a:cubicBezTo>
                  <a:cubicBezTo>
                    <a:pt x="1124" y="1436"/>
                    <a:pt x="1119" y="1436"/>
                    <a:pt x="1112" y="1435"/>
                  </a:cubicBezTo>
                  <a:cubicBezTo>
                    <a:pt x="1089" y="1426"/>
                    <a:pt x="1077" y="1403"/>
                    <a:pt x="1064" y="1379"/>
                  </a:cubicBezTo>
                  <a:cubicBezTo>
                    <a:pt x="1058" y="1365"/>
                    <a:pt x="1051" y="1354"/>
                    <a:pt x="1045" y="1342"/>
                  </a:cubicBezTo>
                  <a:cubicBezTo>
                    <a:pt x="1031" y="1324"/>
                    <a:pt x="1017" y="1309"/>
                    <a:pt x="1003" y="1295"/>
                  </a:cubicBezTo>
                  <a:cubicBezTo>
                    <a:pt x="989" y="1280"/>
                    <a:pt x="974" y="1263"/>
                    <a:pt x="962" y="1247"/>
                  </a:cubicBezTo>
                  <a:cubicBezTo>
                    <a:pt x="952" y="1232"/>
                    <a:pt x="942" y="1222"/>
                    <a:pt x="933" y="1211"/>
                  </a:cubicBezTo>
                  <a:cubicBezTo>
                    <a:pt x="919" y="1196"/>
                    <a:pt x="906" y="1184"/>
                    <a:pt x="898" y="1164"/>
                  </a:cubicBezTo>
                  <a:cubicBezTo>
                    <a:pt x="896" y="1161"/>
                    <a:pt x="895" y="1156"/>
                    <a:pt x="893" y="1151"/>
                  </a:cubicBezTo>
                  <a:cubicBezTo>
                    <a:pt x="878" y="1118"/>
                    <a:pt x="857" y="1069"/>
                    <a:pt x="806" y="1074"/>
                  </a:cubicBezTo>
                  <a:cubicBezTo>
                    <a:pt x="794" y="1075"/>
                    <a:pt x="784" y="1080"/>
                    <a:pt x="774" y="1085"/>
                  </a:cubicBezTo>
                  <a:cubicBezTo>
                    <a:pt x="766" y="1090"/>
                    <a:pt x="758" y="1094"/>
                    <a:pt x="750" y="1094"/>
                  </a:cubicBezTo>
                  <a:cubicBezTo>
                    <a:pt x="740" y="1094"/>
                    <a:pt x="730" y="1089"/>
                    <a:pt x="718" y="1082"/>
                  </a:cubicBezTo>
                  <a:cubicBezTo>
                    <a:pt x="712" y="1079"/>
                    <a:pt x="704" y="1074"/>
                    <a:pt x="697" y="1072"/>
                  </a:cubicBezTo>
                  <a:cubicBezTo>
                    <a:pt x="661" y="1059"/>
                    <a:pt x="633" y="1069"/>
                    <a:pt x="605" y="1079"/>
                  </a:cubicBezTo>
                  <a:cubicBezTo>
                    <a:pt x="595" y="1084"/>
                    <a:pt x="585" y="1087"/>
                    <a:pt x="575" y="1089"/>
                  </a:cubicBezTo>
                  <a:cubicBezTo>
                    <a:pt x="560" y="1094"/>
                    <a:pt x="544" y="1094"/>
                    <a:pt x="529" y="1089"/>
                  </a:cubicBezTo>
                  <a:cubicBezTo>
                    <a:pt x="519" y="1087"/>
                    <a:pt x="512" y="1082"/>
                    <a:pt x="504" y="1077"/>
                  </a:cubicBezTo>
                  <a:cubicBezTo>
                    <a:pt x="496" y="1071"/>
                    <a:pt x="488" y="1064"/>
                    <a:pt x="479" y="1056"/>
                  </a:cubicBezTo>
                  <a:cubicBezTo>
                    <a:pt x="463" y="1034"/>
                    <a:pt x="468" y="1005"/>
                    <a:pt x="473" y="973"/>
                  </a:cubicBezTo>
                  <a:cubicBezTo>
                    <a:pt x="475" y="963"/>
                    <a:pt x="476" y="954"/>
                    <a:pt x="478" y="944"/>
                  </a:cubicBezTo>
                  <a:cubicBezTo>
                    <a:pt x="481" y="909"/>
                    <a:pt x="471" y="861"/>
                    <a:pt x="440" y="833"/>
                  </a:cubicBezTo>
                  <a:cubicBezTo>
                    <a:pt x="423" y="817"/>
                    <a:pt x="402" y="817"/>
                    <a:pt x="382" y="817"/>
                  </a:cubicBezTo>
                  <a:cubicBezTo>
                    <a:pt x="366" y="817"/>
                    <a:pt x="349" y="817"/>
                    <a:pt x="338" y="809"/>
                  </a:cubicBezTo>
                  <a:cubicBezTo>
                    <a:pt x="325" y="800"/>
                    <a:pt x="316" y="789"/>
                    <a:pt x="308" y="776"/>
                  </a:cubicBezTo>
                  <a:cubicBezTo>
                    <a:pt x="297" y="759"/>
                    <a:pt x="282" y="738"/>
                    <a:pt x="254" y="730"/>
                  </a:cubicBezTo>
                  <a:cubicBezTo>
                    <a:pt x="244" y="726"/>
                    <a:pt x="222" y="720"/>
                    <a:pt x="203" y="720"/>
                  </a:cubicBezTo>
                  <a:cubicBezTo>
                    <a:pt x="206" y="697"/>
                    <a:pt x="208" y="672"/>
                    <a:pt x="208" y="647"/>
                  </a:cubicBezTo>
                  <a:cubicBezTo>
                    <a:pt x="206" y="611"/>
                    <a:pt x="188" y="589"/>
                    <a:pt x="147" y="586"/>
                  </a:cubicBezTo>
                  <a:lnTo>
                    <a:pt x="147" y="586"/>
                  </a:lnTo>
                  <a:lnTo>
                    <a:pt x="138" y="585"/>
                  </a:lnTo>
                  <a:cubicBezTo>
                    <a:pt x="106" y="581"/>
                    <a:pt x="82" y="580"/>
                    <a:pt x="56" y="568"/>
                  </a:cubicBezTo>
                  <a:lnTo>
                    <a:pt x="56" y="568"/>
                  </a:lnTo>
                  <a:cubicBezTo>
                    <a:pt x="59" y="563"/>
                    <a:pt x="61" y="560"/>
                    <a:pt x="63" y="555"/>
                  </a:cubicBezTo>
                  <a:cubicBezTo>
                    <a:pt x="69" y="538"/>
                    <a:pt x="78" y="520"/>
                    <a:pt x="78" y="501"/>
                  </a:cubicBezTo>
                  <a:cubicBezTo>
                    <a:pt x="78" y="484"/>
                    <a:pt x="68" y="464"/>
                    <a:pt x="59" y="448"/>
                  </a:cubicBezTo>
                  <a:cubicBezTo>
                    <a:pt x="56" y="445"/>
                    <a:pt x="54" y="440"/>
                    <a:pt x="53" y="436"/>
                  </a:cubicBezTo>
                  <a:cubicBezTo>
                    <a:pt x="43" y="415"/>
                    <a:pt x="40" y="412"/>
                    <a:pt x="23" y="405"/>
                  </a:cubicBezTo>
                  <a:lnTo>
                    <a:pt x="13" y="400"/>
                  </a:lnTo>
                  <a:cubicBezTo>
                    <a:pt x="7" y="395"/>
                    <a:pt x="2" y="393"/>
                    <a:pt x="0" y="392"/>
                  </a:cubicBezTo>
                  <a:cubicBezTo>
                    <a:pt x="0" y="390"/>
                    <a:pt x="3" y="382"/>
                    <a:pt x="5" y="380"/>
                  </a:cubicBezTo>
                  <a:cubicBezTo>
                    <a:pt x="8" y="365"/>
                    <a:pt x="25" y="339"/>
                    <a:pt x="36" y="321"/>
                  </a:cubicBezTo>
                  <a:cubicBezTo>
                    <a:pt x="38" y="319"/>
                    <a:pt x="40" y="316"/>
                    <a:pt x="41" y="314"/>
                  </a:cubicBezTo>
                  <a:cubicBezTo>
                    <a:pt x="45" y="308"/>
                    <a:pt x="49" y="303"/>
                    <a:pt x="53" y="301"/>
                  </a:cubicBezTo>
                  <a:cubicBezTo>
                    <a:pt x="64" y="293"/>
                    <a:pt x="73" y="298"/>
                    <a:pt x="91" y="304"/>
                  </a:cubicBezTo>
                  <a:cubicBezTo>
                    <a:pt x="102" y="309"/>
                    <a:pt x="115" y="314"/>
                    <a:pt x="130" y="316"/>
                  </a:cubicBezTo>
                  <a:cubicBezTo>
                    <a:pt x="160" y="318"/>
                    <a:pt x="171" y="306"/>
                    <a:pt x="183" y="296"/>
                  </a:cubicBezTo>
                  <a:cubicBezTo>
                    <a:pt x="186" y="293"/>
                    <a:pt x="191" y="288"/>
                    <a:pt x="196" y="285"/>
                  </a:cubicBezTo>
                  <a:cubicBezTo>
                    <a:pt x="199" y="283"/>
                    <a:pt x="204" y="280"/>
                    <a:pt x="209" y="278"/>
                  </a:cubicBezTo>
                  <a:cubicBezTo>
                    <a:pt x="218" y="276"/>
                    <a:pt x="226" y="273"/>
                    <a:pt x="234" y="267"/>
                  </a:cubicBezTo>
                  <a:cubicBezTo>
                    <a:pt x="249" y="253"/>
                    <a:pt x="265" y="234"/>
                    <a:pt x="277" y="220"/>
                  </a:cubicBezTo>
                  <a:cubicBezTo>
                    <a:pt x="290" y="206"/>
                    <a:pt x="292" y="194"/>
                    <a:pt x="295" y="184"/>
                  </a:cubicBezTo>
                  <a:cubicBezTo>
                    <a:pt x="297" y="178"/>
                    <a:pt x="298" y="173"/>
                    <a:pt x="300" y="166"/>
                  </a:cubicBezTo>
                  <a:cubicBezTo>
                    <a:pt x="310" y="143"/>
                    <a:pt x="333" y="132"/>
                    <a:pt x="359" y="118"/>
                  </a:cubicBezTo>
                  <a:cubicBezTo>
                    <a:pt x="374" y="112"/>
                    <a:pt x="389" y="104"/>
                    <a:pt x="402" y="94"/>
                  </a:cubicBezTo>
                  <a:cubicBezTo>
                    <a:pt x="414" y="84"/>
                    <a:pt x="422" y="74"/>
                    <a:pt x="430" y="62"/>
                  </a:cubicBezTo>
                  <a:cubicBezTo>
                    <a:pt x="447" y="44"/>
                    <a:pt x="456" y="29"/>
                    <a:pt x="479" y="29"/>
                  </a:cubicBezTo>
                  <a:cubicBezTo>
                    <a:pt x="486" y="29"/>
                    <a:pt x="491" y="29"/>
                    <a:pt x="496" y="29"/>
                  </a:cubicBezTo>
                  <a:cubicBezTo>
                    <a:pt x="512" y="29"/>
                    <a:pt x="527" y="29"/>
                    <a:pt x="547" y="21"/>
                  </a:cubicBezTo>
                  <a:cubicBezTo>
                    <a:pt x="552" y="18"/>
                    <a:pt x="555" y="16"/>
                    <a:pt x="560" y="13"/>
                  </a:cubicBezTo>
                  <a:cubicBezTo>
                    <a:pt x="573" y="6"/>
                    <a:pt x="582" y="1"/>
                    <a:pt x="595" y="0"/>
                  </a:cubicBezTo>
                  <a:cubicBezTo>
                    <a:pt x="598" y="0"/>
                    <a:pt x="603" y="0"/>
                    <a:pt x="608" y="0"/>
                  </a:cubicBezTo>
                  <a:cubicBezTo>
                    <a:pt x="615" y="0"/>
                    <a:pt x="621" y="1"/>
                    <a:pt x="628" y="5"/>
                  </a:cubicBezTo>
                  <a:lnTo>
                    <a:pt x="628" y="5"/>
                  </a:lnTo>
                  <a:cubicBezTo>
                    <a:pt x="634" y="6"/>
                    <a:pt x="639" y="8"/>
                    <a:pt x="646" y="10"/>
                  </a:cubicBezTo>
                  <a:cubicBezTo>
                    <a:pt x="652" y="13"/>
                    <a:pt x="659" y="15"/>
                    <a:pt x="664" y="16"/>
                  </a:cubicBezTo>
                  <a:cubicBezTo>
                    <a:pt x="680" y="23"/>
                    <a:pt x="697" y="24"/>
                    <a:pt x="713" y="28"/>
                  </a:cubicBezTo>
                  <a:cubicBezTo>
                    <a:pt x="723" y="28"/>
                    <a:pt x="735" y="31"/>
                    <a:pt x="746" y="33"/>
                  </a:cubicBezTo>
                  <a:cubicBezTo>
                    <a:pt x="764" y="38"/>
                    <a:pt x="786" y="44"/>
                    <a:pt x="797" y="59"/>
                  </a:cubicBezTo>
                  <a:cubicBezTo>
                    <a:pt x="802" y="66"/>
                    <a:pt x="804" y="74"/>
                    <a:pt x="804" y="84"/>
                  </a:cubicBezTo>
                  <a:cubicBezTo>
                    <a:pt x="806" y="94"/>
                    <a:pt x="807" y="105"/>
                    <a:pt x="816" y="117"/>
                  </a:cubicBezTo>
                  <a:cubicBezTo>
                    <a:pt x="827" y="135"/>
                    <a:pt x="844" y="148"/>
                    <a:pt x="863" y="153"/>
                  </a:cubicBezTo>
                  <a:cubicBezTo>
                    <a:pt x="860" y="158"/>
                    <a:pt x="857" y="161"/>
                    <a:pt x="853" y="166"/>
                  </a:cubicBezTo>
                  <a:cubicBezTo>
                    <a:pt x="832" y="194"/>
                    <a:pt x="811" y="222"/>
                    <a:pt x="799" y="258"/>
                  </a:cubicBezTo>
                  <a:cubicBezTo>
                    <a:pt x="786" y="296"/>
                    <a:pt x="778" y="334"/>
                    <a:pt x="773" y="369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12" name="Freeform 48">
              <a:extLst>
                <a:ext uri="{FF2B5EF4-FFF2-40B4-BE49-F238E27FC236}">
                  <a16:creationId xmlns:a16="http://schemas.microsoft.com/office/drawing/2014/main" id="{E005FB3E-5B7C-6040-B023-F31FF72444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3538" y="3365500"/>
              <a:ext cx="271462" cy="273050"/>
            </a:xfrm>
            <a:custGeom>
              <a:avLst/>
              <a:gdLst>
                <a:gd name="T0" fmla="*/ 336 w 753"/>
                <a:gd name="T1" fmla="*/ 673 h 758"/>
                <a:gd name="T2" fmla="*/ 297 w 753"/>
                <a:gd name="T3" fmla="*/ 655 h 758"/>
                <a:gd name="T4" fmla="*/ 289 w 753"/>
                <a:gd name="T5" fmla="*/ 612 h 758"/>
                <a:gd name="T6" fmla="*/ 302 w 753"/>
                <a:gd name="T7" fmla="*/ 565 h 758"/>
                <a:gd name="T8" fmla="*/ 155 w 753"/>
                <a:gd name="T9" fmla="*/ 579 h 758"/>
                <a:gd name="T10" fmla="*/ 78 w 753"/>
                <a:gd name="T11" fmla="*/ 627 h 758"/>
                <a:gd name="T12" fmla="*/ 15 w 753"/>
                <a:gd name="T13" fmla="*/ 571 h 758"/>
                <a:gd name="T14" fmla="*/ 30 w 753"/>
                <a:gd name="T15" fmla="*/ 489 h 758"/>
                <a:gd name="T16" fmla="*/ 56 w 753"/>
                <a:gd name="T17" fmla="*/ 484 h 758"/>
                <a:gd name="T18" fmla="*/ 84 w 753"/>
                <a:gd name="T19" fmla="*/ 411 h 758"/>
                <a:gd name="T20" fmla="*/ 116 w 753"/>
                <a:gd name="T21" fmla="*/ 359 h 758"/>
                <a:gd name="T22" fmla="*/ 201 w 753"/>
                <a:gd name="T23" fmla="*/ 261 h 758"/>
                <a:gd name="T24" fmla="*/ 259 w 753"/>
                <a:gd name="T25" fmla="*/ 172 h 758"/>
                <a:gd name="T26" fmla="*/ 330 w 753"/>
                <a:gd name="T27" fmla="*/ 194 h 758"/>
                <a:gd name="T28" fmla="*/ 452 w 753"/>
                <a:gd name="T29" fmla="*/ 62 h 758"/>
                <a:gd name="T30" fmla="*/ 577 w 753"/>
                <a:gd name="T31" fmla="*/ 36 h 758"/>
                <a:gd name="T32" fmla="*/ 640 w 753"/>
                <a:gd name="T33" fmla="*/ 80 h 758"/>
                <a:gd name="T34" fmla="*/ 692 w 753"/>
                <a:gd name="T35" fmla="*/ 97 h 758"/>
                <a:gd name="T36" fmla="*/ 740 w 753"/>
                <a:gd name="T37" fmla="*/ 146 h 758"/>
                <a:gd name="T38" fmla="*/ 750 w 753"/>
                <a:gd name="T39" fmla="*/ 159 h 758"/>
                <a:gd name="T40" fmla="*/ 729 w 753"/>
                <a:gd name="T41" fmla="*/ 212 h 758"/>
                <a:gd name="T42" fmla="*/ 705 w 753"/>
                <a:gd name="T43" fmla="*/ 288 h 758"/>
                <a:gd name="T44" fmla="*/ 669 w 753"/>
                <a:gd name="T45" fmla="*/ 370 h 758"/>
                <a:gd name="T46" fmla="*/ 595 w 753"/>
                <a:gd name="T47" fmla="*/ 527 h 758"/>
                <a:gd name="T48" fmla="*/ 528 w 753"/>
                <a:gd name="T49" fmla="*/ 568 h 758"/>
                <a:gd name="T50" fmla="*/ 508 w 753"/>
                <a:gd name="T51" fmla="*/ 591 h 758"/>
                <a:gd name="T52" fmla="*/ 468 w 753"/>
                <a:gd name="T53" fmla="*/ 578 h 758"/>
                <a:gd name="T54" fmla="*/ 462 w 753"/>
                <a:gd name="T55" fmla="*/ 691 h 758"/>
                <a:gd name="T56" fmla="*/ 455 w 753"/>
                <a:gd name="T57" fmla="*/ 736 h 758"/>
                <a:gd name="T58" fmla="*/ 381 w 753"/>
                <a:gd name="T59" fmla="*/ 742 h 758"/>
                <a:gd name="T60" fmla="*/ 358 w 753"/>
                <a:gd name="T61" fmla="*/ 757 h 758"/>
                <a:gd name="T62" fmla="*/ 325 w 753"/>
                <a:gd name="T63" fmla="*/ 754 h 758"/>
                <a:gd name="T64" fmla="*/ 304 w 753"/>
                <a:gd name="T65" fmla="*/ 751 h 758"/>
                <a:gd name="T66" fmla="*/ 284 w 753"/>
                <a:gd name="T67" fmla="*/ 723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53" h="758">
                  <a:moveTo>
                    <a:pt x="327" y="711"/>
                  </a:moveTo>
                  <a:cubicBezTo>
                    <a:pt x="343" y="696"/>
                    <a:pt x="340" y="683"/>
                    <a:pt x="336" y="673"/>
                  </a:cubicBezTo>
                  <a:cubicBezTo>
                    <a:pt x="328" y="655"/>
                    <a:pt x="310" y="655"/>
                    <a:pt x="300" y="655"/>
                  </a:cubicBezTo>
                  <a:lnTo>
                    <a:pt x="297" y="655"/>
                  </a:lnTo>
                  <a:cubicBezTo>
                    <a:pt x="287" y="654"/>
                    <a:pt x="284" y="650"/>
                    <a:pt x="282" y="649"/>
                  </a:cubicBezTo>
                  <a:cubicBezTo>
                    <a:pt x="279" y="642"/>
                    <a:pt x="282" y="627"/>
                    <a:pt x="289" y="612"/>
                  </a:cubicBezTo>
                  <a:cubicBezTo>
                    <a:pt x="290" y="609"/>
                    <a:pt x="292" y="606"/>
                    <a:pt x="295" y="604"/>
                  </a:cubicBezTo>
                  <a:cubicBezTo>
                    <a:pt x="300" y="594"/>
                    <a:pt x="310" y="581"/>
                    <a:pt x="302" y="565"/>
                  </a:cubicBezTo>
                  <a:cubicBezTo>
                    <a:pt x="292" y="546"/>
                    <a:pt x="269" y="546"/>
                    <a:pt x="254" y="546"/>
                  </a:cubicBezTo>
                  <a:cubicBezTo>
                    <a:pt x="221" y="546"/>
                    <a:pt x="180" y="565"/>
                    <a:pt x="155" y="579"/>
                  </a:cubicBezTo>
                  <a:cubicBezTo>
                    <a:pt x="149" y="586"/>
                    <a:pt x="142" y="591"/>
                    <a:pt x="135" y="596"/>
                  </a:cubicBezTo>
                  <a:cubicBezTo>
                    <a:pt x="117" y="609"/>
                    <a:pt x="103" y="621"/>
                    <a:pt x="78" y="627"/>
                  </a:cubicBezTo>
                  <a:cubicBezTo>
                    <a:pt x="19" y="647"/>
                    <a:pt x="7" y="640"/>
                    <a:pt x="5" y="640"/>
                  </a:cubicBezTo>
                  <a:cubicBezTo>
                    <a:pt x="0" y="630"/>
                    <a:pt x="12" y="586"/>
                    <a:pt x="15" y="571"/>
                  </a:cubicBezTo>
                  <a:cubicBezTo>
                    <a:pt x="17" y="563"/>
                    <a:pt x="19" y="558"/>
                    <a:pt x="20" y="553"/>
                  </a:cubicBezTo>
                  <a:cubicBezTo>
                    <a:pt x="23" y="532"/>
                    <a:pt x="27" y="510"/>
                    <a:pt x="30" y="489"/>
                  </a:cubicBezTo>
                  <a:lnTo>
                    <a:pt x="32" y="490"/>
                  </a:lnTo>
                  <a:cubicBezTo>
                    <a:pt x="42" y="490"/>
                    <a:pt x="50" y="489"/>
                    <a:pt x="56" y="484"/>
                  </a:cubicBezTo>
                  <a:cubicBezTo>
                    <a:pt x="76" y="472"/>
                    <a:pt x="84" y="444"/>
                    <a:pt x="84" y="421"/>
                  </a:cubicBezTo>
                  <a:cubicBezTo>
                    <a:pt x="84" y="418"/>
                    <a:pt x="84" y="415"/>
                    <a:pt x="84" y="411"/>
                  </a:cubicBezTo>
                  <a:cubicBezTo>
                    <a:pt x="84" y="395"/>
                    <a:pt x="84" y="385"/>
                    <a:pt x="94" y="373"/>
                  </a:cubicBezTo>
                  <a:cubicBezTo>
                    <a:pt x="101" y="364"/>
                    <a:pt x="104" y="362"/>
                    <a:pt x="116" y="359"/>
                  </a:cubicBezTo>
                  <a:cubicBezTo>
                    <a:pt x="119" y="359"/>
                    <a:pt x="124" y="357"/>
                    <a:pt x="129" y="355"/>
                  </a:cubicBezTo>
                  <a:cubicBezTo>
                    <a:pt x="180" y="339"/>
                    <a:pt x="193" y="311"/>
                    <a:pt x="201" y="261"/>
                  </a:cubicBezTo>
                  <a:cubicBezTo>
                    <a:pt x="210" y="205"/>
                    <a:pt x="229" y="163"/>
                    <a:pt x="244" y="163"/>
                  </a:cubicBezTo>
                  <a:cubicBezTo>
                    <a:pt x="248" y="163"/>
                    <a:pt x="254" y="168"/>
                    <a:pt x="259" y="172"/>
                  </a:cubicBezTo>
                  <a:cubicBezTo>
                    <a:pt x="264" y="176"/>
                    <a:pt x="269" y="181"/>
                    <a:pt x="274" y="182"/>
                  </a:cubicBezTo>
                  <a:cubicBezTo>
                    <a:pt x="290" y="192"/>
                    <a:pt x="312" y="197"/>
                    <a:pt x="330" y="194"/>
                  </a:cubicBezTo>
                  <a:cubicBezTo>
                    <a:pt x="374" y="187"/>
                    <a:pt x="409" y="141"/>
                    <a:pt x="432" y="110"/>
                  </a:cubicBezTo>
                  <a:cubicBezTo>
                    <a:pt x="444" y="95"/>
                    <a:pt x="447" y="77"/>
                    <a:pt x="452" y="62"/>
                  </a:cubicBezTo>
                  <a:cubicBezTo>
                    <a:pt x="457" y="41"/>
                    <a:pt x="460" y="26"/>
                    <a:pt x="477" y="18"/>
                  </a:cubicBezTo>
                  <a:cubicBezTo>
                    <a:pt x="511" y="0"/>
                    <a:pt x="541" y="6"/>
                    <a:pt x="577" y="36"/>
                  </a:cubicBezTo>
                  <a:cubicBezTo>
                    <a:pt x="582" y="39"/>
                    <a:pt x="587" y="44"/>
                    <a:pt x="590" y="49"/>
                  </a:cubicBezTo>
                  <a:cubicBezTo>
                    <a:pt x="603" y="60"/>
                    <a:pt x="618" y="75"/>
                    <a:pt x="640" y="80"/>
                  </a:cubicBezTo>
                  <a:cubicBezTo>
                    <a:pt x="649" y="84"/>
                    <a:pt x="658" y="84"/>
                    <a:pt x="666" y="85"/>
                  </a:cubicBezTo>
                  <a:cubicBezTo>
                    <a:pt x="677" y="85"/>
                    <a:pt x="684" y="85"/>
                    <a:pt x="692" y="97"/>
                  </a:cubicBezTo>
                  <a:cubicBezTo>
                    <a:pt x="696" y="102"/>
                    <a:pt x="699" y="107"/>
                    <a:pt x="702" y="110"/>
                  </a:cubicBezTo>
                  <a:cubicBezTo>
                    <a:pt x="710" y="123"/>
                    <a:pt x="719" y="136"/>
                    <a:pt x="740" y="146"/>
                  </a:cubicBezTo>
                  <a:cubicBezTo>
                    <a:pt x="743" y="148"/>
                    <a:pt x="748" y="149"/>
                    <a:pt x="752" y="149"/>
                  </a:cubicBezTo>
                  <a:cubicBezTo>
                    <a:pt x="752" y="153"/>
                    <a:pt x="750" y="156"/>
                    <a:pt x="750" y="159"/>
                  </a:cubicBezTo>
                  <a:cubicBezTo>
                    <a:pt x="748" y="166"/>
                    <a:pt x="745" y="174"/>
                    <a:pt x="743" y="181"/>
                  </a:cubicBezTo>
                  <a:cubicBezTo>
                    <a:pt x="738" y="192"/>
                    <a:pt x="734" y="202"/>
                    <a:pt x="729" y="212"/>
                  </a:cubicBezTo>
                  <a:cubicBezTo>
                    <a:pt x="720" y="230"/>
                    <a:pt x="710" y="248"/>
                    <a:pt x="707" y="271"/>
                  </a:cubicBezTo>
                  <a:cubicBezTo>
                    <a:pt x="707" y="276"/>
                    <a:pt x="705" y="283"/>
                    <a:pt x="705" y="288"/>
                  </a:cubicBezTo>
                  <a:cubicBezTo>
                    <a:pt x="702" y="316"/>
                    <a:pt x="699" y="336"/>
                    <a:pt x="679" y="357"/>
                  </a:cubicBezTo>
                  <a:cubicBezTo>
                    <a:pt x="676" y="362"/>
                    <a:pt x="673" y="365"/>
                    <a:pt x="669" y="370"/>
                  </a:cubicBezTo>
                  <a:cubicBezTo>
                    <a:pt x="651" y="390"/>
                    <a:pt x="636" y="406"/>
                    <a:pt x="630" y="441"/>
                  </a:cubicBezTo>
                  <a:cubicBezTo>
                    <a:pt x="626" y="472"/>
                    <a:pt x="612" y="505"/>
                    <a:pt x="595" y="527"/>
                  </a:cubicBezTo>
                  <a:cubicBezTo>
                    <a:pt x="589" y="537"/>
                    <a:pt x="577" y="540"/>
                    <a:pt x="565" y="545"/>
                  </a:cubicBezTo>
                  <a:cubicBezTo>
                    <a:pt x="554" y="550"/>
                    <a:pt x="539" y="555"/>
                    <a:pt x="528" y="568"/>
                  </a:cubicBezTo>
                  <a:cubicBezTo>
                    <a:pt x="524" y="571"/>
                    <a:pt x="521" y="576"/>
                    <a:pt x="519" y="579"/>
                  </a:cubicBezTo>
                  <a:cubicBezTo>
                    <a:pt x="514" y="586"/>
                    <a:pt x="513" y="589"/>
                    <a:pt x="508" y="591"/>
                  </a:cubicBezTo>
                  <a:cubicBezTo>
                    <a:pt x="506" y="591"/>
                    <a:pt x="505" y="589"/>
                    <a:pt x="503" y="588"/>
                  </a:cubicBezTo>
                  <a:cubicBezTo>
                    <a:pt x="498" y="583"/>
                    <a:pt x="488" y="573"/>
                    <a:pt x="468" y="578"/>
                  </a:cubicBezTo>
                  <a:cubicBezTo>
                    <a:pt x="440" y="586"/>
                    <a:pt x="449" y="622"/>
                    <a:pt x="455" y="657"/>
                  </a:cubicBezTo>
                  <a:cubicBezTo>
                    <a:pt x="458" y="668"/>
                    <a:pt x="460" y="680"/>
                    <a:pt x="462" y="691"/>
                  </a:cubicBezTo>
                  <a:cubicBezTo>
                    <a:pt x="463" y="701"/>
                    <a:pt x="463" y="711"/>
                    <a:pt x="462" y="718"/>
                  </a:cubicBezTo>
                  <a:cubicBezTo>
                    <a:pt x="462" y="726"/>
                    <a:pt x="460" y="733"/>
                    <a:pt x="455" y="736"/>
                  </a:cubicBezTo>
                  <a:cubicBezTo>
                    <a:pt x="445" y="744"/>
                    <a:pt x="437" y="742"/>
                    <a:pt x="422" y="741"/>
                  </a:cubicBezTo>
                  <a:cubicBezTo>
                    <a:pt x="409" y="739"/>
                    <a:pt x="396" y="738"/>
                    <a:pt x="381" y="742"/>
                  </a:cubicBezTo>
                  <a:cubicBezTo>
                    <a:pt x="374" y="744"/>
                    <a:pt x="371" y="749"/>
                    <a:pt x="366" y="752"/>
                  </a:cubicBezTo>
                  <a:cubicBezTo>
                    <a:pt x="363" y="754"/>
                    <a:pt x="361" y="756"/>
                    <a:pt x="358" y="757"/>
                  </a:cubicBezTo>
                  <a:cubicBezTo>
                    <a:pt x="353" y="757"/>
                    <a:pt x="345" y="757"/>
                    <a:pt x="338" y="756"/>
                  </a:cubicBezTo>
                  <a:cubicBezTo>
                    <a:pt x="333" y="756"/>
                    <a:pt x="330" y="756"/>
                    <a:pt x="325" y="754"/>
                  </a:cubicBezTo>
                  <a:cubicBezTo>
                    <a:pt x="322" y="754"/>
                    <a:pt x="317" y="752"/>
                    <a:pt x="312" y="752"/>
                  </a:cubicBezTo>
                  <a:lnTo>
                    <a:pt x="304" y="751"/>
                  </a:lnTo>
                  <a:cubicBezTo>
                    <a:pt x="276" y="749"/>
                    <a:pt x="257" y="744"/>
                    <a:pt x="257" y="731"/>
                  </a:cubicBezTo>
                  <a:cubicBezTo>
                    <a:pt x="259" y="726"/>
                    <a:pt x="261" y="723"/>
                    <a:pt x="284" y="723"/>
                  </a:cubicBezTo>
                  <a:cubicBezTo>
                    <a:pt x="299" y="721"/>
                    <a:pt x="315" y="721"/>
                    <a:pt x="327" y="71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13" name="Freeform 49">
              <a:extLst>
                <a:ext uri="{FF2B5EF4-FFF2-40B4-BE49-F238E27FC236}">
                  <a16:creationId xmlns:a16="http://schemas.microsoft.com/office/drawing/2014/main" id="{04EF52C8-F9E3-704B-9336-A904647989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3800" y="1744663"/>
              <a:ext cx="901700" cy="828675"/>
            </a:xfrm>
            <a:custGeom>
              <a:avLst/>
              <a:gdLst>
                <a:gd name="T0" fmla="*/ 374 w 2505"/>
                <a:gd name="T1" fmla="*/ 1418 h 2304"/>
                <a:gd name="T2" fmla="*/ 638 w 2505"/>
                <a:gd name="T3" fmla="*/ 1270 h 2304"/>
                <a:gd name="T4" fmla="*/ 668 w 2505"/>
                <a:gd name="T5" fmla="*/ 1077 h 2304"/>
                <a:gd name="T6" fmla="*/ 847 w 2505"/>
                <a:gd name="T7" fmla="*/ 983 h 2304"/>
                <a:gd name="T8" fmla="*/ 911 w 2505"/>
                <a:gd name="T9" fmla="*/ 912 h 2304"/>
                <a:gd name="T10" fmla="*/ 995 w 2505"/>
                <a:gd name="T11" fmla="*/ 789 h 2304"/>
                <a:gd name="T12" fmla="*/ 1109 w 2505"/>
                <a:gd name="T13" fmla="*/ 716 h 2304"/>
                <a:gd name="T14" fmla="*/ 1280 w 2505"/>
                <a:gd name="T15" fmla="*/ 601 h 2304"/>
                <a:gd name="T16" fmla="*/ 1340 w 2505"/>
                <a:gd name="T17" fmla="*/ 509 h 2304"/>
                <a:gd name="T18" fmla="*/ 1521 w 2505"/>
                <a:gd name="T19" fmla="*/ 392 h 2304"/>
                <a:gd name="T20" fmla="*/ 1735 w 2505"/>
                <a:gd name="T21" fmla="*/ 209 h 2304"/>
                <a:gd name="T22" fmla="*/ 1816 w 2505"/>
                <a:gd name="T23" fmla="*/ 69 h 2304"/>
                <a:gd name="T24" fmla="*/ 1888 w 2505"/>
                <a:gd name="T25" fmla="*/ 13 h 2304"/>
                <a:gd name="T26" fmla="*/ 2005 w 2505"/>
                <a:gd name="T27" fmla="*/ 28 h 2304"/>
                <a:gd name="T28" fmla="*/ 2084 w 2505"/>
                <a:gd name="T29" fmla="*/ 20 h 2304"/>
                <a:gd name="T30" fmla="*/ 2269 w 2505"/>
                <a:gd name="T31" fmla="*/ 76 h 2304"/>
                <a:gd name="T32" fmla="*/ 2386 w 2505"/>
                <a:gd name="T33" fmla="*/ 252 h 2304"/>
                <a:gd name="T34" fmla="*/ 2315 w 2505"/>
                <a:gd name="T35" fmla="*/ 290 h 2304"/>
                <a:gd name="T36" fmla="*/ 2295 w 2505"/>
                <a:gd name="T37" fmla="*/ 301 h 2304"/>
                <a:gd name="T38" fmla="*/ 2305 w 2505"/>
                <a:gd name="T39" fmla="*/ 311 h 2304"/>
                <a:gd name="T40" fmla="*/ 2336 w 2505"/>
                <a:gd name="T41" fmla="*/ 341 h 2304"/>
                <a:gd name="T42" fmla="*/ 2376 w 2505"/>
                <a:gd name="T43" fmla="*/ 458 h 2304"/>
                <a:gd name="T44" fmla="*/ 2450 w 2505"/>
                <a:gd name="T45" fmla="*/ 677 h 2304"/>
                <a:gd name="T46" fmla="*/ 2466 w 2505"/>
                <a:gd name="T47" fmla="*/ 1057 h 2304"/>
                <a:gd name="T48" fmla="*/ 2471 w 2505"/>
                <a:gd name="T49" fmla="*/ 1252 h 2304"/>
                <a:gd name="T50" fmla="*/ 2427 w 2505"/>
                <a:gd name="T51" fmla="*/ 1435 h 2304"/>
                <a:gd name="T52" fmla="*/ 2364 w 2505"/>
                <a:gd name="T53" fmla="*/ 1529 h 2304"/>
                <a:gd name="T54" fmla="*/ 2155 w 2505"/>
                <a:gd name="T55" fmla="*/ 1578 h 2304"/>
                <a:gd name="T56" fmla="*/ 1997 w 2505"/>
                <a:gd name="T57" fmla="*/ 1542 h 2304"/>
                <a:gd name="T58" fmla="*/ 1857 w 2505"/>
                <a:gd name="T59" fmla="*/ 1379 h 2304"/>
                <a:gd name="T60" fmla="*/ 1745 w 2505"/>
                <a:gd name="T61" fmla="*/ 1117 h 2304"/>
                <a:gd name="T62" fmla="*/ 1699 w 2505"/>
                <a:gd name="T63" fmla="*/ 983 h 2304"/>
                <a:gd name="T64" fmla="*/ 1702 w 2505"/>
                <a:gd name="T65" fmla="*/ 881 h 2304"/>
                <a:gd name="T66" fmla="*/ 1719 w 2505"/>
                <a:gd name="T67" fmla="*/ 695 h 2304"/>
                <a:gd name="T68" fmla="*/ 1613 w 2505"/>
                <a:gd name="T69" fmla="*/ 886 h 2304"/>
                <a:gd name="T70" fmla="*/ 1572 w 2505"/>
                <a:gd name="T71" fmla="*/ 939 h 2304"/>
                <a:gd name="T72" fmla="*/ 1490 w 2505"/>
                <a:gd name="T73" fmla="*/ 1204 h 2304"/>
                <a:gd name="T74" fmla="*/ 1396 w 2505"/>
                <a:gd name="T75" fmla="*/ 1257 h 2304"/>
                <a:gd name="T76" fmla="*/ 1242 w 2505"/>
                <a:gd name="T77" fmla="*/ 1451 h 2304"/>
                <a:gd name="T78" fmla="*/ 1257 w 2505"/>
                <a:gd name="T79" fmla="*/ 1718 h 2304"/>
                <a:gd name="T80" fmla="*/ 1170 w 2505"/>
                <a:gd name="T81" fmla="*/ 1725 h 2304"/>
                <a:gd name="T82" fmla="*/ 1091 w 2505"/>
                <a:gd name="T83" fmla="*/ 1789 h 2304"/>
                <a:gd name="T84" fmla="*/ 1023 w 2505"/>
                <a:gd name="T85" fmla="*/ 1866 h 2304"/>
                <a:gd name="T86" fmla="*/ 1013 w 2505"/>
                <a:gd name="T87" fmla="*/ 2038 h 2304"/>
                <a:gd name="T88" fmla="*/ 992 w 2505"/>
                <a:gd name="T89" fmla="*/ 2104 h 2304"/>
                <a:gd name="T90" fmla="*/ 929 w 2505"/>
                <a:gd name="T91" fmla="*/ 2232 h 2304"/>
                <a:gd name="T92" fmla="*/ 852 w 2505"/>
                <a:gd name="T93" fmla="*/ 2295 h 2304"/>
                <a:gd name="T94" fmla="*/ 816 w 2505"/>
                <a:gd name="T95" fmla="*/ 2301 h 2304"/>
                <a:gd name="T96" fmla="*/ 753 w 2505"/>
                <a:gd name="T97" fmla="*/ 2216 h 2304"/>
                <a:gd name="T98" fmla="*/ 608 w 2505"/>
                <a:gd name="T99" fmla="*/ 2164 h 2304"/>
                <a:gd name="T100" fmla="*/ 546 w 2505"/>
                <a:gd name="T101" fmla="*/ 2146 h 2304"/>
                <a:gd name="T102" fmla="*/ 508 w 2505"/>
                <a:gd name="T103" fmla="*/ 2069 h 2304"/>
                <a:gd name="T104" fmla="*/ 425 w 2505"/>
                <a:gd name="T105" fmla="*/ 1975 h 2304"/>
                <a:gd name="T106" fmla="*/ 323 w 2505"/>
                <a:gd name="T107" fmla="*/ 1937 h 2304"/>
                <a:gd name="T108" fmla="*/ 308 w 2505"/>
                <a:gd name="T109" fmla="*/ 1972 h 2304"/>
                <a:gd name="T110" fmla="*/ 228 w 2505"/>
                <a:gd name="T111" fmla="*/ 1934 h 2304"/>
                <a:gd name="T112" fmla="*/ 102 w 2505"/>
                <a:gd name="T113" fmla="*/ 1743 h 2304"/>
                <a:gd name="T114" fmla="*/ 40 w 2505"/>
                <a:gd name="T115" fmla="*/ 1504 h 2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05" h="2304">
                  <a:moveTo>
                    <a:pt x="17" y="1441"/>
                  </a:moveTo>
                  <a:cubicBezTo>
                    <a:pt x="10" y="1426"/>
                    <a:pt x="5" y="1410"/>
                    <a:pt x="0" y="1395"/>
                  </a:cubicBezTo>
                  <a:cubicBezTo>
                    <a:pt x="124" y="1417"/>
                    <a:pt x="251" y="1417"/>
                    <a:pt x="374" y="1418"/>
                  </a:cubicBezTo>
                  <a:lnTo>
                    <a:pt x="387" y="1418"/>
                  </a:lnTo>
                  <a:cubicBezTo>
                    <a:pt x="442" y="1418"/>
                    <a:pt x="499" y="1420"/>
                    <a:pt x="552" y="1402"/>
                  </a:cubicBezTo>
                  <a:cubicBezTo>
                    <a:pt x="616" y="1380"/>
                    <a:pt x="628" y="1323"/>
                    <a:pt x="638" y="1270"/>
                  </a:cubicBezTo>
                  <a:cubicBezTo>
                    <a:pt x="641" y="1262"/>
                    <a:pt x="643" y="1253"/>
                    <a:pt x="644" y="1245"/>
                  </a:cubicBezTo>
                  <a:cubicBezTo>
                    <a:pt x="649" y="1225"/>
                    <a:pt x="649" y="1202"/>
                    <a:pt x="648" y="1178"/>
                  </a:cubicBezTo>
                  <a:cubicBezTo>
                    <a:pt x="648" y="1138"/>
                    <a:pt x="648" y="1099"/>
                    <a:pt x="668" y="1077"/>
                  </a:cubicBezTo>
                  <a:cubicBezTo>
                    <a:pt x="684" y="1057"/>
                    <a:pt x="710" y="1061"/>
                    <a:pt x="738" y="1064"/>
                  </a:cubicBezTo>
                  <a:cubicBezTo>
                    <a:pt x="763" y="1066"/>
                    <a:pt x="793" y="1069"/>
                    <a:pt x="817" y="1054"/>
                  </a:cubicBezTo>
                  <a:cubicBezTo>
                    <a:pt x="847" y="1038"/>
                    <a:pt x="847" y="1006"/>
                    <a:pt x="847" y="983"/>
                  </a:cubicBezTo>
                  <a:cubicBezTo>
                    <a:pt x="847" y="968"/>
                    <a:pt x="847" y="953"/>
                    <a:pt x="854" y="942"/>
                  </a:cubicBezTo>
                  <a:cubicBezTo>
                    <a:pt x="860" y="931"/>
                    <a:pt x="870" y="929"/>
                    <a:pt x="885" y="924"/>
                  </a:cubicBezTo>
                  <a:cubicBezTo>
                    <a:pt x="893" y="921"/>
                    <a:pt x="903" y="917"/>
                    <a:pt x="911" y="912"/>
                  </a:cubicBezTo>
                  <a:cubicBezTo>
                    <a:pt x="941" y="896"/>
                    <a:pt x="943" y="871"/>
                    <a:pt x="944" y="848"/>
                  </a:cubicBezTo>
                  <a:cubicBezTo>
                    <a:pt x="946" y="842"/>
                    <a:pt x="946" y="835"/>
                    <a:pt x="948" y="827"/>
                  </a:cubicBezTo>
                  <a:cubicBezTo>
                    <a:pt x="953" y="804"/>
                    <a:pt x="967" y="797"/>
                    <a:pt x="995" y="789"/>
                  </a:cubicBezTo>
                  <a:cubicBezTo>
                    <a:pt x="1012" y="784"/>
                    <a:pt x="1028" y="777"/>
                    <a:pt x="1043" y="766"/>
                  </a:cubicBezTo>
                  <a:cubicBezTo>
                    <a:pt x="1050" y="761"/>
                    <a:pt x="1056" y="754"/>
                    <a:pt x="1063" y="748"/>
                  </a:cubicBezTo>
                  <a:cubicBezTo>
                    <a:pt x="1078" y="733"/>
                    <a:pt x="1091" y="721"/>
                    <a:pt x="1109" y="716"/>
                  </a:cubicBezTo>
                  <a:cubicBezTo>
                    <a:pt x="1119" y="715"/>
                    <a:pt x="1130" y="715"/>
                    <a:pt x="1140" y="716"/>
                  </a:cubicBezTo>
                  <a:cubicBezTo>
                    <a:pt x="1158" y="716"/>
                    <a:pt x="1178" y="716"/>
                    <a:pt x="1198" y="707"/>
                  </a:cubicBezTo>
                  <a:cubicBezTo>
                    <a:pt x="1239" y="685"/>
                    <a:pt x="1261" y="641"/>
                    <a:pt x="1280" y="601"/>
                  </a:cubicBezTo>
                  <a:cubicBezTo>
                    <a:pt x="1285" y="595"/>
                    <a:pt x="1289" y="586"/>
                    <a:pt x="1294" y="580"/>
                  </a:cubicBezTo>
                  <a:cubicBezTo>
                    <a:pt x="1305" y="558"/>
                    <a:pt x="1318" y="538"/>
                    <a:pt x="1333" y="519"/>
                  </a:cubicBezTo>
                  <a:lnTo>
                    <a:pt x="1340" y="509"/>
                  </a:lnTo>
                  <a:cubicBezTo>
                    <a:pt x="1348" y="497"/>
                    <a:pt x="1354" y="486"/>
                    <a:pt x="1363" y="473"/>
                  </a:cubicBezTo>
                  <a:cubicBezTo>
                    <a:pt x="1373" y="456"/>
                    <a:pt x="1383" y="440"/>
                    <a:pt x="1394" y="426"/>
                  </a:cubicBezTo>
                  <a:cubicBezTo>
                    <a:pt x="1427" y="389"/>
                    <a:pt x="1471" y="390"/>
                    <a:pt x="1521" y="392"/>
                  </a:cubicBezTo>
                  <a:cubicBezTo>
                    <a:pt x="1531" y="392"/>
                    <a:pt x="1539" y="394"/>
                    <a:pt x="1547" y="394"/>
                  </a:cubicBezTo>
                  <a:cubicBezTo>
                    <a:pt x="1610" y="394"/>
                    <a:pt x="1658" y="370"/>
                    <a:pt x="1691" y="323"/>
                  </a:cubicBezTo>
                  <a:cubicBezTo>
                    <a:pt x="1719" y="283"/>
                    <a:pt x="1733" y="245"/>
                    <a:pt x="1735" y="209"/>
                  </a:cubicBezTo>
                  <a:cubicBezTo>
                    <a:pt x="1737" y="199"/>
                    <a:pt x="1737" y="189"/>
                    <a:pt x="1737" y="179"/>
                  </a:cubicBezTo>
                  <a:cubicBezTo>
                    <a:pt x="1735" y="151"/>
                    <a:pt x="1735" y="128"/>
                    <a:pt x="1750" y="105"/>
                  </a:cubicBezTo>
                  <a:cubicBezTo>
                    <a:pt x="1766" y="82"/>
                    <a:pt x="1788" y="76"/>
                    <a:pt x="1816" y="69"/>
                  </a:cubicBezTo>
                  <a:lnTo>
                    <a:pt x="1824" y="66"/>
                  </a:lnTo>
                  <a:cubicBezTo>
                    <a:pt x="1852" y="57"/>
                    <a:pt x="1860" y="44"/>
                    <a:pt x="1870" y="33"/>
                  </a:cubicBezTo>
                  <a:cubicBezTo>
                    <a:pt x="1875" y="26"/>
                    <a:pt x="1880" y="20"/>
                    <a:pt x="1888" y="13"/>
                  </a:cubicBezTo>
                  <a:cubicBezTo>
                    <a:pt x="1903" y="0"/>
                    <a:pt x="1915" y="3"/>
                    <a:pt x="1938" y="15"/>
                  </a:cubicBezTo>
                  <a:cubicBezTo>
                    <a:pt x="1948" y="20"/>
                    <a:pt x="1957" y="25"/>
                    <a:pt x="1969" y="26"/>
                  </a:cubicBezTo>
                  <a:cubicBezTo>
                    <a:pt x="1982" y="29"/>
                    <a:pt x="1994" y="29"/>
                    <a:pt x="2005" y="28"/>
                  </a:cubicBezTo>
                  <a:cubicBezTo>
                    <a:pt x="2017" y="28"/>
                    <a:pt x="2027" y="26"/>
                    <a:pt x="2037" y="23"/>
                  </a:cubicBezTo>
                  <a:cubicBezTo>
                    <a:pt x="2038" y="23"/>
                    <a:pt x="2040" y="23"/>
                    <a:pt x="2041" y="23"/>
                  </a:cubicBezTo>
                  <a:cubicBezTo>
                    <a:pt x="2056" y="20"/>
                    <a:pt x="2071" y="16"/>
                    <a:pt x="2084" y="20"/>
                  </a:cubicBezTo>
                  <a:cubicBezTo>
                    <a:pt x="2107" y="23"/>
                    <a:pt x="2129" y="31"/>
                    <a:pt x="2150" y="41"/>
                  </a:cubicBezTo>
                  <a:cubicBezTo>
                    <a:pt x="2163" y="48"/>
                    <a:pt x="2177" y="54"/>
                    <a:pt x="2191" y="59"/>
                  </a:cubicBezTo>
                  <a:cubicBezTo>
                    <a:pt x="2216" y="67"/>
                    <a:pt x="2242" y="72"/>
                    <a:pt x="2269" y="76"/>
                  </a:cubicBezTo>
                  <a:cubicBezTo>
                    <a:pt x="2270" y="95"/>
                    <a:pt x="2269" y="120"/>
                    <a:pt x="2292" y="128"/>
                  </a:cubicBezTo>
                  <a:cubicBezTo>
                    <a:pt x="2331" y="143"/>
                    <a:pt x="2374" y="100"/>
                    <a:pt x="2387" y="163"/>
                  </a:cubicBezTo>
                  <a:cubicBezTo>
                    <a:pt x="2392" y="186"/>
                    <a:pt x="2406" y="232"/>
                    <a:pt x="2386" y="252"/>
                  </a:cubicBezTo>
                  <a:cubicBezTo>
                    <a:pt x="2368" y="268"/>
                    <a:pt x="2350" y="263"/>
                    <a:pt x="2336" y="245"/>
                  </a:cubicBezTo>
                  <a:cubicBezTo>
                    <a:pt x="2333" y="239"/>
                    <a:pt x="2307" y="150"/>
                    <a:pt x="2294" y="191"/>
                  </a:cubicBezTo>
                  <a:cubicBezTo>
                    <a:pt x="2285" y="222"/>
                    <a:pt x="2350" y="255"/>
                    <a:pt x="2315" y="290"/>
                  </a:cubicBezTo>
                  <a:cubicBezTo>
                    <a:pt x="2313" y="291"/>
                    <a:pt x="2312" y="293"/>
                    <a:pt x="2310" y="293"/>
                  </a:cubicBezTo>
                  <a:cubicBezTo>
                    <a:pt x="2305" y="295"/>
                    <a:pt x="2302" y="296"/>
                    <a:pt x="2298" y="298"/>
                  </a:cubicBezTo>
                  <a:cubicBezTo>
                    <a:pt x="2297" y="300"/>
                    <a:pt x="2295" y="300"/>
                    <a:pt x="2295" y="301"/>
                  </a:cubicBezTo>
                  <a:cubicBezTo>
                    <a:pt x="2294" y="303"/>
                    <a:pt x="2295" y="305"/>
                    <a:pt x="2297" y="306"/>
                  </a:cubicBezTo>
                  <a:cubicBezTo>
                    <a:pt x="2298" y="310"/>
                    <a:pt x="2300" y="310"/>
                    <a:pt x="2302" y="310"/>
                  </a:cubicBezTo>
                  <a:cubicBezTo>
                    <a:pt x="2303" y="311"/>
                    <a:pt x="2303" y="311"/>
                    <a:pt x="2305" y="311"/>
                  </a:cubicBezTo>
                  <a:cubicBezTo>
                    <a:pt x="2310" y="313"/>
                    <a:pt x="2315" y="314"/>
                    <a:pt x="2320" y="316"/>
                  </a:cubicBezTo>
                  <a:cubicBezTo>
                    <a:pt x="2323" y="318"/>
                    <a:pt x="2326" y="319"/>
                    <a:pt x="2330" y="321"/>
                  </a:cubicBezTo>
                  <a:cubicBezTo>
                    <a:pt x="2338" y="326"/>
                    <a:pt x="2338" y="334"/>
                    <a:pt x="2336" y="341"/>
                  </a:cubicBezTo>
                  <a:cubicBezTo>
                    <a:pt x="2335" y="352"/>
                    <a:pt x="2322" y="356"/>
                    <a:pt x="2322" y="367"/>
                  </a:cubicBezTo>
                  <a:cubicBezTo>
                    <a:pt x="2322" y="380"/>
                    <a:pt x="2331" y="389"/>
                    <a:pt x="2340" y="397"/>
                  </a:cubicBezTo>
                  <a:cubicBezTo>
                    <a:pt x="2356" y="417"/>
                    <a:pt x="2368" y="431"/>
                    <a:pt x="2376" y="458"/>
                  </a:cubicBezTo>
                  <a:cubicBezTo>
                    <a:pt x="2384" y="482"/>
                    <a:pt x="2384" y="510"/>
                    <a:pt x="2406" y="529"/>
                  </a:cubicBezTo>
                  <a:cubicBezTo>
                    <a:pt x="2425" y="545"/>
                    <a:pt x="2442" y="547"/>
                    <a:pt x="2450" y="573"/>
                  </a:cubicBezTo>
                  <a:cubicBezTo>
                    <a:pt x="2460" y="608"/>
                    <a:pt x="2443" y="642"/>
                    <a:pt x="2450" y="677"/>
                  </a:cubicBezTo>
                  <a:cubicBezTo>
                    <a:pt x="2457" y="707"/>
                    <a:pt x="2468" y="733"/>
                    <a:pt x="2468" y="764"/>
                  </a:cubicBezTo>
                  <a:cubicBezTo>
                    <a:pt x="2470" y="833"/>
                    <a:pt x="2434" y="911"/>
                    <a:pt x="2447" y="980"/>
                  </a:cubicBezTo>
                  <a:cubicBezTo>
                    <a:pt x="2452" y="1008"/>
                    <a:pt x="2470" y="1028"/>
                    <a:pt x="2466" y="1057"/>
                  </a:cubicBezTo>
                  <a:cubicBezTo>
                    <a:pt x="2466" y="1080"/>
                    <a:pt x="2453" y="1107"/>
                    <a:pt x="2462" y="1130"/>
                  </a:cubicBezTo>
                  <a:cubicBezTo>
                    <a:pt x="2468" y="1148"/>
                    <a:pt x="2493" y="1151"/>
                    <a:pt x="2498" y="1171"/>
                  </a:cubicBezTo>
                  <a:cubicBezTo>
                    <a:pt x="2504" y="1193"/>
                    <a:pt x="2475" y="1229"/>
                    <a:pt x="2471" y="1252"/>
                  </a:cubicBezTo>
                  <a:cubicBezTo>
                    <a:pt x="2468" y="1285"/>
                    <a:pt x="2493" y="1301"/>
                    <a:pt x="2495" y="1331"/>
                  </a:cubicBezTo>
                  <a:cubicBezTo>
                    <a:pt x="2496" y="1357"/>
                    <a:pt x="2475" y="1370"/>
                    <a:pt x="2460" y="1389"/>
                  </a:cubicBezTo>
                  <a:cubicBezTo>
                    <a:pt x="2447" y="1403"/>
                    <a:pt x="2440" y="1420"/>
                    <a:pt x="2427" y="1435"/>
                  </a:cubicBezTo>
                  <a:cubicBezTo>
                    <a:pt x="2419" y="1443"/>
                    <a:pt x="2409" y="1441"/>
                    <a:pt x="2406" y="1454"/>
                  </a:cubicBezTo>
                  <a:cubicBezTo>
                    <a:pt x="2399" y="1476"/>
                    <a:pt x="2424" y="1489"/>
                    <a:pt x="2402" y="1509"/>
                  </a:cubicBezTo>
                  <a:cubicBezTo>
                    <a:pt x="2392" y="1517"/>
                    <a:pt x="2374" y="1520"/>
                    <a:pt x="2364" y="1529"/>
                  </a:cubicBezTo>
                  <a:cubicBezTo>
                    <a:pt x="2353" y="1535"/>
                    <a:pt x="2345" y="1545"/>
                    <a:pt x="2333" y="1552"/>
                  </a:cubicBezTo>
                  <a:cubicBezTo>
                    <a:pt x="2305" y="1570"/>
                    <a:pt x="2282" y="1560"/>
                    <a:pt x="2251" y="1560"/>
                  </a:cubicBezTo>
                  <a:cubicBezTo>
                    <a:pt x="2218" y="1560"/>
                    <a:pt x="2190" y="1580"/>
                    <a:pt x="2155" y="1578"/>
                  </a:cubicBezTo>
                  <a:cubicBezTo>
                    <a:pt x="2127" y="1578"/>
                    <a:pt x="2097" y="1575"/>
                    <a:pt x="2073" y="1562"/>
                  </a:cubicBezTo>
                  <a:cubicBezTo>
                    <a:pt x="2056" y="1553"/>
                    <a:pt x="2046" y="1545"/>
                    <a:pt x="2027" y="1543"/>
                  </a:cubicBezTo>
                  <a:cubicBezTo>
                    <a:pt x="2018" y="1542"/>
                    <a:pt x="2007" y="1547"/>
                    <a:pt x="1997" y="1542"/>
                  </a:cubicBezTo>
                  <a:cubicBezTo>
                    <a:pt x="1989" y="1537"/>
                    <a:pt x="1989" y="1527"/>
                    <a:pt x="1984" y="1520"/>
                  </a:cubicBezTo>
                  <a:cubicBezTo>
                    <a:pt x="1976" y="1510"/>
                    <a:pt x="1971" y="1510"/>
                    <a:pt x="1961" y="1504"/>
                  </a:cubicBezTo>
                  <a:cubicBezTo>
                    <a:pt x="1916" y="1471"/>
                    <a:pt x="1880" y="1430"/>
                    <a:pt x="1857" y="1379"/>
                  </a:cubicBezTo>
                  <a:cubicBezTo>
                    <a:pt x="1844" y="1351"/>
                    <a:pt x="1850" y="1318"/>
                    <a:pt x="1837" y="1288"/>
                  </a:cubicBezTo>
                  <a:cubicBezTo>
                    <a:pt x="1826" y="1260"/>
                    <a:pt x="1804" y="1235"/>
                    <a:pt x="1791" y="1209"/>
                  </a:cubicBezTo>
                  <a:cubicBezTo>
                    <a:pt x="1775" y="1181"/>
                    <a:pt x="1755" y="1148"/>
                    <a:pt x="1745" y="1117"/>
                  </a:cubicBezTo>
                  <a:cubicBezTo>
                    <a:pt x="1738" y="1092"/>
                    <a:pt x="1747" y="1071"/>
                    <a:pt x="1745" y="1046"/>
                  </a:cubicBezTo>
                  <a:cubicBezTo>
                    <a:pt x="1742" y="1031"/>
                    <a:pt x="1735" y="1018"/>
                    <a:pt x="1724" y="1006"/>
                  </a:cubicBezTo>
                  <a:cubicBezTo>
                    <a:pt x="1719" y="1001"/>
                    <a:pt x="1700" y="992"/>
                    <a:pt x="1699" y="983"/>
                  </a:cubicBezTo>
                  <a:cubicBezTo>
                    <a:pt x="1697" y="962"/>
                    <a:pt x="1720" y="968"/>
                    <a:pt x="1724" y="954"/>
                  </a:cubicBezTo>
                  <a:cubicBezTo>
                    <a:pt x="1728" y="939"/>
                    <a:pt x="1715" y="934"/>
                    <a:pt x="1710" y="924"/>
                  </a:cubicBezTo>
                  <a:cubicBezTo>
                    <a:pt x="1704" y="911"/>
                    <a:pt x="1707" y="894"/>
                    <a:pt x="1702" y="881"/>
                  </a:cubicBezTo>
                  <a:cubicBezTo>
                    <a:pt x="1697" y="860"/>
                    <a:pt x="1682" y="845"/>
                    <a:pt x="1677" y="823"/>
                  </a:cubicBezTo>
                  <a:cubicBezTo>
                    <a:pt x="1672" y="795"/>
                    <a:pt x="1677" y="769"/>
                    <a:pt x="1694" y="746"/>
                  </a:cubicBezTo>
                  <a:cubicBezTo>
                    <a:pt x="1704" y="731"/>
                    <a:pt x="1727" y="716"/>
                    <a:pt x="1719" y="695"/>
                  </a:cubicBezTo>
                  <a:cubicBezTo>
                    <a:pt x="1702" y="644"/>
                    <a:pt x="1651" y="726"/>
                    <a:pt x="1641" y="744"/>
                  </a:cubicBezTo>
                  <a:cubicBezTo>
                    <a:pt x="1626" y="771"/>
                    <a:pt x="1628" y="800"/>
                    <a:pt x="1615" y="828"/>
                  </a:cubicBezTo>
                  <a:cubicBezTo>
                    <a:pt x="1603" y="853"/>
                    <a:pt x="1605" y="860"/>
                    <a:pt x="1613" y="886"/>
                  </a:cubicBezTo>
                  <a:cubicBezTo>
                    <a:pt x="1621" y="908"/>
                    <a:pt x="1625" y="929"/>
                    <a:pt x="1593" y="932"/>
                  </a:cubicBezTo>
                  <a:cubicBezTo>
                    <a:pt x="1588" y="932"/>
                    <a:pt x="1570" y="921"/>
                    <a:pt x="1570" y="932"/>
                  </a:cubicBezTo>
                  <a:cubicBezTo>
                    <a:pt x="1570" y="934"/>
                    <a:pt x="1572" y="936"/>
                    <a:pt x="1572" y="939"/>
                  </a:cubicBezTo>
                  <a:cubicBezTo>
                    <a:pt x="1582" y="955"/>
                    <a:pt x="1585" y="975"/>
                    <a:pt x="1592" y="993"/>
                  </a:cubicBezTo>
                  <a:cubicBezTo>
                    <a:pt x="1602" y="1031"/>
                    <a:pt x="1605" y="1067"/>
                    <a:pt x="1590" y="1104"/>
                  </a:cubicBezTo>
                  <a:cubicBezTo>
                    <a:pt x="1567" y="1158"/>
                    <a:pt x="1541" y="1178"/>
                    <a:pt x="1490" y="1204"/>
                  </a:cubicBezTo>
                  <a:cubicBezTo>
                    <a:pt x="1475" y="1212"/>
                    <a:pt x="1470" y="1212"/>
                    <a:pt x="1452" y="1211"/>
                  </a:cubicBezTo>
                  <a:cubicBezTo>
                    <a:pt x="1442" y="1211"/>
                    <a:pt x="1442" y="1201"/>
                    <a:pt x="1429" y="1206"/>
                  </a:cubicBezTo>
                  <a:cubicBezTo>
                    <a:pt x="1414" y="1211"/>
                    <a:pt x="1401" y="1244"/>
                    <a:pt x="1396" y="1257"/>
                  </a:cubicBezTo>
                  <a:cubicBezTo>
                    <a:pt x="1383" y="1290"/>
                    <a:pt x="1361" y="1306"/>
                    <a:pt x="1343" y="1334"/>
                  </a:cubicBezTo>
                  <a:cubicBezTo>
                    <a:pt x="1326" y="1359"/>
                    <a:pt x="1313" y="1377"/>
                    <a:pt x="1287" y="1393"/>
                  </a:cubicBezTo>
                  <a:cubicBezTo>
                    <a:pt x="1264" y="1408"/>
                    <a:pt x="1241" y="1418"/>
                    <a:pt x="1242" y="1451"/>
                  </a:cubicBezTo>
                  <a:cubicBezTo>
                    <a:pt x="1242" y="1479"/>
                    <a:pt x="1259" y="1501"/>
                    <a:pt x="1270" y="1524"/>
                  </a:cubicBezTo>
                  <a:cubicBezTo>
                    <a:pt x="1297" y="1578"/>
                    <a:pt x="1259" y="1608"/>
                    <a:pt x="1249" y="1657"/>
                  </a:cubicBezTo>
                  <a:cubicBezTo>
                    <a:pt x="1244" y="1680"/>
                    <a:pt x="1249" y="1698"/>
                    <a:pt x="1257" y="1718"/>
                  </a:cubicBezTo>
                  <a:cubicBezTo>
                    <a:pt x="1249" y="1721"/>
                    <a:pt x="1241" y="1726"/>
                    <a:pt x="1231" y="1731"/>
                  </a:cubicBezTo>
                  <a:cubicBezTo>
                    <a:pt x="1214" y="1738"/>
                    <a:pt x="1200" y="1739"/>
                    <a:pt x="1185" y="1733"/>
                  </a:cubicBezTo>
                  <a:cubicBezTo>
                    <a:pt x="1180" y="1731"/>
                    <a:pt x="1175" y="1728"/>
                    <a:pt x="1170" y="1725"/>
                  </a:cubicBezTo>
                  <a:cubicBezTo>
                    <a:pt x="1157" y="1716"/>
                    <a:pt x="1137" y="1703"/>
                    <a:pt x="1116" y="1725"/>
                  </a:cubicBezTo>
                  <a:cubicBezTo>
                    <a:pt x="1106" y="1735"/>
                    <a:pt x="1101" y="1753"/>
                    <a:pt x="1097" y="1769"/>
                  </a:cubicBezTo>
                  <a:cubicBezTo>
                    <a:pt x="1094" y="1777"/>
                    <a:pt x="1093" y="1784"/>
                    <a:pt x="1091" y="1789"/>
                  </a:cubicBezTo>
                  <a:cubicBezTo>
                    <a:pt x="1083" y="1810"/>
                    <a:pt x="1069" y="1830"/>
                    <a:pt x="1060" y="1842"/>
                  </a:cubicBezTo>
                  <a:cubicBezTo>
                    <a:pt x="1055" y="1845"/>
                    <a:pt x="1050" y="1847"/>
                    <a:pt x="1045" y="1850"/>
                  </a:cubicBezTo>
                  <a:cubicBezTo>
                    <a:pt x="1038" y="1855"/>
                    <a:pt x="1030" y="1860"/>
                    <a:pt x="1023" y="1866"/>
                  </a:cubicBezTo>
                  <a:cubicBezTo>
                    <a:pt x="1005" y="1886"/>
                    <a:pt x="992" y="1917"/>
                    <a:pt x="987" y="1949"/>
                  </a:cubicBezTo>
                  <a:cubicBezTo>
                    <a:pt x="982" y="1972"/>
                    <a:pt x="984" y="1990"/>
                    <a:pt x="989" y="2006"/>
                  </a:cubicBezTo>
                  <a:cubicBezTo>
                    <a:pt x="995" y="2023"/>
                    <a:pt x="1004" y="2031"/>
                    <a:pt x="1013" y="2038"/>
                  </a:cubicBezTo>
                  <a:cubicBezTo>
                    <a:pt x="1017" y="2043"/>
                    <a:pt x="1022" y="2046"/>
                    <a:pt x="1027" y="2051"/>
                  </a:cubicBezTo>
                  <a:cubicBezTo>
                    <a:pt x="1035" y="2062"/>
                    <a:pt x="1033" y="2067"/>
                    <a:pt x="1033" y="2069"/>
                  </a:cubicBezTo>
                  <a:cubicBezTo>
                    <a:pt x="1030" y="2082"/>
                    <a:pt x="1009" y="2095"/>
                    <a:pt x="992" y="2104"/>
                  </a:cubicBezTo>
                  <a:cubicBezTo>
                    <a:pt x="984" y="2108"/>
                    <a:pt x="976" y="2113"/>
                    <a:pt x="969" y="2118"/>
                  </a:cubicBezTo>
                  <a:cubicBezTo>
                    <a:pt x="941" y="2140"/>
                    <a:pt x="936" y="2173"/>
                    <a:pt x="934" y="2202"/>
                  </a:cubicBezTo>
                  <a:cubicBezTo>
                    <a:pt x="933" y="2212"/>
                    <a:pt x="931" y="2222"/>
                    <a:pt x="929" y="2232"/>
                  </a:cubicBezTo>
                  <a:cubicBezTo>
                    <a:pt x="923" y="2258"/>
                    <a:pt x="906" y="2267"/>
                    <a:pt x="883" y="2278"/>
                  </a:cubicBezTo>
                  <a:cubicBezTo>
                    <a:pt x="875" y="2281"/>
                    <a:pt x="869" y="2286"/>
                    <a:pt x="860" y="2290"/>
                  </a:cubicBezTo>
                  <a:cubicBezTo>
                    <a:pt x="857" y="2291"/>
                    <a:pt x="855" y="2293"/>
                    <a:pt x="852" y="2295"/>
                  </a:cubicBezTo>
                  <a:lnTo>
                    <a:pt x="852" y="2295"/>
                  </a:lnTo>
                  <a:cubicBezTo>
                    <a:pt x="841" y="2300"/>
                    <a:pt x="829" y="2303"/>
                    <a:pt x="816" y="2301"/>
                  </a:cubicBezTo>
                  <a:lnTo>
                    <a:pt x="816" y="2301"/>
                  </a:lnTo>
                  <a:cubicBezTo>
                    <a:pt x="801" y="2301"/>
                    <a:pt x="784" y="2293"/>
                    <a:pt x="775" y="2275"/>
                  </a:cubicBezTo>
                  <a:cubicBezTo>
                    <a:pt x="770" y="2268"/>
                    <a:pt x="768" y="2260"/>
                    <a:pt x="766" y="2252"/>
                  </a:cubicBezTo>
                  <a:cubicBezTo>
                    <a:pt x="765" y="2240"/>
                    <a:pt x="763" y="2227"/>
                    <a:pt x="753" y="2216"/>
                  </a:cubicBezTo>
                  <a:cubicBezTo>
                    <a:pt x="738" y="2194"/>
                    <a:pt x="712" y="2186"/>
                    <a:pt x="689" y="2179"/>
                  </a:cubicBezTo>
                  <a:cubicBezTo>
                    <a:pt x="677" y="2178"/>
                    <a:pt x="666" y="2176"/>
                    <a:pt x="654" y="2174"/>
                  </a:cubicBezTo>
                  <a:cubicBezTo>
                    <a:pt x="638" y="2171"/>
                    <a:pt x="623" y="2169"/>
                    <a:pt x="608" y="2164"/>
                  </a:cubicBezTo>
                  <a:cubicBezTo>
                    <a:pt x="603" y="2163"/>
                    <a:pt x="597" y="2160"/>
                    <a:pt x="592" y="2158"/>
                  </a:cubicBezTo>
                  <a:cubicBezTo>
                    <a:pt x="577" y="2153"/>
                    <a:pt x="562" y="2148"/>
                    <a:pt x="546" y="2146"/>
                  </a:cubicBezTo>
                  <a:lnTo>
                    <a:pt x="546" y="2146"/>
                  </a:lnTo>
                  <a:cubicBezTo>
                    <a:pt x="541" y="2140"/>
                    <a:pt x="536" y="2135"/>
                    <a:pt x="531" y="2128"/>
                  </a:cubicBezTo>
                  <a:cubicBezTo>
                    <a:pt x="519" y="2112"/>
                    <a:pt x="516" y="2100"/>
                    <a:pt x="513" y="2084"/>
                  </a:cubicBezTo>
                  <a:cubicBezTo>
                    <a:pt x="511" y="2079"/>
                    <a:pt x="509" y="2074"/>
                    <a:pt x="508" y="2069"/>
                  </a:cubicBezTo>
                  <a:cubicBezTo>
                    <a:pt x="498" y="2033"/>
                    <a:pt x="486" y="2023"/>
                    <a:pt x="453" y="2013"/>
                  </a:cubicBezTo>
                  <a:cubicBezTo>
                    <a:pt x="437" y="2006"/>
                    <a:pt x="437" y="2006"/>
                    <a:pt x="432" y="1995"/>
                  </a:cubicBezTo>
                  <a:cubicBezTo>
                    <a:pt x="430" y="1990"/>
                    <a:pt x="429" y="1983"/>
                    <a:pt x="425" y="1975"/>
                  </a:cubicBezTo>
                  <a:cubicBezTo>
                    <a:pt x="414" y="1950"/>
                    <a:pt x="394" y="1934"/>
                    <a:pt x="376" y="1919"/>
                  </a:cubicBezTo>
                  <a:cubicBezTo>
                    <a:pt x="364" y="1911"/>
                    <a:pt x="353" y="1907"/>
                    <a:pt x="343" y="1911"/>
                  </a:cubicBezTo>
                  <a:cubicBezTo>
                    <a:pt x="335" y="1914"/>
                    <a:pt x="327" y="1921"/>
                    <a:pt x="323" y="1937"/>
                  </a:cubicBezTo>
                  <a:lnTo>
                    <a:pt x="322" y="1944"/>
                  </a:lnTo>
                  <a:cubicBezTo>
                    <a:pt x="322" y="1950"/>
                    <a:pt x="318" y="1968"/>
                    <a:pt x="313" y="1972"/>
                  </a:cubicBezTo>
                  <a:cubicBezTo>
                    <a:pt x="312" y="1972"/>
                    <a:pt x="312" y="1972"/>
                    <a:pt x="308" y="1972"/>
                  </a:cubicBezTo>
                  <a:cubicBezTo>
                    <a:pt x="307" y="1972"/>
                    <a:pt x="307" y="1970"/>
                    <a:pt x="305" y="1962"/>
                  </a:cubicBezTo>
                  <a:cubicBezTo>
                    <a:pt x="303" y="1950"/>
                    <a:pt x="300" y="1932"/>
                    <a:pt x="275" y="1927"/>
                  </a:cubicBezTo>
                  <a:cubicBezTo>
                    <a:pt x="259" y="1924"/>
                    <a:pt x="242" y="1929"/>
                    <a:pt x="228" y="1934"/>
                  </a:cubicBezTo>
                  <a:cubicBezTo>
                    <a:pt x="210" y="1940"/>
                    <a:pt x="195" y="1944"/>
                    <a:pt x="182" y="1937"/>
                  </a:cubicBezTo>
                  <a:cubicBezTo>
                    <a:pt x="173" y="1932"/>
                    <a:pt x="158" y="1909"/>
                    <a:pt x="145" y="1884"/>
                  </a:cubicBezTo>
                  <a:cubicBezTo>
                    <a:pt x="124" y="1842"/>
                    <a:pt x="112" y="1792"/>
                    <a:pt x="102" y="1743"/>
                  </a:cubicBezTo>
                  <a:cubicBezTo>
                    <a:pt x="99" y="1728"/>
                    <a:pt x="96" y="1713"/>
                    <a:pt x="93" y="1698"/>
                  </a:cubicBezTo>
                  <a:lnTo>
                    <a:pt x="88" y="1683"/>
                  </a:lnTo>
                  <a:cubicBezTo>
                    <a:pt x="74" y="1624"/>
                    <a:pt x="60" y="1563"/>
                    <a:pt x="40" y="1504"/>
                  </a:cubicBezTo>
                  <a:cubicBezTo>
                    <a:pt x="33" y="1482"/>
                    <a:pt x="25" y="1463"/>
                    <a:pt x="17" y="144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14" name="Freeform 50">
              <a:extLst>
                <a:ext uri="{FF2B5EF4-FFF2-40B4-BE49-F238E27FC236}">
                  <a16:creationId xmlns:a16="http://schemas.microsoft.com/office/drawing/2014/main" id="{F4244F1D-5110-0742-B97B-AAFA54C9A9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2250" y="2979738"/>
              <a:ext cx="514350" cy="552450"/>
            </a:xfrm>
            <a:custGeom>
              <a:avLst/>
              <a:gdLst>
                <a:gd name="T0" fmla="*/ 402 w 1427"/>
                <a:gd name="T1" fmla="*/ 1488 h 1535"/>
                <a:gd name="T2" fmla="*/ 380 w 1427"/>
                <a:gd name="T3" fmla="*/ 1412 h 1535"/>
                <a:gd name="T4" fmla="*/ 390 w 1427"/>
                <a:gd name="T5" fmla="*/ 1364 h 1535"/>
                <a:gd name="T6" fmla="*/ 379 w 1427"/>
                <a:gd name="T7" fmla="*/ 1305 h 1535"/>
                <a:gd name="T8" fmla="*/ 385 w 1427"/>
                <a:gd name="T9" fmla="*/ 1277 h 1535"/>
                <a:gd name="T10" fmla="*/ 369 w 1427"/>
                <a:gd name="T11" fmla="*/ 1206 h 1535"/>
                <a:gd name="T12" fmla="*/ 365 w 1427"/>
                <a:gd name="T13" fmla="*/ 1121 h 1535"/>
                <a:gd name="T14" fmla="*/ 337 w 1427"/>
                <a:gd name="T15" fmla="*/ 1096 h 1535"/>
                <a:gd name="T16" fmla="*/ 285 w 1427"/>
                <a:gd name="T17" fmla="*/ 1028 h 1535"/>
                <a:gd name="T18" fmla="*/ 224 w 1427"/>
                <a:gd name="T19" fmla="*/ 995 h 1535"/>
                <a:gd name="T20" fmla="*/ 34 w 1427"/>
                <a:gd name="T21" fmla="*/ 925 h 1535"/>
                <a:gd name="T22" fmla="*/ 115 w 1427"/>
                <a:gd name="T23" fmla="*/ 778 h 1535"/>
                <a:gd name="T24" fmla="*/ 306 w 1427"/>
                <a:gd name="T25" fmla="*/ 745 h 1535"/>
                <a:gd name="T26" fmla="*/ 204 w 1427"/>
                <a:gd name="T27" fmla="*/ 602 h 1535"/>
                <a:gd name="T28" fmla="*/ 206 w 1427"/>
                <a:gd name="T29" fmla="*/ 551 h 1535"/>
                <a:gd name="T30" fmla="*/ 314 w 1427"/>
                <a:gd name="T31" fmla="*/ 514 h 1535"/>
                <a:gd name="T32" fmla="*/ 359 w 1427"/>
                <a:gd name="T33" fmla="*/ 516 h 1535"/>
                <a:gd name="T34" fmla="*/ 420 w 1427"/>
                <a:gd name="T35" fmla="*/ 519 h 1535"/>
                <a:gd name="T36" fmla="*/ 519 w 1427"/>
                <a:gd name="T37" fmla="*/ 419 h 1535"/>
                <a:gd name="T38" fmla="*/ 566 w 1427"/>
                <a:gd name="T39" fmla="*/ 318 h 1535"/>
                <a:gd name="T40" fmla="*/ 622 w 1427"/>
                <a:gd name="T41" fmla="*/ 221 h 1535"/>
                <a:gd name="T42" fmla="*/ 665 w 1427"/>
                <a:gd name="T43" fmla="*/ 180 h 1535"/>
                <a:gd name="T44" fmla="*/ 619 w 1427"/>
                <a:gd name="T45" fmla="*/ 139 h 1535"/>
                <a:gd name="T46" fmla="*/ 596 w 1427"/>
                <a:gd name="T47" fmla="*/ 114 h 1535"/>
                <a:gd name="T48" fmla="*/ 631 w 1427"/>
                <a:gd name="T49" fmla="*/ 106 h 1535"/>
                <a:gd name="T50" fmla="*/ 795 w 1427"/>
                <a:gd name="T51" fmla="*/ 46 h 1535"/>
                <a:gd name="T52" fmla="*/ 838 w 1427"/>
                <a:gd name="T53" fmla="*/ 14 h 1535"/>
                <a:gd name="T54" fmla="*/ 909 w 1427"/>
                <a:gd name="T55" fmla="*/ 42 h 1535"/>
                <a:gd name="T56" fmla="*/ 916 w 1427"/>
                <a:gd name="T57" fmla="*/ 94 h 1535"/>
                <a:gd name="T58" fmla="*/ 927 w 1427"/>
                <a:gd name="T59" fmla="*/ 187 h 1535"/>
                <a:gd name="T60" fmla="*/ 856 w 1427"/>
                <a:gd name="T61" fmla="*/ 285 h 1535"/>
                <a:gd name="T62" fmla="*/ 777 w 1427"/>
                <a:gd name="T63" fmla="*/ 359 h 1535"/>
                <a:gd name="T64" fmla="*/ 764 w 1427"/>
                <a:gd name="T65" fmla="*/ 458 h 1535"/>
                <a:gd name="T66" fmla="*/ 771 w 1427"/>
                <a:gd name="T67" fmla="*/ 513 h 1535"/>
                <a:gd name="T68" fmla="*/ 782 w 1427"/>
                <a:gd name="T69" fmla="*/ 577 h 1535"/>
                <a:gd name="T70" fmla="*/ 800 w 1427"/>
                <a:gd name="T71" fmla="*/ 663 h 1535"/>
                <a:gd name="T72" fmla="*/ 866 w 1427"/>
                <a:gd name="T73" fmla="*/ 615 h 1535"/>
                <a:gd name="T74" fmla="*/ 1084 w 1427"/>
                <a:gd name="T75" fmla="*/ 602 h 1535"/>
                <a:gd name="T76" fmla="*/ 1138 w 1427"/>
                <a:gd name="T77" fmla="*/ 638 h 1535"/>
                <a:gd name="T78" fmla="*/ 1293 w 1427"/>
                <a:gd name="T79" fmla="*/ 640 h 1535"/>
                <a:gd name="T80" fmla="*/ 1370 w 1427"/>
                <a:gd name="T81" fmla="*/ 743 h 1535"/>
                <a:gd name="T82" fmla="*/ 1370 w 1427"/>
                <a:gd name="T83" fmla="*/ 869 h 1535"/>
                <a:gd name="T84" fmla="*/ 1242 w 1427"/>
                <a:gd name="T85" fmla="*/ 1035 h 1535"/>
                <a:gd name="T86" fmla="*/ 1219 w 1427"/>
                <a:gd name="T87" fmla="*/ 1112 h 1535"/>
                <a:gd name="T88" fmla="*/ 1209 w 1427"/>
                <a:gd name="T89" fmla="*/ 1149 h 1535"/>
                <a:gd name="T90" fmla="*/ 1178 w 1427"/>
                <a:gd name="T91" fmla="*/ 1165 h 1535"/>
                <a:gd name="T92" fmla="*/ 1117 w 1427"/>
                <a:gd name="T93" fmla="*/ 1167 h 1535"/>
                <a:gd name="T94" fmla="*/ 1039 w 1427"/>
                <a:gd name="T95" fmla="*/ 1126 h 1535"/>
                <a:gd name="T96" fmla="*/ 856 w 1427"/>
                <a:gd name="T97" fmla="*/ 1065 h 1535"/>
                <a:gd name="T98" fmla="*/ 720 w 1427"/>
                <a:gd name="T99" fmla="*/ 1238 h 1535"/>
                <a:gd name="T100" fmla="*/ 637 w 1427"/>
                <a:gd name="T101" fmla="*/ 1206 h 1535"/>
                <a:gd name="T102" fmla="*/ 502 w 1427"/>
                <a:gd name="T103" fmla="*/ 1404 h 1535"/>
                <a:gd name="T104" fmla="*/ 451 w 1427"/>
                <a:gd name="T105" fmla="*/ 1491 h 1535"/>
                <a:gd name="T106" fmla="*/ 415 w 1427"/>
                <a:gd name="T107" fmla="*/ 1529 h 1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27" h="1535">
                  <a:moveTo>
                    <a:pt x="402" y="1516"/>
                  </a:moveTo>
                  <a:lnTo>
                    <a:pt x="402" y="1516"/>
                  </a:lnTo>
                  <a:cubicBezTo>
                    <a:pt x="400" y="1508"/>
                    <a:pt x="400" y="1499"/>
                    <a:pt x="402" y="1488"/>
                  </a:cubicBezTo>
                  <a:cubicBezTo>
                    <a:pt x="403" y="1475"/>
                    <a:pt x="407" y="1462"/>
                    <a:pt x="402" y="1447"/>
                  </a:cubicBezTo>
                  <a:cubicBezTo>
                    <a:pt x="398" y="1437"/>
                    <a:pt x="392" y="1430"/>
                    <a:pt x="388" y="1425"/>
                  </a:cubicBezTo>
                  <a:cubicBezTo>
                    <a:pt x="384" y="1420"/>
                    <a:pt x="382" y="1417"/>
                    <a:pt x="380" y="1412"/>
                  </a:cubicBezTo>
                  <a:cubicBezTo>
                    <a:pt x="377" y="1401"/>
                    <a:pt x="382" y="1387"/>
                    <a:pt x="385" y="1376"/>
                  </a:cubicBezTo>
                  <a:lnTo>
                    <a:pt x="388" y="1369"/>
                  </a:lnTo>
                  <a:cubicBezTo>
                    <a:pt x="388" y="1368"/>
                    <a:pt x="388" y="1366"/>
                    <a:pt x="390" y="1364"/>
                  </a:cubicBezTo>
                  <a:cubicBezTo>
                    <a:pt x="393" y="1356"/>
                    <a:pt x="398" y="1341"/>
                    <a:pt x="392" y="1325"/>
                  </a:cubicBezTo>
                  <a:cubicBezTo>
                    <a:pt x="388" y="1318"/>
                    <a:pt x="385" y="1312"/>
                    <a:pt x="382" y="1308"/>
                  </a:cubicBezTo>
                  <a:cubicBezTo>
                    <a:pt x="380" y="1307"/>
                    <a:pt x="379" y="1305"/>
                    <a:pt x="379" y="1305"/>
                  </a:cubicBezTo>
                  <a:cubicBezTo>
                    <a:pt x="374" y="1300"/>
                    <a:pt x="374" y="1300"/>
                    <a:pt x="375" y="1294"/>
                  </a:cubicBezTo>
                  <a:cubicBezTo>
                    <a:pt x="377" y="1289"/>
                    <a:pt x="379" y="1285"/>
                    <a:pt x="382" y="1280"/>
                  </a:cubicBezTo>
                  <a:cubicBezTo>
                    <a:pt x="384" y="1279"/>
                    <a:pt x="384" y="1279"/>
                    <a:pt x="385" y="1277"/>
                  </a:cubicBezTo>
                  <a:cubicBezTo>
                    <a:pt x="390" y="1269"/>
                    <a:pt x="395" y="1257"/>
                    <a:pt x="392" y="1241"/>
                  </a:cubicBezTo>
                  <a:cubicBezTo>
                    <a:pt x="390" y="1229"/>
                    <a:pt x="382" y="1221"/>
                    <a:pt x="375" y="1216"/>
                  </a:cubicBezTo>
                  <a:cubicBezTo>
                    <a:pt x="372" y="1211"/>
                    <a:pt x="369" y="1208"/>
                    <a:pt x="369" y="1206"/>
                  </a:cubicBezTo>
                  <a:cubicBezTo>
                    <a:pt x="369" y="1203"/>
                    <a:pt x="370" y="1200"/>
                    <a:pt x="377" y="1193"/>
                  </a:cubicBezTo>
                  <a:cubicBezTo>
                    <a:pt x="384" y="1185"/>
                    <a:pt x="395" y="1175"/>
                    <a:pt x="393" y="1158"/>
                  </a:cubicBezTo>
                  <a:cubicBezTo>
                    <a:pt x="393" y="1137"/>
                    <a:pt x="377" y="1127"/>
                    <a:pt x="365" y="1121"/>
                  </a:cubicBezTo>
                  <a:lnTo>
                    <a:pt x="360" y="1117"/>
                  </a:lnTo>
                  <a:cubicBezTo>
                    <a:pt x="356" y="1114"/>
                    <a:pt x="351" y="1111"/>
                    <a:pt x="347" y="1109"/>
                  </a:cubicBezTo>
                  <a:cubicBezTo>
                    <a:pt x="341" y="1106"/>
                    <a:pt x="339" y="1106"/>
                    <a:pt x="337" y="1096"/>
                  </a:cubicBezTo>
                  <a:cubicBezTo>
                    <a:pt x="336" y="1091"/>
                    <a:pt x="336" y="1088"/>
                    <a:pt x="336" y="1083"/>
                  </a:cubicBezTo>
                  <a:cubicBezTo>
                    <a:pt x="336" y="1071"/>
                    <a:pt x="336" y="1056"/>
                    <a:pt x="318" y="1043"/>
                  </a:cubicBezTo>
                  <a:cubicBezTo>
                    <a:pt x="308" y="1035"/>
                    <a:pt x="296" y="1032"/>
                    <a:pt x="285" y="1028"/>
                  </a:cubicBezTo>
                  <a:cubicBezTo>
                    <a:pt x="276" y="1027"/>
                    <a:pt x="270" y="1025"/>
                    <a:pt x="263" y="1022"/>
                  </a:cubicBezTo>
                  <a:cubicBezTo>
                    <a:pt x="258" y="1018"/>
                    <a:pt x="255" y="1015"/>
                    <a:pt x="250" y="1010"/>
                  </a:cubicBezTo>
                  <a:cubicBezTo>
                    <a:pt x="242" y="1005"/>
                    <a:pt x="234" y="999"/>
                    <a:pt x="224" y="995"/>
                  </a:cubicBezTo>
                  <a:cubicBezTo>
                    <a:pt x="196" y="982"/>
                    <a:pt x="158" y="969"/>
                    <a:pt x="128" y="962"/>
                  </a:cubicBezTo>
                  <a:cubicBezTo>
                    <a:pt x="117" y="959"/>
                    <a:pt x="107" y="959"/>
                    <a:pt x="99" y="957"/>
                  </a:cubicBezTo>
                  <a:cubicBezTo>
                    <a:pt x="69" y="953"/>
                    <a:pt x="49" y="951"/>
                    <a:pt x="34" y="925"/>
                  </a:cubicBezTo>
                  <a:cubicBezTo>
                    <a:pt x="21" y="903"/>
                    <a:pt x="11" y="880"/>
                    <a:pt x="0" y="859"/>
                  </a:cubicBezTo>
                  <a:cubicBezTo>
                    <a:pt x="19" y="849"/>
                    <a:pt x="33" y="831"/>
                    <a:pt x="46" y="813"/>
                  </a:cubicBezTo>
                  <a:cubicBezTo>
                    <a:pt x="67" y="781"/>
                    <a:pt x="82" y="763"/>
                    <a:pt x="115" y="778"/>
                  </a:cubicBezTo>
                  <a:cubicBezTo>
                    <a:pt x="123" y="781"/>
                    <a:pt x="131" y="786"/>
                    <a:pt x="138" y="793"/>
                  </a:cubicBezTo>
                  <a:cubicBezTo>
                    <a:pt x="158" y="804"/>
                    <a:pt x="181" y="819"/>
                    <a:pt x="214" y="811"/>
                  </a:cubicBezTo>
                  <a:cubicBezTo>
                    <a:pt x="234" y="806"/>
                    <a:pt x="295" y="771"/>
                    <a:pt x="306" y="745"/>
                  </a:cubicBezTo>
                  <a:cubicBezTo>
                    <a:pt x="319" y="712"/>
                    <a:pt x="288" y="687"/>
                    <a:pt x="268" y="669"/>
                  </a:cubicBezTo>
                  <a:cubicBezTo>
                    <a:pt x="263" y="666"/>
                    <a:pt x="260" y="661"/>
                    <a:pt x="255" y="659"/>
                  </a:cubicBezTo>
                  <a:cubicBezTo>
                    <a:pt x="239" y="640"/>
                    <a:pt x="222" y="620"/>
                    <a:pt x="204" y="602"/>
                  </a:cubicBezTo>
                  <a:cubicBezTo>
                    <a:pt x="197" y="592"/>
                    <a:pt x="189" y="584"/>
                    <a:pt x="183" y="575"/>
                  </a:cubicBezTo>
                  <a:cubicBezTo>
                    <a:pt x="181" y="574"/>
                    <a:pt x="179" y="570"/>
                    <a:pt x="178" y="569"/>
                  </a:cubicBezTo>
                  <a:cubicBezTo>
                    <a:pt x="187" y="562"/>
                    <a:pt x="196" y="557"/>
                    <a:pt x="206" y="551"/>
                  </a:cubicBezTo>
                  <a:lnTo>
                    <a:pt x="211" y="549"/>
                  </a:lnTo>
                  <a:cubicBezTo>
                    <a:pt x="227" y="537"/>
                    <a:pt x="242" y="528"/>
                    <a:pt x="260" y="521"/>
                  </a:cubicBezTo>
                  <a:cubicBezTo>
                    <a:pt x="273" y="514"/>
                    <a:pt x="295" y="509"/>
                    <a:pt x="314" y="514"/>
                  </a:cubicBezTo>
                  <a:lnTo>
                    <a:pt x="319" y="516"/>
                  </a:lnTo>
                  <a:cubicBezTo>
                    <a:pt x="324" y="518"/>
                    <a:pt x="329" y="519"/>
                    <a:pt x="336" y="519"/>
                  </a:cubicBezTo>
                  <a:cubicBezTo>
                    <a:pt x="344" y="519"/>
                    <a:pt x="352" y="518"/>
                    <a:pt x="359" y="516"/>
                  </a:cubicBezTo>
                  <a:cubicBezTo>
                    <a:pt x="362" y="516"/>
                    <a:pt x="365" y="514"/>
                    <a:pt x="367" y="514"/>
                  </a:cubicBezTo>
                  <a:cubicBezTo>
                    <a:pt x="380" y="513"/>
                    <a:pt x="393" y="514"/>
                    <a:pt x="407" y="518"/>
                  </a:cubicBezTo>
                  <a:lnTo>
                    <a:pt x="420" y="519"/>
                  </a:lnTo>
                  <a:cubicBezTo>
                    <a:pt x="436" y="523"/>
                    <a:pt x="463" y="524"/>
                    <a:pt x="482" y="509"/>
                  </a:cubicBezTo>
                  <a:cubicBezTo>
                    <a:pt x="504" y="495"/>
                    <a:pt x="510" y="470"/>
                    <a:pt x="514" y="452"/>
                  </a:cubicBezTo>
                  <a:cubicBezTo>
                    <a:pt x="515" y="440"/>
                    <a:pt x="517" y="430"/>
                    <a:pt x="519" y="419"/>
                  </a:cubicBezTo>
                  <a:cubicBezTo>
                    <a:pt x="520" y="404"/>
                    <a:pt x="522" y="389"/>
                    <a:pt x="525" y="376"/>
                  </a:cubicBezTo>
                  <a:cubicBezTo>
                    <a:pt x="530" y="353"/>
                    <a:pt x="545" y="331"/>
                    <a:pt x="563" y="320"/>
                  </a:cubicBezTo>
                  <a:cubicBezTo>
                    <a:pt x="565" y="318"/>
                    <a:pt x="566" y="318"/>
                    <a:pt x="566" y="318"/>
                  </a:cubicBezTo>
                  <a:cubicBezTo>
                    <a:pt x="575" y="312"/>
                    <a:pt x="580" y="305"/>
                    <a:pt x="585" y="297"/>
                  </a:cubicBezTo>
                  <a:cubicBezTo>
                    <a:pt x="591" y="287"/>
                    <a:pt x="594" y="275"/>
                    <a:pt x="598" y="264"/>
                  </a:cubicBezTo>
                  <a:cubicBezTo>
                    <a:pt x="604" y="246"/>
                    <a:pt x="609" y="229"/>
                    <a:pt x="622" y="221"/>
                  </a:cubicBezTo>
                  <a:cubicBezTo>
                    <a:pt x="626" y="219"/>
                    <a:pt x="629" y="218"/>
                    <a:pt x="634" y="216"/>
                  </a:cubicBezTo>
                  <a:cubicBezTo>
                    <a:pt x="639" y="215"/>
                    <a:pt x="645" y="211"/>
                    <a:pt x="652" y="206"/>
                  </a:cubicBezTo>
                  <a:cubicBezTo>
                    <a:pt x="660" y="200"/>
                    <a:pt x="665" y="190"/>
                    <a:pt x="665" y="180"/>
                  </a:cubicBezTo>
                  <a:cubicBezTo>
                    <a:pt x="665" y="172"/>
                    <a:pt x="662" y="163"/>
                    <a:pt x="655" y="160"/>
                  </a:cubicBezTo>
                  <a:cubicBezTo>
                    <a:pt x="650" y="155"/>
                    <a:pt x="644" y="155"/>
                    <a:pt x="637" y="154"/>
                  </a:cubicBezTo>
                  <a:cubicBezTo>
                    <a:pt x="631" y="152"/>
                    <a:pt x="624" y="147"/>
                    <a:pt x="619" y="139"/>
                  </a:cubicBezTo>
                  <a:lnTo>
                    <a:pt x="617" y="135"/>
                  </a:lnTo>
                  <a:cubicBezTo>
                    <a:pt x="616" y="130"/>
                    <a:pt x="613" y="122"/>
                    <a:pt x="604" y="117"/>
                  </a:cubicBezTo>
                  <a:cubicBezTo>
                    <a:pt x="603" y="117"/>
                    <a:pt x="601" y="116"/>
                    <a:pt x="596" y="114"/>
                  </a:cubicBezTo>
                  <a:cubicBezTo>
                    <a:pt x="596" y="112"/>
                    <a:pt x="596" y="109"/>
                    <a:pt x="598" y="107"/>
                  </a:cubicBezTo>
                  <a:cubicBezTo>
                    <a:pt x="601" y="104"/>
                    <a:pt x="608" y="102"/>
                    <a:pt x="614" y="102"/>
                  </a:cubicBezTo>
                  <a:cubicBezTo>
                    <a:pt x="621" y="102"/>
                    <a:pt x="626" y="104"/>
                    <a:pt x="631" y="106"/>
                  </a:cubicBezTo>
                  <a:cubicBezTo>
                    <a:pt x="636" y="106"/>
                    <a:pt x="639" y="107"/>
                    <a:pt x="644" y="107"/>
                  </a:cubicBezTo>
                  <a:cubicBezTo>
                    <a:pt x="670" y="112"/>
                    <a:pt x="700" y="107"/>
                    <a:pt x="728" y="93"/>
                  </a:cubicBezTo>
                  <a:cubicBezTo>
                    <a:pt x="753" y="79"/>
                    <a:pt x="774" y="63"/>
                    <a:pt x="795" y="46"/>
                  </a:cubicBezTo>
                  <a:lnTo>
                    <a:pt x="810" y="35"/>
                  </a:lnTo>
                  <a:lnTo>
                    <a:pt x="830" y="18"/>
                  </a:lnTo>
                  <a:lnTo>
                    <a:pt x="838" y="14"/>
                  </a:lnTo>
                  <a:cubicBezTo>
                    <a:pt x="842" y="10"/>
                    <a:pt x="846" y="7"/>
                    <a:pt x="851" y="5"/>
                  </a:cubicBezTo>
                  <a:cubicBezTo>
                    <a:pt x="861" y="0"/>
                    <a:pt x="874" y="5"/>
                    <a:pt x="883" y="10"/>
                  </a:cubicBezTo>
                  <a:cubicBezTo>
                    <a:pt x="893" y="18"/>
                    <a:pt x="901" y="28"/>
                    <a:pt x="909" y="42"/>
                  </a:cubicBezTo>
                  <a:cubicBezTo>
                    <a:pt x="914" y="48"/>
                    <a:pt x="917" y="53"/>
                    <a:pt x="919" y="58"/>
                  </a:cubicBezTo>
                  <a:cubicBezTo>
                    <a:pt x="919" y="63"/>
                    <a:pt x="919" y="68"/>
                    <a:pt x="917" y="73"/>
                  </a:cubicBezTo>
                  <a:cubicBezTo>
                    <a:pt x="917" y="79"/>
                    <a:pt x="916" y="86"/>
                    <a:pt x="916" y="94"/>
                  </a:cubicBezTo>
                  <a:cubicBezTo>
                    <a:pt x="917" y="116"/>
                    <a:pt x="934" y="130"/>
                    <a:pt x="949" y="142"/>
                  </a:cubicBezTo>
                  <a:cubicBezTo>
                    <a:pt x="944" y="150"/>
                    <a:pt x="940" y="158"/>
                    <a:pt x="937" y="167"/>
                  </a:cubicBezTo>
                  <a:cubicBezTo>
                    <a:pt x="934" y="173"/>
                    <a:pt x="930" y="180"/>
                    <a:pt x="927" y="187"/>
                  </a:cubicBezTo>
                  <a:cubicBezTo>
                    <a:pt x="921" y="196"/>
                    <a:pt x="914" y="206"/>
                    <a:pt x="907" y="216"/>
                  </a:cubicBezTo>
                  <a:cubicBezTo>
                    <a:pt x="896" y="231"/>
                    <a:pt x="886" y="246"/>
                    <a:pt x="878" y="267"/>
                  </a:cubicBezTo>
                  <a:cubicBezTo>
                    <a:pt x="871" y="284"/>
                    <a:pt x="868" y="284"/>
                    <a:pt x="856" y="285"/>
                  </a:cubicBezTo>
                  <a:cubicBezTo>
                    <a:pt x="848" y="287"/>
                    <a:pt x="838" y="289"/>
                    <a:pt x="827" y="294"/>
                  </a:cubicBezTo>
                  <a:cubicBezTo>
                    <a:pt x="807" y="303"/>
                    <a:pt x="797" y="323"/>
                    <a:pt x="787" y="341"/>
                  </a:cubicBezTo>
                  <a:cubicBezTo>
                    <a:pt x="785" y="348"/>
                    <a:pt x="781" y="355"/>
                    <a:pt x="777" y="359"/>
                  </a:cubicBezTo>
                  <a:cubicBezTo>
                    <a:pt x="776" y="363"/>
                    <a:pt x="772" y="368"/>
                    <a:pt x="769" y="371"/>
                  </a:cubicBezTo>
                  <a:cubicBezTo>
                    <a:pt x="754" y="387"/>
                    <a:pt x="733" y="412"/>
                    <a:pt x="748" y="440"/>
                  </a:cubicBezTo>
                  <a:cubicBezTo>
                    <a:pt x="751" y="448"/>
                    <a:pt x="759" y="453"/>
                    <a:pt x="764" y="458"/>
                  </a:cubicBezTo>
                  <a:cubicBezTo>
                    <a:pt x="767" y="460"/>
                    <a:pt x="771" y="462"/>
                    <a:pt x="772" y="463"/>
                  </a:cubicBezTo>
                  <a:cubicBezTo>
                    <a:pt x="779" y="473"/>
                    <a:pt x="777" y="486"/>
                    <a:pt x="774" y="501"/>
                  </a:cubicBezTo>
                  <a:cubicBezTo>
                    <a:pt x="774" y="504"/>
                    <a:pt x="771" y="509"/>
                    <a:pt x="771" y="513"/>
                  </a:cubicBezTo>
                  <a:cubicBezTo>
                    <a:pt x="766" y="521"/>
                    <a:pt x="762" y="532"/>
                    <a:pt x="764" y="544"/>
                  </a:cubicBezTo>
                  <a:cubicBezTo>
                    <a:pt x="764" y="554"/>
                    <a:pt x="771" y="560"/>
                    <a:pt x="776" y="567"/>
                  </a:cubicBezTo>
                  <a:cubicBezTo>
                    <a:pt x="779" y="572"/>
                    <a:pt x="782" y="575"/>
                    <a:pt x="782" y="577"/>
                  </a:cubicBezTo>
                  <a:cubicBezTo>
                    <a:pt x="784" y="582"/>
                    <a:pt x="781" y="592"/>
                    <a:pt x="777" y="600"/>
                  </a:cubicBezTo>
                  <a:cubicBezTo>
                    <a:pt x="772" y="618"/>
                    <a:pt x="766" y="640"/>
                    <a:pt x="781" y="654"/>
                  </a:cubicBezTo>
                  <a:cubicBezTo>
                    <a:pt x="787" y="659"/>
                    <a:pt x="794" y="663"/>
                    <a:pt x="800" y="663"/>
                  </a:cubicBezTo>
                  <a:cubicBezTo>
                    <a:pt x="802" y="663"/>
                    <a:pt x="805" y="663"/>
                    <a:pt x="807" y="663"/>
                  </a:cubicBezTo>
                  <a:cubicBezTo>
                    <a:pt x="832" y="661"/>
                    <a:pt x="850" y="635"/>
                    <a:pt x="863" y="620"/>
                  </a:cubicBezTo>
                  <a:lnTo>
                    <a:pt x="866" y="615"/>
                  </a:lnTo>
                  <a:cubicBezTo>
                    <a:pt x="886" y="588"/>
                    <a:pt x="906" y="575"/>
                    <a:pt x="927" y="572"/>
                  </a:cubicBezTo>
                  <a:cubicBezTo>
                    <a:pt x="949" y="569"/>
                    <a:pt x="975" y="575"/>
                    <a:pt x="1003" y="590"/>
                  </a:cubicBezTo>
                  <a:cubicBezTo>
                    <a:pt x="1036" y="610"/>
                    <a:pt x="1056" y="607"/>
                    <a:pt x="1084" y="602"/>
                  </a:cubicBezTo>
                  <a:lnTo>
                    <a:pt x="1097" y="600"/>
                  </a:lnTo>
                  <a:cubicBezTo>
                    <a:pt x="1115" y="597"/>
                    <a:pt x="1117" y="602"/>
                    <a:pt x="1125" y="616"/>
                  </a:cubicBezTo>
                  <a:cubicBezTo>
                    <a:pt x="1128" y="623"/>
                    <a:pt x="1133" y="630"/>
                    <a:pt x="1138" y="638"/>
                  </a:cubicBezTo>
                  <a:cubicBezTo>
                    <a:pt x="1164" y="671"/>
                    <a:pt x="1196" y="653"/>
                    <a:pt x="1219" y="641"/>
                  </a:cubicBezTo>
                  <a:cubicBezTo>
                    <a:pt x="1225" y="638"/>
                    <a:pt x="1230" y="635"/>
                    <a:pt x="1237" y="633"/>
                  </a:cubicBezTo>
                  <a:cubicBezTo>
                    <a:pt x="1262" y="621"/>
                    <a:pt x="1268" y="626"/>
                    <a:pt x="1293" y="640"/>
                  </a:cubicBezTo>
                  <a:lnTo>
                    <a:pt x="1296" y="641"/>
                  </a:lnTo>
                  <a:cubicBezTo>
                    <a:pt x="1291" y="651"/>
                    <a:pt x="1291" y="664"/>
                    <a:pt x="1303" y="684"/>
                  </a:cubicBezTo>
                  <a:cubicBezTo>
                    <a:pt x="1318" y="709"/>
                    <a:pt x="1346" y="727"/>
                    <a:pt x="1370" y="743"/>
                  </a:cubicBezTo>
                  <a:cubicBezTo>
                    <a:pt x="1375" y="748"/>
                    <a:pt x="1382" y="753"/>
                    <a:pt x="1388" y="758"/>
                  </a:cubicBezTo>
                  <a:cubicBezTo>
                    <a:pt x="1412" y="775"/>
                    <a:pt x="1426" y="786"/>
                    <a:pt x="1423" y="808"/>
                  </a:cubicBezTo>
                  <a:cubicBezTo>
                    <a:pt x="1418" y="832"/>
                    <a:pt x="1392" y="854"/>
                    <a:pt x="1370" y="869"/>
                  </a:cubicBezTo>
                  <a:cubicBezTo>
                    <a:pt x="1360" y="875"/>
                    <a:pt x="1344" y="883"/>
                    <a:pt x="1326" y="892"/>
                  </a:cubicBezTo>
                  <a:cubicBezTo>
                    <a:pt x="1281" y="913"/>
                    <a:pt x="1224" y="938"/>
                    <a:pt x="1222" y="987"/>
                  </a:cubicBezTo>
                  <a:cubicBezTo>
                    <a:pt x="1222" y="1009"/>
                    <a:pt x="1234" y="1023"/>
                    <a:pt x="1242" y="1035"/>
                  </a:cubicBezTo>
                  <a:cubicBezTo>
                    <a:pt x="1248" y="1043"/>
                    <a:pt x="1253" y="1050"/>
                    <a:pt x="1255" y="1058"/>
                  </a:cubicBezTo>
                  <a:cubicBezTo>
                    <a:pt x="1255" y="1066"/>
                    <a:pt x="1252" y="1071"/>
                    <a:pt x="1240" y="1081"/>
                  </a:cubicBezTo>
                  <a:cubicBezTo>
                    <a:pt x="1232" y="1089"/>
                    <a:pt x="1222" y="1099"/>
                    <a:pt x="1219" y="1112"/>
                  </a:cubicBezTo>
                  <a:cubicBezTo>
                    <a:pt x="1215" y="1119"/>
                    <a:pt x="1215" y="1124"/>
                    <a:pt x="1215" y="1129"/>
                  </a:cubicBezTo>
                  <a:lnTo>
                    <a:pt x="1215" y="1132"/>
                  </a:lnTo>
                  <a:cubicBezTo>
                    <a:pt x="1214" y="1140"/>
                    <a:pt x="1214" y="1145"/>
                    <a:pt x="1209" y="1149"/>
                  </a:cubicBezTo>
                  <a:cubicBezTo>
                    <a:pt x="1207" y="1150"/>
                    <a:pt x="1206" y="1152"/>
                    <a:pt x="1202" y="1154"/>
                  </a:cubicBezTo>
                  <a:cubicBezTo>
                    <a:pt x="1201" y="1154"/>
                    <a:pt x="1199" y="1155"/>
                    <a:pt x="1196" y="1155"/>
                  </a:cubicBezTo>
                  <a:cubicBezTo>
                    <a:pt x="1191" y="1157"/>
                    <a:pt x="1184" y="1160"/>
                    <a:pt x="1178" y="1165"/>
                  </a:cubicBezTo>
                  <a:cubicBezTo>
                    <a:pt x="1166" y="1173"/>
                    <a:pt x="1158" y="1183"/>
                    <a:pt x="1153" y="1195"/>
                  </a:cubicBezTo>
                  <a:cubicBezTo>
                    <a:pt x="1150" y="1195"/>
                    <a:pt x="1146" y="1193"/>
                    <a:pt x="1143" y="1191"/>
                  </a:cubicBezTo>
                  <a:cubicBezTo>
                    <a:pt x="1130" y="1185"/>
                    <a:pt x="1125" y="1178"/>
                    <a:pt x="1117" y="1167"/>
                  </a:cubicBezTo>
                  <a:cubicBezTo>
                    <a:pt x="1113" y="1162"/>
                    <a:pt x="1110" y="1155"/>
                    <a:pt x="1105" y="1150"/>
                  </a:cubicBezTo>
                  <a:cubicBezTo>
                    <a:pt x="1090" y="1129"/>
                    <a:pt x="1074" y="1129"/>
                    <a:pt x="1059" y="1129"/>
                  </a:cubicBezTo>
                  <a:cubicBezTo>
                    <a:pt x="1052" y="1127"/>
                    <a:pt x="1047" y="1127"/>
                    <a:pt x="1039" y="1126"/>
                  </a:cubicBezTo>
                  <a:cubicBezTo>
                    <a:pt x="1024" y="1122"/>
                    <a:pt x="1014" y="1111"/>
                    <a:pt x="1001" y="1099"/>
                  </a:cubicBezTo>
                  <a:cubicBezTo>
                    <a:pt x="996" y="1094"/>
                    <a:pt x="991" y="1089"/>
                    <a:pt x="986" y="1086"/>
                  </a:cubicBezTo>
                  <a:cubicBezTo>
                    <a:pt x="958" y="1063"/>
                    <a:pt x="914" y="1035"/>
                    <a:pt x="856" y="1065"/>
                  </a:cubicBezTo>
                  <a:cubicBezTo>
                    <a:pt x="830" y="1079"/>
                    <a:pt x="823" y="1104"/>
                    <a:pt x="818" y="1126"/>
                  </a:cubicBezTo>
                  <a:cubicBezTo>
                    <a:pt x="815" y="1140"/>
                    <a:pt x="812" y="1154"/>
                    <a:pt x="804" y="1165"/>
                  </a:cubicBezTo>
                  <a:cubicBezTo>
                    <a:pt x="784" y="1191"/>
                    <a:pt x="753" y="1233"/>
                    <a:pt x="720" y="1238"/>
                  </a:cubicBezTo>
                  <a:cubicBezTo>
                    <a:pt x="706" y="1239"/>
                    <a:pt x="692" y="1236"/>
                    <a:pt x="678" y="1229"/>
                  </a:cubicBezTo>
                  <a:cubicBezTo>
                    <a:pt x="677" y="1229"/>
                    <a:pt x="673" y="1226"/>
                    <a:pt x="670" y="1223"/>
                  </a:cubicBezTo>
                  <a:cubicBezTo>
                    <a:pt x="662" y="1214"/>
                    <a:pt x="650" y="1206"/>
                    <a:pt x="637" y="1206"/>
                  </a:cubicBezTo>
                  <a:cubicBezTo>
                    <a:pt x="593" y="1206"/>
                    <a:pt x="573" y="1290"/>
                    <a:pt x="568" y="1327"/>
                  </a:cubicBezTo>
                  <a:cubicBezTo>
                    <a:pt x="560" y="1371"/>
                    <a:pt x="552" y="1387"/>
                    <a:pt x="512" y="1401"/>
                  </a:cubicBezTo>
                  <a:cubicBezTo>
                    <a:pt x="509" y="1402"/>
                    <a:pt x="505" y="1404"/>
                    <a:pt x="502" y="1404"/>
                  </a:cubicBezTo>
                  <a:cubicBezTo>
                    <a:pt x="489" y="1407"/>
                    <a:pt x="479" y="1411"/>
                    <a:pt x="466" y="1427"/>
                  </a:cubicBezTo>
                  <a:cubicBezTo>
                    <a:pt x="451" y="1447"/>
                    <a:pt x="451" y="1463"/>
                    <a:pt x="451" y="1481"/>
                  </a:cubicBezTo>
                  <a:cubicBezTo>
                    <a:pt x="451" y="1485"/>
                    <a:pt x="451" y="1488"/>
                    <a:pt x="451" y="1491"/>
                  </a:cubicBezTo>
                  <a:cubicBezTo>
                    <a:pt x="451" y="1511"/>
                    <a:pt x="444" y="1527"/>
                    <a:pt x="436" y="1532"/>
                  </a:cubicBezTo>
                  <a:cubicBezTo>
                    <a:pt x="433" y="1534"/>
                    <a:pt x="430" y="1534"/>
                    <a:pt x="426" y="1534"/>
                  </a:cubicBezTo>
                  <a:cubicBezTo>
                    <a:pt x="423" y="1532"/>
                    <a:pt x="420" y="1531"/>
                    <a:pt x="415" y="1529"/>
                  </a:cubicBezTo>
                  <a:cubicBezTo>
                    <a:pt x="408" y="1526"/>
                    <a:pt x="403" y="1521"/>
                    <a:pt x="402" y="151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15" name="Freeform 51">
              <a:extLst>
                <a:ext uri="{FF2B5EF4-FFF2-40B4-BE49-F238E27FC236}">
                  <a16:creationId xmlns:a16="http://schemas.microsoft.com/office/drawing/2014/main" id="{7560DF57-3701-614B-AC10-5DAA26C5B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0325" y="3438525"/>
              <a:ext cx="576263" cy="938213"/>
            </a:xfrm>
            <a:custGeom>
              <a:avLst/>
              <a:gdLst>
                <a:gd name="T0" fmla="*/ 1326 w 1601"/>
                <a:gd name="T1" fmla="*/ 2530 h 2604"/>
                <a:gd name="T2" fmla="*/ 1198 w 1601"/>
                <a:gd name="T3" fmla="*/ 2499 h 2604"/>
                <a:gd name="T4" fmla="*/ 1072 w 1601"/>
                <a:gd name="T5" fmla="*/ 2313 h 2604"/>
                <a:gd name="T6" fmla="*/ 901 w 1601"/>
                <a:gd name="T7" fmla="*/ 2184 h 2604"/>
                <a:gd name="T8" fmla="*/ 661 w 1601"/>
                <a:gd name="T9" fmla="*/ 2067 h 2604"/>
                <a:gd name="T10" fmla="*/ 458 w 1601"/>
                <a:gd name="T11" fmla="*/ 1901 h 2604"/>
                <a:gd name="T12" fmla="*/ 362 w 1601"/>
                <a:gd name="T13" fmla="*/ 1912 h 2604"/>
                <a:gd name="T14" fmla="*/ 334 w 1601"/>
                <a:gd name="T15" fmla="*/ 1614 h 2604"/>
                <a:gd name="T16" fmla="*/ 186 w 1601"/>
                <a:gd name="T17" fmla="*/ 1400 h 2604"/>
                <a:gd name="T18" fmla="*/ 36 w 1601"/>
                <a:gd name="T19" fmla="*/ 1347 h 2604"/>
                <a:gd name="T20" fmla="*/ 181 w 1601"/>
                <a:gd name="T21" fmla="*/ 1201 h 2604"/>
                <a:gd name="T22" fmla="*/ 293 w 1601"/>
                <a:gd name="T23" fmla="*/ 1130 h 2604"/>
                <a:gd name="T24" fmla="*/ 374 w 1601"/>
                <a:gd name="T25" fmla="*/ 1113 h 2604"/>
                <a:gd name="T26" fmla="*/ 549 w 1601"/>
                <a:gd name="T27" fmla="*/ 967 h 2604"/>
                <a:gd name="T28" fmla="*/ 659 w 1601"/>
                <a:gd name="T29" fmla="*/ 710 h 2604"/>
                <a:gd name="T30" fmla="*/ 466 w 1601"/>
                <a:gd name="T31" fmla="*/ 603 h 2604"/>
                <a:gd name="T32" fmla="*/ 418 w 1601"/>
                <a:gd name="T33" fmla="*/ 540 h 2604"/>
                <a:gd name="T34" fmla="*/ 385 w 1601"/>
                <a:gd name="T35" fmla="*/ 486 h 2604"/>
                <a:gd name="T36" fmla="*/ 357 w 1601"/>
                <a:gd name="T37" fmla="*/ 430 h 2604"/>
                <a:gd name="T38" fmla="*/ 216 w 1601"/>
                <a:gd name="T39" fmla="*/ 296 h 2604"/>
                <a:gd name="T40" fmla="*/ 72 w 1601"/>
                <a:gd name="T41" fmla="*/ 211 h 2604"/>
                <a:gd name="T42" fmla="*/ 76 w 1601"/>
                <a:gd name="T43" fmla="*/ 169 h 2604"/>
                <a:gd name="T44" fmla="*/ 217 w 1601"/>
                <a:gd name="T45" fmla="*/ 193 h 2604"/>
                <a:gd name="T46" fmla="*/ 285 w 1601"/>
                <a:gd name="T47" fmla="*/ 79 h 2604"/>
                <a:gd name="T48" fmla="*/ 407 w 1601"/>
                <a:gd name="T49" fmla="*/ 43 h 2604"/>
                <a:gd name="T50" fmla="*/ 558 w 1601"/>
                <a:gd name="T51" fmla="*/ 21 h 2604"/>
                <a:gd name="T52" fmla="*/ 649 w 1601"/>
                <a:gd name="T53" fmla="*/ 23 h 2604"/>
                <a:gd name="T54" fmla="*/ 718 w 1601"/>
                <a:gd name="T55" fmla="*/ 28 h 2604"/>
                <a:gd name="T56" fmla="*/ 809 w 1601"/>
                <a:gd name="T57" fmla="*/ 49 h 2604"/>
                <a:gd name="T58" fmla="*/ 810 w 1601"/>
                <a:gd name="T59" fmla="*/ 94 h 2604"/>
                <a:gd name="T60" fmla="*/ 825 w 1601"/>
                <a:gd name="T61" fmla="*/ 211 h 2604"/>
                <a:gd name="T62" fmla="*/ 830 w 1601"/>
                <a:gd name="T63" fmla="*/ 454 h 2604"/>
                <a:gd name="T64" fmla="*/ 1099 w 1601"/>
                <a:gd name="T65" fmla="*/ 369 h 2604"/>
                <a:gd name="T66" fmla="*/ 1104 w 1601"/>
                <a:gd name="T67" fmla="*/ 456 h 2604"/>
                <a:gd name="T68" fmla="*/ 1153 w 1601"/>
                <a:gd name="T69" fmla="*/ 487 h 2604"/>
                <a:gd name="T70" fmla="*/ 1153 w 1601"/>
                <a:gd name="T71" fmla="*/ 573 h 2604"/>
                <a:gd name="T72" fmla="*/ 1051 w 1601"/>
                <a:gd name="T73" fmla="*/ 702 h 2604"/>
                <a:gd name="T74" fmla="*/ 995 w 1601"/>
                <a:gd name="T75" fmla="*/ 708 h 2604"/>
                <a:gd name="T76" fmla="*/ 919 w 1601"/>
                <a:gd name="T77" fmla="*/ 776 h 2604"/>
                <a:gd name="T78" fmla="*/ 746 w 1601"/>
                <a:gd name="T79" fmla="*/ 1061 h 2604"/>
                <a:gd name="T80" fmla="*/ 756 w 1601"/>
                <a:gd name="T81" fmla="*/ 1224 h 2604"/>
                <a:gd name="T82" fmla="*/ 809 w 1601"/>
                <a:gd name="T83" fmla="*/ 1394 h 2604"/>
                <a:gd name="T84" fmla="*/ 819 w 1601"/>
                <a:gd name="T85" fmla="*/ 1542 h 2604"/>
                <a:gd name="T86" fmla="*/ 838 w 1601"/>
                <a:gd name="T87" fmla="*/ 1672 h 2604"/>
                <a:gd name="T88" fmla="*/ 914 w 1601"/>
                <a:gd name="T89" fmla="*/ 1731 h 2604"/>
                <a:gd name="T90" fmla="*/ 899 w 1601"/>
                <a:gd name="T91" fmla="*/ 1817 h 2604"/>
                <a:gd name="T92" fmla="*/ 855 w 1601"/>
                <a:gd name="T93" fmla="*/ 1911 h 2604"/>
                <a:gd name="T94" fmla="*/ 903 w 1601"/>
                <a:gd name="T95" fmla="*/ 1992 h 2604"/>
                <a:gd name="T96" fmla="*/ 1086 w 1601"/>
                <a:gd name="T97" fmla="*/ 2062 h 2604"/>
                <a:gd name="T98" fmla="*/ 1295 w 1601"/>
                <a:gd name="T99" fmla="*/ 2000 h 2604"/>
                <a:gd name="T100" fmla="*/ 1430 w 1601"/>
                <a:gd name="T101" fmla="*/ 2021 h 2604"/>
                <a:gd name="T102" fmla="*/ 1488 w 1601"/>
                <a:gd name="T103" fmla="*/ 2107 h 2604"/>
                <a:gd name="T104" fmla="*/ 1453 w 1601"/>
                <a:gd name="T105" fmla="*/ 2194 h 2604"/>
                <a:gd name="T106" fmla="*/ 1455 w 1601"/>
                <a:gd name="T107" fmla="*/ 2319 h 2604"/>
                <a:gd name="T108" fmla="*/ 1555 w 1601"/>
                <a:gd name="T109" fmla="*/ 2423 h 2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1" h="2604">
                  <a:moveTo>
                    <a:pt x="1575" y="2449"/>
                  </a:moveTo>
                  <a:cubicBezTo>
                    <a:pt x="1600" y="2482"/>
                    <a:pt x="1593" y="2520"/>
                    <a:pt x="1558" y="2550"/>
                  </a:cubicBezTo>
                  <a:cubicBezTo>
                    <a:pt x="1514" y="2586"/>
                    <a:pt x="1456" y="2603"/>
                    <a:pt x="1408" y="2593"/>
                  </a:cubicBezTo>
                  <a:cubicBezTo>
                    <a:pt x="1372" y="2586"/>
                    <a:pt x="1343" y="2563"/>
                    <a:pt x="1326" y="2530"/>
                  </a:cubicBezTo>
                  <a:cubicBezTo>
                    <a:pt x="1324" y="2525"/>
                    <a:pt x="1321" y="2520"/>
                    <a:pt x="1320" y="2515"/>
                  </a:cubicBezTo>
                  <a:cubicBezTo>
                    <a:pt x="1311" y="2496"/>
                    <a:pt x="1300" y="2469"/>
                    <a:pt x="1272" y="2463"/>
                  </a:cubicBezTo>
                  <a:cubicBezTo>
                    <a:pt x="1247" y="2458"/>
                    <a:pt x="1231" y="2473"/>
                    <a:pt x="1217" y="2486"/>
                  </a:cubicBezTo>
                  <a:cubicBezTo>
                    <a:pt x="1211" y="2491"/>
                    <a:pt x="1204" y="2497"/>
                    <a:pt x="1198" y="2499"/>
                  </a:cubicBezTo>
                  <a:cubicBezTo>
                    <a:pt x="1165" y="2514"/>
                    <a:pt x="1138" y="2477"/>
                    <a:pt x="1112" y="2436"/>
                  </a:cubicBezTo>
                  <a:cubicBezTo>
                    <a:pt x="1109" y="2431"/>
                    <a:pt x="1105" y="2426"/>
                    <a:pt x="1102" y="2421"/>
                  </a:cubicBezTo>
                  <a:cubicBezTo>
                    <a:pt x="1086" y="2397"/>
                    <a:pt x="1072" y="2377"/>
                    <a:pt x="1071" y="2349"/>
                  </a:cubicBezTo>
                  <a:cubicBezTo>
                    <a:pt x="1069" y="2337"/>
                    <a:pt x="1071" y="2326"/>
                    <a:pt x="1072" y="2313"/>
                  </a:cubicBezTo>
                  <a:cubicBezTo>
                    <a:pt x="1074" y="2296"/>
                    <a:pt x="1076" y="2277"/>
                    <a:pt x="1072" y="2258"/>
                  </a:cubicBezTo>
                  <a:cubicBezTo>
                    <a:pt x="1066" y="2230"/>
                    <a:pt x="1048" y="2206"/>
                    <a:pt x="1020" y="2189"/>
                  </a:cubicBezTo>
                  <a:cubicBezTo>
                    <a:pt x="992" y="2171"/>
                    <a:pt x="954" y="2166"/>
                    <a:pt x="922" y="2176"/>
                  </a:cubicBezTo>
                  <a:cubicBezTo>
                    <a:pt x="914" y="2178"/>
                    <a:pt x="908" y="2181"/>
                    <a:pt x="901" y="2184"/>
                  </a:cubicBezTo>
                  <a:cubicBezTo>
                    <a:pt x="873" y="2194"/>
                    <a:pt x="865" y="2197"/>
                    <a:pt x="853" y="2181"/>
                  </a:cubicBezTo>
                  <a:cubicBezTo>
                    <a:pt x="848" y="2171"/>
                    <a:pt x="845" y="2161"/>
                    <a:pt x="843" y="2151"/>
                  </a:cubicBezTo>
                  <a:cubicBezTo>
                    <a:pt x="840" y="2136"/>
                    <a:pt x="837" y="2122"/>
                    <a:pt x="825" y="2107"/>
                  </a:cubicBezTo>
                  <a:cubicBezTo>
                    <a:pt x="792" y="2064"/>
                    <a:pt x="735" y="2051"/>
                    <a:pt x="661" y="2067"/>
                  </a:cubicBezTo>
                  <a:lnTo>
                    <a:pt x="642" y="2072"/>
                  </a:lnTo>
                  <a:cubicBezTo>
                    <a:pt x="583" y="2087"/>
                    <a:pt x="545" y="2092"/>
                    <a:pt x="524" y="2048"/>
                  </a:cubicBezTo>
                  <a:cubicBezTo>
                    <a:pt x="517" y="2036"/>
                    <a:pt x="514" y="2018"/>
                    <a:pt x="511" y="2000"/>
                  </a:cubicBezTo>
                  <a:cubicBezTo>
                    <a:pt x="502" y="1962"/>
                    <a:pt x="496" y="1919"/>
                    <a:pt x="458" y="1901"/>
                  </a:cubicBezTo>
                  <a:cubicBezTo>
                    <a:pt x="418" y="1881"/>
                    <a:pt x="397" y="1914"/>
                    <a:pt x="382" y="1936"/>
                  </a:cubicBezTo>
                  <a:cubicBezTo>
                    <a:pt x="371" y="1954"/>
                    <a:pt x="361" y="1965"/>
                    <a:pt x="352" y="1962"/>
                  </a:cubicBezTo>
                  <a:cubicBezTo>
                    <a:pt x="349" y="1962"/>
                    <a:pt x="348" y="1960"/>
                    <a:pt x="348" y="1960"/>
                  </a:cubicBezTo>
                  <a:cubicBezTo>
                    <a:pt x="344" y="1950"/>
                    <a:pt x="357" y="1922"/>
                    <a:pt x="362" y="1912"/>
                  </a:cubicBezTo>
                  <a:cubicBezTo>
                    <a:pt x="364" y="1909"/>
                    <a:pt x="366" y="1907"/>
                    <a:pt x="367" y="1904"/>
                  </a:cubicBezTo>
                  <a:cubicBezTo>
                    <a:pt x="385" y="1866"/>
                    <a:pt x="377" y="1833"/>
                    <a:pt x="367" y="1797"/>
                  </a:cubicBezTo>
                  <a:cubicBezTo>
                    <a:pt x="359" y="1774"/>
                    <a:pt x="357" y="1748"/>
                    <a:pt x="356" y="1721"/>
                  </a:cubicBezTo>
                  <a:cubicBezTo>
                    <a:pt x="352" y="1685"/>
                    <a:pt x="349" y="1649"/>
                    <a:pt x="334" y="1614"/>
                  </a:cubicBezTo>
                  <a:cubicBezTo>
                    <a:pt x="320" y="1585"/>
                    <a:pt x="292" y="1570"/>
                    <a:pt x="265" y="1553"/>
                  </a:cubicBezTo>
                  <a:cubicBezTo>
                    <a:pt x="239" y="1538"/>
                    <a:pt x="216" y="1525"/>
                    <a:pt x="208" y="1501"/>
                  </a:cubicBezTo>
                  <a:cubicBezTo>
                    <a:pt x="204" y="1489"/>
                    <a:pt x="204" y="1476"/>
                    <a:pt x="204" y="1463"/>
                  </a:cubicBezTo>
                  <a:cubicBezTo>
                    <a:pt x="204" y="1440"/>
                    <a:pt x="203" y="1415"/>
                    <a:pt x="186" y="1400"/>
                  </a:cubicBezTo>
                  <a:cubicBezTo>
                    <a:pt x="176" y="1392"/>
                    <a:pt x="160" y="1387"/>
                    <a:pt x="140" y="1390"/>
                  </a:cubicBezTo>
                  <a:cubicBezTo>
                    <a:pt x="130" y="1390"/>
                    <a:pt x="119" y="1394"/>
                    <a:pt x="107" y="1397"/>
                  </a:cubicBezTo>
                  <a:cubicBezTo>
                    <a:pt x="71" y="1407"/>
                    <a:pt x="53" y="1410"/>
                    <a:pt x="44" y="1390"/>
                  </a:cubicBezTo>
                  <a:cubicBezTo>
                    <a:pt x="39" y="1377"/>
                    <a:pt x="38" y="1362"/>
                    <a:pt x="36" y="1347"/>
                  </a:cubicBezTo>
                  <a:cubicBezTo>
                    <a:pt x="35" y="1319"/>
                    <a:pt x="35" y="1290"/>
                    <a:pt x="0" y="1270"/>
                  </a:cubicBezTo>
                  <a:cubicBezTo>
                    <a:pt x="10" y="1268"/>
                    <a:pt x="23" y="1268"/>
                    <a:pt x="38" y="1268"/>
                  </a:cubicBezTo>
                  <a:cubicBezTo>
                    <a:pt x="74" y="1268"/>
                    <a:pt x="110" y="1268"/>
                    <a:pt x="137" y="1249"/>
                  </a:cubicBezTo>
                  <a:cubicBezTo>
                    <a:pt x="156" y="1237"/>
                    <a:pt x="168" y="1219"/>
                    <a:pt x="181" y="1201"/>
                  </a:cubicBezTo>
                  <a:cubicBezTo>
                    <a:pt x="191" y="1186"/>
                    <a:pt x="201" y="1171"/>
                    <a:pt x="214" y="1163"/>
                  </a:cubicBezTo>
                  <a:cubicBezTo>
                    <a:pt x="222" y="1156"/>
                    <a:pt x="231" y="1155"/>
                    <a:pt x="242" y="1153"/>
                  </a:cubicBezTo>
                  <a:cubicBezTo>
                    <a:pt x="247" y="1153"/>
                    <a:pt x="252" y="1151"/>
                    <a:pt x="259" y="1151"/>
                  </a:cubicBezTo>
                  <a:cubicBezTo>
                    <a:pt x="277" y="1146"/>
                    <a:pt x="285" y="1140"/>
                    <a:pt x="293" y="1130"/>
                  </a:cubicBezTo>
                  <a:lnTo>
                    <a:pt x="306" y="1118"/>
                  </a:lnTo>
                  <a:cubicBezTo>
                    <a:pt x="315" y="1112"/>
                    <a:pt x="315" y="1112"/>
                    <a:pt x="328" y="1113"/>
                  </a:cubicBezTo>
                  <a:lnTo>
                    <a:pt x="339" y="1115"/>
                  </a:lnTo>
                  <a:cubicBezTo>
                    <a:pt x="349" y="1117"/>
                    <a:pt x="361" y="1117"/>
                    <a:pt x="374" y="1113"/>
                  </a:cubicBezTo>
                  <a:cubicBezTo>
                    <a:pt x="408" y="1105"/>
                    <a:pt x="445" y="1079"/>
                    <a:pt x="466" y="1057"/>
                  </a:cubicBezTo>
                  <a:cubicBezTo>
                    <a:pt x="478" y="1044"/>
                    <a:pt x="486" y="1031"/>
                    <a:pt x="493" y="1020"/>
                  </a:cubicBezTo>
                  <a:cubicBezTo>
                    <a:pt x="501" y="1003"/>
                    <a:pt x="509" y="990"/>
                    <a:pt x="524" y="980"/>
                  </a:cubicBezTo>
                  <a:cubicBezTo>
                    <a:pt x="532" y="975"/>
                    <a:pt x="540" y="970"/>
                    <a:pt x="549" y="967"/>
                  </a:cubicBezTo>
                  <a:cubicBezTo>
                    <a:pt x="568" y="955"/>
                    <a:pt x="586" y="945"/>
                    <a:pt x="603" y="916"/>
                  </a:cubicBezTo>
                  <a:cubicBezTo>
                    <a:pt x="609" y="906"/>
                    <a:pt x="616" y="896"/>
                    <a:pt x="624" y="884"/>
                  </a:cubicBezTo>
                  <a:cubicBezTo>
                    <a:pt x="637" y="866"/>
                    <a:pt x="652" y="847"/>
                    <a:pt x="659" y="820"/>
                  </a:cubicBezTo>
                  <a:cubicBezTo>
                    <a:pt x="664" y="805"/>
                    <a:pt x="675" y="753"/>
                    <a:pt x="659" y="710"/>
                  </a:cubicBezTo>
                  <a:cubicBezTo>
                    <a:pt x="651" y="687"/>
                    <a:pt x="626" y="632"/>
                    <a:pt x="586" y="621"/>
                  </a:cubicBezTo>
                  <a:cubicBezTo>
                    <a:pt x="565" y="613"/>
                    <a:pt x="545" y="616"/>
                    <a:pt x="527" y="619"/>
                  </a:cubicBezTo>
                  <a:cubicBezTo>
                    <a:pt x="512" y="621"/>
                    <a:pt x="499" y="623"/>
                    <a:pt x="488" y="621"/>
                  </a:cubicBezTo>
                  <a:cubicBezTo>
                    <a:pt x="476" y="618"/>
                    <a:pt x="473" y="613"/>
                    <a:pt x="466" y="603"/>
                  </a:cubicBezTo>
                  <a:cubicBezTo>
                    <a:pt x="463" y="596"/>
                    <a:pt x="460" y="591"/>
                    <a:pt x="455" y="585"/>
                  </a:cubicBezTo>
                  <a:cubicBezTo>
                    <a:pt x="450" y="578"/>
                    <a:pt x="443" y="575"/>
                    <a:pt x="438" y="570"/>
                  </a:cubicBezTo>
                  <a:cubicBezTo>
                    <a:pt x="433" y="567"/>
                    <a:pt x="428" y="563"/>
                    <a:pt x="425" y="558"/>
                  </a:cubicBezTo>
                  <a:cubicBezTo>
                    <a:pt x="422" y="553"/>
                    <a:pt x="420" y="547"/>
                    <a:pt x="418" y="540"/>
                  </a:cubicBezTo>
                  <a:cubicBezTo>
                    <a:pt x="417" y="534"/>
                    <a:pt x="413" y="527"/>
                    <a:pt x="412" y="522"/>
                  </a:cubicBezTo>
                  <a:cubicBezTo>
                    <a:pt x="410" y="522"/>
                    <a:pt x="410" y="520"/>
                    <a:pt x="410" y="520"/>
                  </a:cubicBezTo>
                  <a:cubicBezTo>
                    <a:pt x="407" y="509"/>
                    <a:pt x="399" y="501"/>
                    <a:pt x="390" y="491"/>
                  </a:cubicBezTo>
                  <a:cubicBezTo>
                    <a:pt x="389" y="489"/>
                    <a:pt x="387" y="487"/>
                    <a:pt x="385" y="486"/>
                  </a:cubicBezTo>
                  <a:lnTo>
                    <a:pt x="379" y="479"/>
                  </a:lnTo>
                  <a:cubicBezTo>
                    <a:pt x="376" y="476"/>
                    <a:pt x="374" y="473"/>
                    <a:pt x="371" y="469"/>
                  </a:cubicBezTo>
                  <a:cubicBezTo>
                    <a:pt x="362" y="463"/>
                    <a:pt x="349" y="450"/>
                    <a:pt x="349" y="441"/>
                  </a:cubicBezTo>
                  <a:cubicBezTo>
                    <a:pt x="351" y="438"/>
                    <a:pt x="354" y="435"/>
                    <a:pt x="357" y="430"/>
                  </a:cubicBezTo>
                  <a:cubicBezTo>
                    <a:pt x="362" y="425"/>
                    <a:pt x="369" y="418"/>
                    <a:pt x="372" y="408"/>
                  </a:cubicBezTo>
                  <a:cubicBezTo>
                    <a:pt x="376" y="395"/>
                    <a:pt x="374" y="382"/>
                    <a:pt x="367" y="372"/>
                  </a:cubicBezTo>
                  <a:cubicBezTo>
                    <a:pt x="354" y="351"/>
                    <a:pt x="328" y="342"/>
                    <a:pt x="306" y="339"/>
                  </a:cubicBezTo>
                  <a:cubicBezTo>
                    <a:pt x="267" y="331"/>
                    <a:pt x="240" y="324"/>
                    <a:pt x="216" y="296"/>
                  </a:cubicBezTo>
                  <a:cubicBezTo>
                    <a:pt x="209" y="288"/>
                    <a:pt x="204" y="282"/>
                    <a:pt x="199" y="275"/>
                  </a:cubicBezTo>
                  <a:cubicBezTo>
                    <a:pt x="186" y="255"/>
                    <a:pt x="173" y="235"/>
                    <a:pt x="145" y="224"/>
                  </a:cubicBezTo>
                  <a:cubicBezTo>
                    <a:pt x="128" y="216"/>
                    <a:pt x="110" y="207"/>
                    <a:pt x="94" y="207"/>
                  </a:cubicBezTo>
                  <a:cubicBezTo>
                    <a:pt x="86" y="207"/>
                    <a:pt x="79" y="209"/>
                    <a:pt x="72" y="211"/>
                  </a:cubicBezTo>
                  <a:cubicBezTo>
                    <a:pt x="63" y="214"/>
                    <a:pt x="56" y="216"/>
                    <a:pt x="53" y="214"/>
                  </a:cubicBezTo>
                  <a:cubicBezTo>
                    <a:pt x="46" y="211"/>
                    <a:pt x="46" y="196"/>
                    <a:pt x="46" y="179"/>
                  </a:cubicBezTo>
                  <a:cubicBezTo>
                    <a:pt x="51" y="178"/>
                    <a:pt x="56" y="176"/>
                    <a:pt x="61" y="176"/>
                  </a:cubicBezTo>
                  <a:cubicBezTo>
                    <a:pt x="66" y="173"/>
                    <a:pt x="71" y="171"/>
                    <a:pt x="76" y="169"/>
                  </a:cubicBezTo>
                  <a:cubicBezTo>
                    <a:pt x="95" y="166"/>
                    <a:pt x="99" y="168"/>
                    <a:pt x="115" y="179"/>
                  </a:cubicBezTo>
                  <a:lnTo>
                    <a:pt x="120" y="183"/>
                  </a:lnTo>
                  <a:cubicBezTo>
                    <a:pt x="132" y="191"/>
                    <a:pt x="148" y="196"/>
                    <a:pt x="165" y="197"/>
                  </a:cubicBezTo>
                  <a:cubicBezTo>
                    <a:pt x="183" y="199"/>
                    <a:pt x="201" y="197"/>
                    <a:pt x="217" y="193"/>
                  </a:cubicBezTo>
                  <a:cubicBezTo>
                    <a:pt x="242" y="184"/>
                    <a:pt x="257" y="169"/>
                    <a:pt x="264" y="150"/>
                  </a:cubicBezTo>
                  <a:cubicBezTo>
                    <a:pt x="270" y="132"/>
                    <a:pt x="264" y="118"/>
                    <a:pt x="259" y="109"/>
                  </a:cubicBezTo>
                  <a:cubicBezTo>
                    <a:pt x="255" y="102"/>
                    <a:pt x="254" y="99"/>
                    <a:pt x="254" y="94"/>
                  </a:cubicBezTo>
                  <a:cubicBezTo>
                    <a:pt x="255" y="87"/>
                    <a:pt x="265" y="84"/>
                    <a:pt x="285" y="79"/>
                  </a:cubicBezTo>
                  <a:cubicBezTo>
                    <a:pt x="292" y="79"/>
                    <a:pt x="298" y="77"/>
                    <a:pt x="301" y="76"/>
                  </a:cubicBezTo>
                  <a:cubicBezTo>
                    <a:pt x="315" y="72"/>
                    <a:pt x="326" y="67"/>
                    <a:pt x="338" y="62"/>
                  </a:cubicBezTo>
                  <a:cubicBezTo>
                    <a:pt x="352" y="56"/>
                    <a:pt x="367" y="49"/>
                    <a:pt x="384" y="46"/>
                  </a:cubicBezTo>
                  <a:cubicBezTo>
                    <a:pt x="392" y="46"/>
                    <a:pt x="399" y="44"/>
                    <a:pt x="407" y="43"/>
                  </a:cubicBezTo>
                  <a:cubicBezTo>
                    <a:pt x="417" y="41"/>
                    <a:pt x="425" y="41"/>
                    <a:pt x="435" y="39"/>
                  </a:cubicBezTo>
                  <a:cubicBezTo>
                    <a:pt x="438" y="39"/>
                    <a:pt x="443" y="39"/>
                    <a:pt x="446" y="39"/>
                  </a:cubicBezTo>
                  <a:lnTo>
                    <a:pt x="476" y="38"/>
                  </a:lnTo>
                  <a:cubicBezTo>
                    <a:pt x="502" y="34"/>
                    <a:pt x="532" y="33"/>
                    <a:pt x="558" y="21"/>
                  </a:cubicBezTo>
                  <a:cubicBezTo>
                    <a:pt x="565" y="18"/>
                    <a:pt x="572" y="15"/>
                    <a:pt x="577" y="11"/>
                  </a:cubicBezTo>
                  <a:cubicBezTo>
                    <a:pt x="590" y="3"/>
                    <a:pt x="596" y="0"/>
                    <a:pt x="611" y="5"/>
                  </a:cubicBezTo>
                  <a:cubicBezTo>
                    <a:pt x="614" y="5"/>
                    <a:pt x="618" y="8"/>
                    <a:pt x="623" y="11"/>
                  </a:cubicBezTo>
                  <a:cubicBezTo>
                    <a:pt x="629" y="16"/>
                    <a:pt x="637" y="21"/>
                    <a:pt x="649" y="23"/>
                  </a:cubicBezTo>
                  <a:lnTo>
                    <a:pt x="649" y="23"/>
                  </a:lnTo>
                  <a:cubicBezTo>
                    <a:pt x="661" y="25"/>
                    <a:pt x="669" y="20"/>
                    <a:pt x="674" y="16"/>
                  </a:cubicBezTo>
                  <a:cubicBezTo>
                    <a:pt x="677" y="15"/>
                    <a:pt x="679" y="15"/>
                    <a:pt x="682" y="13"/>
                  </a:cubicBezTo>
                  <a:cubicBezTo>
                    <a:pt x="702" y="10"/>
                    <a:pt x="703" y="11"/>
                    <a:pt x="718" y="28"/>
                  </a:cubicBezTo>
                  <a:lnTo>
                    <a:pt x="723" y="31"/>
                  </a:lnTo>
                  <a:cubicBezTo>
                    <a:pt x="741" y="53"/>
                    <a:pt x="758" y="71"/>
                    <a:pt x="796" y="53"/>
                  </a:cubicBezTo>
                  <a:cubicBezTo>
                    <a:pt x="801" y="51"/>
                    <a:pt x="804" y="49"/>
                    <a:pt x="807" y="48"/>
                  </a:cubicBezTo>
                  <a:cubicBezTo>
                    <a:pt x="809" y="48"/>
                    <a:pt x="809" y="49"/>
                    <a:pt x="809" y="49"/>
                  </a:cubicBezTo>
                  <a:cubicBezTo>
                    <a:pt x="812" y="53"/>
                    <a:pt x="815" y="56"/>
                    <a:pt x="817" y="61"/>
                  </a:cubicBezTo>
                  <a:cubicBezTo>
                    <a:pt x="820" y="66"/>
                    <a:pt x="819" y="72"/>
                    <a:pt x="815" y="81"/>
                  </a:cubicBezTo>
                  <a:cubicBezTo>
                    <a:pt x="814" y="82"/>
                    <a:pt x="814" y="85"/>
                    <a:pt x="812" y="87"/>
                  </a:cubicBezTo>
                  <a:lnTo>
                    <a:pt x="810" y="94"/>
                  </a:lnTo>
                  <a:cubicBezTo>
                    <a:pt x="806" y="109"/>
                    <a:pt x="799" y="127"/>
                    <a:pt x="804" y="145"/>
                  </a:cubicBezTo>
                  <a:cubicBezTo>
                    <a:pt x="807" y="156"/>
                    <a:pt x="814" y="163"/>
                    <a:pt x="819" y="168"/>
                  </a:cubicBezTo>
                  <a:cubicBezTo>
                    <a:pt x="822" y="173"/>
                    <a:pt x="825" y="176"/>
                    <a:pt x="827" y="179"/>
                  </a:cubicBezTo>
                  <a:cubicBezTo>
                    <a:pt x="829" y="189"/>
                    <a:pt x="827" y="199"/>
                    <a:pt x="825" y="211"/>
                  </a:cubicBezTo>
                  <a:cubicBezTo>
                    <a:pt x="824" y="230"/>
                    <a:pt x="820" y="257"/>
                    <a:pt x="848" y="275"/>
                  </a:cubicBezTo>
                  <a:cubicBezTo>
                    <a:pt x="845" y="298"/>
                    <a:pt x="840" y="321"/>
                    <a:pt x="837" y="344"/>
                  </a:cubicBezTo>
                  <a:cubicBezTo>
                    <a:pt x="837" y="347"/>
                    <a:pt x="835" y="354"/>
                    <a:pt x="834" y="361"/>
                  </a:cubicBezTo>
                  <a:cubicBezTo>
                    <a:pt x="822" y="405"/>
                    <a:pt x="815" y="440"/>
                    <a:pt x="830" y="454"/>
                  </a:cubicBezTo>
                  <a:cubicBezTo>
                    <a:pt x="848" y="471"/>
                    <a:pt x="888" y="461"/>
                    <a:pt x="931" y="448"/>
                  </a:cubicBezTo>
                  <a:cubicBezTo>
                    <a:pt x="957" y="440"/>
                    <a:pt x="975" y="426"/>
                    <a:pt x="995" y="412"/>
                  </a:cubicBezTo>
                  <a:cubicBezTo>
                    <a:pt x="1000" y="407"/>
                    <a:pt x="1007" y="402"/>
                    <a:pt x="1015" y="397"/>
                  </a:cubicBezTo>
                  <a:cubicBezTo>
                    <a:pt x="1035" y="384"/>
                    <a:pt x="1071" y="369"/>
                    <a:pt x="1099" y="369"/>
                  </a:cubicBezTo>
                  <a:cubicBezTo>
                    <a:pt x="1105" y="369"/>
                    <a:pt x="1119" y="367"/>
                    <a:pt x="1122" y="372"/>
                  </a:cubicBezTo>
                  <a:cubicBezTo>
                    <a:pt x="1122" y="374"/>
                    <a:pt x="1122" y="377"/>
                    <a:pt x="1117" y="384"/>
                  </a:cubicBezTo>
                  <a:cubicBezTo>
                    <a:pt x="1114" y="387"/>
                    <a:pt x="1112" y="392"/>
                    <a:pt x="1109" y="395"/>
                  </a:cubicBezTo>
                  <a:cubicBezTo>
                    <a:pt x="1097" y="418"/>
                    <a:pt x="1094" y="441"/>
                    <a:pt x="1104" y="456"/>
                  </a:cubicBezTo>
                  <a:cubicBezTo>
                    <a:pt x="1109" y="466"/>
                    <a:pt x="1119" y="476"/>
                    <a:pt x="1138" y="478"/>
                  </a:cubicBezTo>
                  <a:lnTo>
                    <a:pt x="1143" y="478"/>
                  </a:lnTo>
                  <a:cubicBezTo>
                    <a:pt x="1151" y="478"/>
                    <a:pt x="1155" y="478"/>
                    <a:pt x="1155" y="481"/>
                  </a:cubicBezTo>
                  <a:cubicBezTo>
                    <a:pt x="1156" y="482"/>
                    <a:pt x="1156" y="482"/>
                    <a:pt x="1153" y="487"/>
                  </a:cubicBezTo>
                  <a:cubicBezTo>
                    <a:pt x="1148" y="491"/>
                    <a:pt x="1137" y="491"/>
                    <a:pt x="1127" y="492"/>
                  </a:cubicBezTo>
                  <a:cubicBezTo>
                    <a:pt x="1107" y="492"/>
                    <a:pt x="1076" y="494"/>
                    <a:pt x="1076" y="527"/>
                  </a:cubicBezTo>
                  <a:cubicBezTo>
                    <a:pt x="1074" y="567"/>
                    <a:pt x="1120" y="571"/>
                    <a:pt x="1143" y="573"/>
                  </a:cubicBezTo>
                  <a:lnTo>
                    <a:pt x="1153" y="573"/>
                  </a:lnTo>
                  <a:cubicBezTo>
                    <a:pt x="1153" y="588"/>
                    <a:pt x="1153" y="601"/>
                    <a:pt x="1155" y="616"/>
                  </a:cubicBezTo>
                  <a:cubicBezTo>
                    <a:pt x="1156" y="624"/>
                    <a:pt x="1156" y="631"/>
                    <a:pt x="1158" y="639"/>
                  </a:cubicBezTo>
                  <a:cubicBezTo>
                    <a:pt x="1160" y="662"/>
                    <a:pt x="1156" y="665"/>
                    <a:pt x="1132" y="679"/>
                  </a:cubicBezTo>
                  <a:cubicBezTo>
                    <a:pt x="1105" y="692"/>
                    <a:pt x="1082" y="697"/>
                    <a:pt x="1051" y="702"/>
                  </a:cubicBezTo>
                  <a:lnTo>
                    <a:pt x="1044" y="702"/>
                  </a:lnTo>
                  <a:cubicBezTo>
                    <a:pt x="1038" y="703"/>
                    <a:pt x="1033" y="705"/>
                    <a:pt x="1026" y="708"/>
                  </a:cubicBezTo>
                  <a:cubicBezTo>
                    <a:pt x="1016" y="710"/>
                    <a:pt x="1007" y="713"/>
                    <a:pt x="1000" y="713"/>
                  </a:cubicBezTo>
                  <a:cubicBezTo>
                    <a:pt x="1000" y="713"/>
                    <a:pt x="997" y="710"/>
                    <a:pt x="995" y="708"/>
                  </a:cubicBezTo>
                  <a:cubicBezTo>
                    <a:pt x="992" y="705"/>
                    <a:pt x="987" y="700"/>
                    <a:pt x="980" y="698"/>
                  </a:cubicBezTo>
                  <a:cubicBezTo>
                    <a:pt x="959" y="692"/>
                    <a:pt x="946" y="697"/>
                    <a:pt x="939" y="703"/>
                  </a:cubicBezTo>
                  <a:cubicBezTo>
                    <a:pt x="926" y="711"/>
                    <a:pt x="919" y="728"/>
                    <a:pt x="918" y="748"/>
                  </a:cubicBezTo>
                  <a:cubicBezTo>
                    <a:pt x="918" y="758"/>
                    <a:pt x="918" y="767"/>
                    <a:pt x="919" y="776"/>
                  </a:cubicBezTo>
                  <a:cubicBezTo>
                    <a:pt x="921" y="792"/>
                    <a:pt x="922" y="805"/>
                    <a:pt x="913" y="823"/>
                  </a:cubicBezTo>
                  <a:cubicBezTo>
                    <a:pt x="896" y="853"/>
                    <a:pt x="871" y="876"/>
                    <a:pt x="845" y="903"/>
                  </a:cubicBezTo>
                  <a:cubicBezTo>
                    <a:pt x="825" y="922"/>
                    <a:pt x="806" y="942"/>
                    <a:pt x="789" y="965"/>
                  </a:cubicBezTo>
                  <a:cubicBezTo>
                    <a:pt x="769" y="992"/>
                    <a:pt x="750" y="1023"/>
                    <a:pt x="746" y="1061"/>
                  </a:cubicBezTo>
                  <a:cubicBezTo>
                    <a:pt x="745" y="1076"/>
                    <a:pt x="746" y="1090"/>
                    <a:pt x="748" y="1105"/>
                  </a:cubicBezTo>
                  <a:cubicBezTo>
                    <a:pt x="748" y="1118"/>
                    <a:pt x="750" y="1133"/>
                    <a:pt x="748" y="1146"/>
                  </a:cubicBezTo>
                  <a:lnTo>
                    <a:pt x="748" y="1153"/>
                  </a:lnTo>
                  <a:cubicBezTo>
                    <a:pt x="745" y="1176"/>
                    <a:pt x="743" y="1197"/>
                    <a:pt x="756" y="1224"/>
                  </a:cubicBezTo>
                  <a:cubicBezTo>
                    <a:pt x="761" y="1232"/>
                    <a:pt x="766" y="1240"/>
                    <a:pt x="773" y="1249"/>
                  </a:cubicBezTo>
                  <a:cubicBezTo>
                    <a:pt x="779" y="1258"/>
                    <a:pt x="786" y="1268"/>
                    <a:pt x="792" y="1281"/>
                  </a:cubicBezTo>
                  <a:cubicBezTo>
                    <a:pt x="802" y="1306"/>
                    <a:pt x="814" y="1337"/>
                    <a:pt x="814" y="1362"/>
                  </a:cubicBezTo>
                  <a:cubicBezTo>
                    <a:pt x="814" y="1372"/>
                    <a:pt x="810" y="1384"/>
                    <a:pt x="809" y="1394"/>
                  </a:cubicBezTo>
                  <a:cubicBezTo>
                    <a:pt x="804" y="1413"/>
                    <a:pt x="799" y="1435"/>
                    <a:pt x="807" y="1459"/>
                  </a:cubicBezTo>
                  <a:cubicBezTo>
                    <a:pt x="810" y="1466"/>
                    <a:pt x="814" y="1473"/>
                    <a:pt x="817" y="1479"/>
                  </a:cubicBezTo>
                  <a:cubicBezTo>
                    <a:pt x="824" y="1491"/>
                    <a:pt x="827" y="1499"/>
                    <a:pt x="827" y="1510"/>
                  </a:cubicBezTo>
                  <a:cubicBezTo>
                    <a:pt x="827" y="1520"/>
                    <a:pt x="824" y="1532"/>
                    <a:pt x="819" y="1542"/>
                  </a:cubicBezTo>
                  <a:cubicBezTo>
                    <a:pt x="817" y="1548"/>
                    <a:pt x="815" y="1553"/>
                    <a:pt x="814" y="1558"/>
                  </a:cubicBezTo>
                  <a:lnTo>
                    <a:pt x="812" y="1565"/>
                  </a:lnTo>
                  <a:cubicBezTo>
                    <a:pt x="802" y="1598"/>
                    <a:pt x="794" y="1634"/>
                    <a:pt x="809" y="1657"/>
                  </a:cubicBezTo>
                  <a:cubicBezTo>
                    <a:pt x="814" y="1664"/>
                    <a:pt x="822" y="1672"/>
                    <a:pt x="838" y="1672"/>
                  </a:cubicBezTo>
                  <a:cubicBezTo>
                    <a:pt x="855" y="1674"/>
                    <a:pt x="866" y="1665"/>
                    <a:pt x="876" y="1660"/>
                  </a:cubicBezTo>
                  <a:cubicBezTo>
                    <a:pt x="886" y="1654"/>
                    <a:pt x="893" y="1649"/>
                    <a:pt x="901" y="1650"/>
                  </a:cubicBezTo>
                  <a:cubicBezTo>
                    <a:pt x="916" y="1652"/>
                    <a:pt x="932" y="1665"/>
                    <a:pt x="937" y="1675"/>
                  </a:cubicBezTo>
                  <a:cubicBezTo>
                    <a:pt x="944" y="1693"/>
                    <a:pt x="931" y="1721"/>
                    <a:pt x="914" y="1731"/>
                  </a:cubicBezTo>
                  <a:cubicBezTo>
                    <a:pt x="911" y="1733"/>
                    <a:pt x="906" y="1735"/>
                    <a:pt x="901" y="1736"/>
                  </a:cubicBezTo>
                  <a:cubicBezTo>
                    <a:pt x="890" y="1739"/>
                    <a:pt x="870" y="1744"/>
                    <a:pt x="865" y="1764"/>
                  </a:cubicBezTo>
                  <a:cubicBezTo>
                    <a:pt x="860" y="1787"/>
                    <a:pt x="876" y="1799"/>
                    <a:pt x="888" y="1807"/>
                  </a:cubicBezTo>
                  <a:cubicBezTo>
                    <a:pt x="893" y="1810"/>
                    <a:pt x="898" y="1814"/>
                    <a:pt x="899" y="1817"/>
                  </a:cubicBezTo>
                  <a:cubicBezTo>
                    <a:pt x="904" y="1827"/>
                    <a:pt x="901" y="1832"/>
                    <a:pt x="890" y="1845"/>
                  </a:cubicBezTo>
                  <a:cubicBezTo>
                    <a:pt x="886" y="1847"/>
                    <a:pt x="885" y="1850"/>
                    <a:pt x="881" y="1851"/>
                  </a:cubicBezTo>
                  <a:lnTo>
                    <a:pt x="878" y="1856"/>
                  </a:lnTo>
                  <a:cubicBezTo>
                    <a:pt x="866" y="1870"/>
                    <a:pt x="850" y="1888"/>
                    <a:pt x="855" y="1911"/>
                  </a:cubicBezTo>
                  <a:cubicBezTo>
                    <a:pt x="857" y="1926"/>
                    <a:pt x="860" y="1932"/>
                    <a:pt x="871" y="1936"/>
                  </a:cubicBezTo>
                  <a:cubicBezTo>
                    <a:pt x="873" y="1937"/>
                    <a:pt x="873" y="1937"/>
                    <a:pt x="875" y="1939"/>
                  </a:cubicBezTo>
                  <a:cubicBezTo>
                    <a:pt x="880" y="1945"/>
                    <a:pt x="883" y="1954"/>
                    <a:pt x="886" y="1962"/>
                  </a:cubicBezTo>
                  <a:cubicBezTo>
                    <a:pt x="891" y="1972"/>
                    <a:pt x="896" y="1982"/>
                    <a:pt x="903" y="1992"/>
                  </a:cubicBezTo>
                  <a:cubicBezTo>
                    <a:pt x="932" y="2028"/>
                    <a:pt x="965" y="2016"/>
                    <a:pt x="992" y="2006"/>
                  </a:cubicBezTo>
                  <a:cubicBezTo>
                    <a:pt x="1008" y="2001"/>
                    <a:pt x="1023" y="1995"/>
                    <a:pt x="1038" y="2001"/>
                  </a:cubicBezTo>
                  <a:cubicBezTo>
                    <a:pt x="1049" y="2006"/>
                    <a:pt x="1056" y="2018"/>
                    <a:pt x="1064" y="2033"/>
                  </a:cubicBezTo>
                  <a:cubicBezTo>
                    <a:pt x="1071" y="2043"/>
                    <a:pt x="1077" y="2054"/>
                    <a:pt x="1086" y="2062"/>
                  </a:cubicBezTo>
                  <a:cubicBezTo>
                    <a:pt x="1110" y="2084"/>
                    <a:pt x="1138" y="2095"/>
                    <a:pt x="1166" y="2094"/>
                  </a:cubicBezTo>
                  <a:cubicBezTo>
                    <a:pt x="1203" y="2092"/>
                    <a:pt x="1222" y="2064"/>
                    <a:pt x="1239" y="2041"/>
                  </a:cubicBezTo>
                  <a:cubicBezTo>
                    <a:pt x="1247" y="2031"/>
                    <a:pt x="1254" y="2021"/>
                    <a:pt x="1262" y="2015"/>
                  </a:cubicBezTo>
                  <a:cubicBezTo>
                    <a:pt x="1273" y="2003"/>
                    <a:pt x="1285" y="1998"/>
                    <a:pt x="1295" y="2000"/>
                  </a:cubicBezTo>
                  <a:cubicBezTo>
                    <a:pt x="1303" y="2000"/>
                    <a:pt x="1311" y="2001"/>
                    <a:pt x="1321" y="2005"/>
                  </a:cubicBezTo>
                  <a:lnTo>
                    <a:pt x="1323" y="2005"/>
                  </a:lnTo>
                  <a:cubicBezTo>
                    <a:pt x="1339" y="2010"/>
                    <a:pt x="1359" y="2015"/>
                    <a:pt x="1380" y="2010"/>
                  </a:cubicBezTo>
                  <a:cubicBezTo>
                    <a:pt x="1405" y="2003"/>
                    <a:pt x="1405" y="2003"/>
                    <a:pt x="1430" y="2021"/>
                  </a:cubicBezTo>
                  <a:cubicBezTo>
                    <a:pt x="1438" y="2028"/>
                    <a:pt x="1450" y="2033"/>
                    <a:pt x="1460" y="2038"/>
                  </a:cubicBezTo>
                  <a:cubicBezTo>
                    <a:pt x="1473" y="2043"/>
                    <a:pt x="1486" y="2048"/>
                    <a:pt x="1492" y="2057"/>
                  </a:cubicBezTo>
                  <a:cubicBezTo>
                    <a:pt x="1499" y="2066"/>
                    <a:pt x="1502" y="2077"/>
                    <a:pt x="1501" y="2087"/>
                  </a:cubicBezTo>
                  <a:cubicBezTo>
                    <a:pt x="1501" y="2092"/>
                    <a:pt x="1497" y="2102"/>
                    <a:pt x="1488" y="2107"/>
                  </a:cubicBezTo>
                  <a:cubicBezTo>
                    <a:pt x="1483" y="2110"/>
                    <a:pt x="1478" y="2110"/>
                    <a:pt x="1469" y="2112"/>
                  </a:cubicBezTo>
                  <a:cubicBezTo>
                    <a:pt x="1456" y="2113"/>
                    <a:pt x="1438" y="2117"/>
                    <a:pt x="1428" y="2135"/>
                  </a:cubicBezTo>
                  <a:cubicBezTo>
                    <a:pt x="1420" y="2151"/>
                    <a:pt x="1423" y="2163"/>
                    <a:pt x="1427" y="2169"/>
                  </a:cubicBezTo>
                  <a:cubicBezTo>
                    <a:pt x="1430" y="2181"/>
                    <a:pt x="1440" y="2189"/>
                    <a:pt x="1453" y="2194"/>
                  </a:cubicBezTo>
                  <a:cubicBezTo>
                    <a:pt x="1451" y="2204"/>
                    <a:pt x="1451" y="2214"/>
                    <a:pt x="1451" y="2224"/>
                  </a:cubicBezTo>
                  <a:cubicBezTo>
                    <a:pt x="1451" y="2229"/>
                    <a:pt x="1451" y="2232"/>
                    <a:pt x="1451" y="2237"/>
                  </a:cubicBezTo>
                  <a:cubicBezTo>
                    <a:pt x="1451" y="2242"/>
                    <a:pt x="1450" y="2250"/>
                    <a:pt x="1448" y="2257"/>
                  </a:cubicBezTo>
                  <a:cubicBezTo>
                    <a:pt x="1445" y="2277"/>
                    <a:pt x="1441" y="2301"/>
                    <a:pt x="1455" y="2319"/>
                  </a:cubicBezTo>
                  <a:cubicBezTo>
                    <a:pt x="1463" y="2331"/>
                    <a:pt x="1473" y="2336"/>
                    <a:pt x="1483" y="2341"/>
                  </a:cubicBezTo>
                  <a:cubicBezTo>
                    <a:pt x="1488" y="2344"/>
                    <a:pt x="1491" y="2346"/>
                    <a:pt x="1496" y="2347"/>
                  </a:cubicBezTo>
                  <a:cubicBezTo>
                    <a:pt x="1507" y="2356"/>
                    <a:pt x="1512" y="2364"/>
                    <a:pt x="1520" y="2379"/>
                  </a:cubicBezTo>
                  <a:cubicBezTo>
                    <a:pt x="1532" y="2395"/>
                    <a:pt x="1544" y="2410"/>
                    <a:pt x="1555" y="2423"/>
                  </a:cubicBezTo>
                  <a:cubicBezTo>
                    <a:pt x="1562" y="2431"/>
                    <a:pt x="1568" y="2440"/>
                    <a:pt x="1575" y="2449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16" name="Freeform 52">
              <a:extLst>
                <a:ext uri="{FF2B5EF4-FFF2-40B4-BE49-F238E27FC236}">
                  <a16:creationId xmlns:a16="http://schemas.microsoft.com/office/drawing/2014/main" id="{BB7E9EF9-7D51-1F43-9A55-2DDF9C1720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6550" y="3624263"/>
              <a:ext cx="425450" cy="558800"/>
            </a:xfrm>
            <a:custGeom>
              <a:avLst/>
              <a:gdLst>
                <a:gd name="T0" fmla="*/ 1130 w 1184"/>
                <a:gd name="T1" fmla="*/ 664 h 1553"/>
                <a:gd name="T2" fmla="*/ 1114 w 1184"/>
                <a:gd name="T3" fmla="*/ 692 h 1553"/>
                <a:gd name="T4" fmla="*/ 1028 w 1184"/>
                <a:gd name="T5" fmla="*/ 695 h 1553"/>
                <a:gd name="T6" fmla="*/ 913 w 1184"/>
                <a:gd name="T7" fmla="*/ 661 h 1553"/>
                <a:gd name="T8" fmla="*/ 864 w 1184"/>
                <a:gd name="T9" fmla="*/ 592 h 1553"/>
                <a:gd name="T10" fmla="*/ 702 w 1184"/>
                <a:gd name="T11" fmla="*/ 605 h 1553"/>
                <a:gd name="T12" fmla="*/ 702 w 1184"/>
                <a:gd name="T13" fmla="*/ 712 h 1553"/>
                <a:gd name="T14" fmla="*/ 766 w 1184"/>
                <a:gd name="T15" fmla="*/ 852 h 1553"/>
                <a:gd name="T16" fmla="*/ 836 w 1184"/>
                <a:gd name="T17" fmla="*/ 877 h 1553"/>
                <a:gd name="T18" fmla="*/ 944 w 1184"/>
                <a:gd name="T19" fmla="*/ 913 h 1553"/>
                <a:gd name="T20" fmla="*/ 1073 w 1184"/>
                <a:gd name="T21" fmla="*/ 911 h 1553"/>
                <a:gd name="T22" fmla="*/ 976 w 1184"/>
                <a:gd name="T23" fmla="*/ 1026 h 1553"/>
                <a:gd name="T24" fmla="*/ 943 w 1184"/>
                <a:gd name="T25" fmla="*/ 1041 h 1553"/>
                <a:gd name="T26" fmla="*/ 849 w 1184"/>
                <a:gd name="T27" fmla="*/ 1049 h 1553"/>
                <a:gd name="T28" fmla="*/ 699 w 1184"/>
                <a:gd name="T29" fmla="*/ 1186 h 1553"/>
                <a:gd name="T30" fmla="*/ 630 w 1184"/>
                <a:gd name="T31" fmla="*/ 1290 h 1553"/>
                <a:gd name="T32" fmla="*/ 554 w 1184"/>
                <a:gd name="T33" fmla="*/ 1376 h 1553"/>
                <a:gd name="T34" fmla="*/ 450 w 1184"/>
                <a:gd name="T35" fmla="*/ 1509 h 1553"/>
                <a:gd name="T36" fmla="*/ 318 w 1184"/>
                <a:gd name="T37" fmla="*/ 1503 h 1553"/>
                <a:gd name="T38" fmla="*/ 155 w 1184"/>
                <a:gd name="T39" fmla="*/ 1458 h 1553"/>
                <a:gd name="T40" fmla="*/ 112 w 1184"/>
                <a:gd name="T41" fmla="*/ 1395 h 1553"/>
                <a:gd name="T42" fmla="*/ 134 w 1184"/>
                <a:gd name="T43" fmla="*/ 1353 h 1553"/>
                <a:gd name="T44" fmla="*/ 134 w 1184"/>
                <a:gd name="T45" fmla="*/ 1269 h 1553"/>
                <a:gd name="T46" fmla="*/ 160 w 1184"/>
                <a:gd name="T47" fmla="*/ 1236 h 1553"/>
                <a:gd name="T48" fmla="*/ 94 w 1184"/>
                <a:gd name="T49" fmla="*/ 1120 h 1553"/>
                <a:gd name="T50" fmla="*/ 69 w 1184"/>
                <a:gd name="T51" fmla="*/ 1056 h 1553"/>
                <a:gd name="T52" fmla="*/ 84 w 1184"/>
                <a:gd name="T53" fmla="*/ 995 h 1553"/>
                <a:gd name="T54" fmla="*/ 65 w 1184"/>
                <a:gd name="T55" fmla="*/ 883 h 1553"/>
                <a:gd name="T56" fmla="*/ 25 w 1184"/>
                <a:gd name="T57" fmla="*/ 717 h 1553"/>
                <a:gd name="T58" fmla="*/ 5 w 1184"/>
                <a:gd name="T59" fmla="*/ 633 h 1553"/>
                <a:gd name="T60" fmla="*/ 41 w 1184"/>
                <a:gd name="T61" fmla="*/ 463 h 1553"/>
                <a:gd name="T62" fmla="*/ 177 w 1184"/>
                <a:gd name="T63" fmla="*/ 255 h 1553"/>
                <a:gd name="T64" fmla="*/ 203 w 1184"/>
                <a:gd name="T65" fmla="*/ 206 h 1553"/>
                <a:gd name="T66" fmla="*/ 266 w 1184"/>
                <a:gd name="T67" fmla="*/ 216 h 1553"/>
                <a:gd name="T68" fmla="*/ 374 w 1184"/>
                <a:gd name="T69" fmla="*/ 185 h 1553"/>
                <a:gd name="T70" fmla="*/ 409 w 1184"/>
                <a:gd name="T71" fmla="*/ 61 h 1553"/>
                <a:gd name="T72" fmla="*/ 457 w 1184"/>
                <a:gd name="T73" fmla="*/ 51 h 1553"/>
                <a:gd name="T74" fmla="*/ 546 w 1184"/>
                <a:gd name="T75" fmla="*/ 35 h 1553"/>
                <a:gd name="T76" fmla="*/ 598 w 1184"/>
                <a:gd name="T77" fmla="*/ 12 h 1553"/>
                <a:gd name="T78" fmla="*/ 748 w 1184"/>
                <a:gd name="T79" fmla="*/ 127 h 1553"/>
                <a:gd name="T80" fmla="*/ 783 w 1184"/>
                <a:gd name="T81" fmla="*/ 194 h 1553"/>
                <a:gd name="T82" fmla="*/ 827 w 1184"/>
                <a:gd name="T83" fmla="*/ 237 h 1553"/>
                <a:gd name="T84" fmla="*/ 864 w 1184"/>
                <a:gd name="T85" fmla="*/ 315 h 1553"/>
                <a:gd name="T86" fmla="*/ 931 w 1184"/>
                <a:gd name="T87" fmla="*/ 353 h 1553"/>
                <a:gd name="T88" fmla="*/ 1012 w 1184"/>
                <a:gd name="T89" fmla="*/ 417 h 1553"/>
                <a:gd name="T90" fmla="*/ 1084 w 1184"/>
                <a:gd name="T91" fmla="*/ 471 h 1553"/>
                <a:gd name="T92" fmla="*/ 1122 w 1184"/>
                <a:gd name="T93" fmla="*/ 506 h 1553"/>
                <a:gd name="T94" fmla="*/ 1153 w 1184"/>
                <a:gd name="T95" fmla="*/ 507 h 1553"/>
                <a:gd name="T96" fmla="*/ 1162 w 1184"/>
                <a:gd name="T97" fmla="*/ 550 h 1553"/>
                <a:gd name="T98" fmla="*/ 1135 w 1184"/>
                <a:gd name="T99" fmla="*/ 605 h 1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84" h="1553">
                  <a:moveTo>
                    <a:pt x="1132" y="616"/>
                  </a:moveTo>
                  <a:cubicBezTo>
                    <a:pt x="1130" y="623"/>
                    <a:pt x="1127" y="629"/>
                    <a:pt x="1127" y="636"/>
                  </a:cubicBezTo>
                  <a:cubicBezTo>
                    <a:pt x="1125" y="649"/>
                    <a:pt x="1129" y="657"/>
                    <a:pt x="1130" y="664"/>
                  </a:cubicBezTo>
                  <a:cubicBezTo>
                    <a:pt x="1132" y="667"/>
                    <a:pt x="1134" y="669"/>
                    <a:pt x="1134" y="674"/>
                  </a:cubicBezTo>
                  <a:cubicBezTo>
                    <a:pt x="1137" y="687"/>
                    <a:pt x="1135" y="690"/>
                    <a:pt x="1135" y="690"/>
                  </a:cubicBezTo>
                  <a:cubicBezTo>
                    <a:pt x="1132" y="692"/>
                    <a:pt x="1122" y="692"/>
                    <a:pt x="1114" y="692"/>
                  </a:cubicBezTo>
                  <a:cubicBezTo>
                    <a:pt x="1109" y="692"/>
                    <a:pt x="1102" y="692"/>
                    <a:pt x="1096" y="692"/>
                  </a:cubicBezTo>
                  <a:cubicBezTo>
                    <a:pt x="1088" y="694"/>
                    <a:pt x="1081" y="694"/>
                    <a:pt x="1074" y="695"/>
                  </a:cubicBezTo>
                  <a:cubicBezTo>
                    <a:pt x="1058" y="697"/>
                    <a:pt x="1043" y="699"/>
                    <a:pt x="1028" y="695"/>
                  </a:cubicBezTo>
                  <a:lnTo>
                    <a:pt x="1022" y="694"/>
                  </a:lnTo>
                  <a:cubicBezTo>
                    <a:pt x="995" y="687"/>
                    <a:pt x="982" y="684"/>
                    <a:pt x="949" y="687"/>
                  </a:cubicBezTo>
                  <a:cubicBezTo>
                    <a:pt x="920" y="690"/>
                    <a:pt x="918" y="684"/>
                    <a:pt x="913" y="661"/>
                  </a:cubicBezTo>
                  <a:cubicBezTo>
                    <a:pt x="910" y="649"/>
                    <a:pt x="906" y="634"/>
                    <a:pt x="896" y="620"/>
                  </a:cubicBezTo>
                  <a:cubicBezTo>
                    <a:pt x="892" y="611"/>
                    <a:pt x="883" y="605"/>
                    <a:pt x="877" y="600"/>
                  </a:cubicBezTo>
                  <a:cubicBezTo>
                    <a:pt x="872" y="596"/>
                    <a:pt x="868" y="595"/>
                    <a:pt x="864" y="592"/>
                  </a:cubicBezTo>
                  <a:cubicBezTo>
                    <a:pt x="860" y="587"/>
                    <a:pt x="857" y="582"/>
                    <a:pt x="854" y="577"/>
                  </a:cubicBezTo>
                  <a:cubicBezTo>
                    <a:pt x="844" y="562"/>
                    <a:pt x="832" y="545"/>
                    <a:pt x="808" y="542"/>
                  </a:cubicBezTo>
                  <a:cubicBezTo>
                    <a:pt x="758" y="537"/>
                    <a:pt x="712" y="593"/>
                    <a:pt x="702" y="605"/>
                  </a:cubicBezTo>
                  <a:cubicBezTo>
                    <a:pt x="691" y="620"/>
                    <a:pt x="679" y="636"/>
                    <a:pt x="677" y="656"/>
                  </a:cubicBezTo>
                  <a:cubicBezTo>
                    <a:pt x="674" y="679"/>
                    <a:pt x="684" y="690"/>
                    <a:pt x="692" y="699"/>
                  </a:cubicBezTo>
                  <a:cubicBezTo>
                    <a:pt x="695" y="704"/>
                    <a:pt x="699" y="707"/>
                    <a:pt x="702" y="712"/>
                  </a:cubicBezTo>
                  <a:cubicBezTo>
                    <a:pt x="710" y="727"/>
                    <a:pt x="710" y="746"/>
                    <a:pt x="710" y="766"/>
                  </a:cubicBezTo>
                  <a:cubicBezTo>
                    <a:pt x="709" y="786"/>
                    <a:pt x="709" y="806"/>
                    <a:pt x="719" y="825"/>
                  </a:cubicBezTo>
                  <a:cubicBezTo>
                    <a:pt x="730" y="852"/>
                    <a:pt x="750" y="852"/>
                    <a:pt x="766" y="852"/>
                  </a:cubicBezTo>
                  <a:cubicBezTo>
                    <a:pt x="771" y="852"/>
                    <a:pt x="775" y="852"/>
                    <a:pt x="779" y="853"/>
                  </a:cubicBezTo>
                  <a:cubicBezTo>
                    <a:pt x="801" y="855"/>
                    <a:pt x="811" y="862"/>
                    <a:pt x="831" y="875"/>
                  </a:cubicBezTo>
                  <a:lnTo>
                    <a:pt x="836" y="877"/>
                  </a:lnTo>
                  <a:cubicBezTo>
                    <a:pt x="850" y="886"/>
                    <a:pt x="862" y="895"/>
                    <a:pt x="882" y="898"/>
                  </a:cubicBezTo>
                  <a:cubicBezTo>
                    <a:pt x="898" y="901"/>
                    <a:pt x="911" y="905"/>
                    <a:pt x="924" y="908"/>
                  </a:cubicBezTo>
                  <a:lnTo>
                    <a:pt x="944" y="913"/>
                  </a:lnTo>
                  <a:cubicBezTo>
                    <a:pt x="967" y="918"/>
                    <a:pt x="987" y="909"/>
                    <a:pt x="1004" y="901"/>
                  </a:cubicBezTo>
                  <a:cubicBezTo>
                    <a:pt x="1018" y="895"/>
                    <a:pt x="1032" y="890"/>
                    <a:pt x="1048" y="891"/>
                  </a:cubicBezTo>
                  <a:cubicBezTo>
                    <a:pt x="1061" y="895"/>
                    <a:pt x="1069" y="901"/>
                    <a:pt x="1073" y="911"/>
                  </a:cubicBezTo>
                  <a:cubicBezTo>
                    <a:pt x="1076" y="924"/>
                    <a:pt x="1068" y="939"/>
                    <a:pt x="1055" y="951"/>
                  </a:cubicBezTo>
                  <a:cubicBezTo>
                    <a:pt x="1045" y="957"/>
                    <a:pt x="1036" y="962"/>
                    <a:pt x="1027" y="967"/>
                  </a:cubicBezTo>
                  <a:cubicBezTo>
                    <a:pt x="1005" y="979"/>
                    <a:pt x="987" y="989"/>
                    <a:pt x="976" y="1026"/>
                  </a:cubicBezTo>
                  <a:lnTo>
                    <a:pt x="974" y="1033"/>
                  </a:lnTo>
                  <a:cubicBezTo>
                    <a:pt x="969" y="1049"/>
                    <a:pt x="967" y="1051"/>
                    <a:pt x="959" y="1053"/>
                  </a:cubicBezTo>
                  <a:cubicBezTo>
                    <a:pt x="954" y="1053"/>
                    <a:pt x="951" y="1049"/>
                    <a:pt x="943" y="1041"/>
                  </a:cubicBezTo>
                  <a:cubicBezTo>
                    <a:pt x="936" y="1035"/>
                    <a:pt x="928" y="1026"/>
                    <a:pt x="916" y="1025"/>
                  </a:cubicBezTo>
                  <a:cubicBezTo>
                    <a:pt x="893" y="1020"/>
                    <a:pt x="880" y="1030"/>
                    <a:pt x="868" y="1040"/>
                  </a:cubicBezTo>
                  <a:cubicBezTo>
                    <a:pt x="862" y="1045"/>
                    <a:pt x="855" y="1048"/>
                    <a:pt x="849" y="1049"/>
                  </a:cubicBezTo>
                  <a:cubicBezTo>
                    <a:pt x="837" y="1053"/>
                    <a:pt x="821" y="1045"/>
                    <a:pt x="801" y="1053"/>
                  </a:cubicBezTo>
                  <a:cubicBezTo>
                    <a:pt x="763" y="1066"/>
                    <a:pt x="737" y="1117"/>
                    <a:pt x="714" y="1157"/>
                  </a:cubicBezTo>
                  <a:cubicBezTo>
                    <a:pt x="709" y="1168"/>
                    <a:pt x="704" y="1178"/>
                    <a:pt x="699" y="1186"/>
                  </a:cubicBezTo>
                  <a:cubicBezTo>
                    <a:pt x="691" y="1198"/>
                    <a:pt x="686" y="1213"/>
                    <a:pt x="679" y="1226"/>
                  </a:cubicBezTo>
                  <a:cubicBezTo>
                    <a:pt x="669" y="1249"/>
                    <a:pt x="661" y="1270"/>
                    <a:pt x="641" y="1283"/>
                  </a:cubicBezTo>
                  <a:cubicBezTo>
                    <a:pt x="638" y="1285"/>
                    <a:pt x="633" y="1288"/>
                    <a:pt x="630" y="1290"/>
                  </a:cubicBezTo>
                  <a:cubicBezTo>
                    <a:pt x="616" y="1298"/>
                    <a:pt x="605" y="1305"/>
                    <a:pt x="593" y="1321"/>
                  </a:cubicBezTo>
                  <a:cubicBezTo>
                    <a:pt x="588" y="1330"/>
                    <a:pt x="583" y="1336"/>
                    <a:pt x="577" y="1343"/>
                  </a:cubicBezTo>
                  <a:cubicBezTo>
                    <a:pt x="569" y="1354"/>
                    <a:pt x="560" y="1364"/>
                    <a:pt x="554" y="1376"/>
                  </a:cubicBezTo>
                  <a:cubicBezTo>
                    <a:pt x="539" y="1400"/>
                    <a:pt x="532" y="1428"/>
                    <a:pt x="529" y="1456"/>
                  </a:cubicBezTo>
                  <a:cubicBezTo>
                    <a:pt x="513" y="1455"/>
                    <a:pt x="494" y="1460"/>
                    <a:pt x="475" y="1478"/>
                  </a:cubicBezTo>
                  <a:cubicBezTo>
                    <a:pt x="465" y="1488"/>
                    <a:pt x="457" y="1498"/>
                    <a:pt x="450" y="1509"/>
                  </a:cubicBezTo>
                  <a:cubicBezTo>
                    <a:pt x="434" y="1531"/>
                    <a:pt x="419" y="1550"/>
                    <a:pt x="396" y="1550"/>
                  </a:cubicBezTo>
                  <a:cubicBezTo>
                    <a:pt x="376" y="1552"/>
                    <a:pt x="353" y="1544"/>
                    <a:pt x="335" y="1527"/>
                  </a:cubicBezTo>
                  <a:cubicBezTo>
                    <a:pt x="330" y="1521"/>
                    <a:pt x="323" y="1512"/>
                    <a:pt x="318" y="1503"/>
                  </a:cubicBezTo>
                  <a:cubicBezTo>
                    <a:pt x="308" y="1486"/>
                    <a:pt x="298" y="1468"/>
                    <a:pt x="279" y="1460"/>
                  </a:cubicBezTo>
                  <a:cubicBezTo>
                    <a:pt x="256" y="1450"/>
                    <a:pt x="233" y="1458"/>
                    <a:pt x="213" y="1465"/>
                  </a:cubicBezTo>
                  <a:cubicBezTo>
                    <a:pt x="186" y="1475"/>
                    <a:pt x="172" y="1479"/>
                    <a:pt x="155" y="1458"/>
                  </a:cubicBezTo>
                  <a:cubicBezTo>
                    <a:pt x="150" y="1451"/>
                    <a:pt x="145" y="1443"/>
                    <a:pt x="142" y="1435"/>
                  </a:cubicBezTo>
                  <a:cubicBezTo>
                    <a:pt x="137" y="1425"/>
                    <a:pt x="134" y="1415"/>
                    <a:pt x="127" y="1405"/>
                  </a:cubicBezTo>
                  <a:cubicBezTo>
                    <a:pt x="121" y="1399"/>
                    <a:pt x="116" y="1397"/>
                    <a:pt x="112" y="1395"/>
                  </a:cubicBezTo>
                  <a:cubicBezTo>
                    <a:pt x="112" y="1394"/>
                    <a:pt x="112" y="1392"/>
                    <a:pt x="111" y="1389"/>
                  </a:cubicBezTo>
                  <a:cubicBezTo>
                    <a:pt x="109" y="1379"/>
                    <a:pt x="121" y="1367"/>
                    <a:pt x="129" y="1358"/>
                  </a:cubicBezTo>
                  <a:lnTo>
                    <a:pt x="134" y="1353"/>
                  </a:lnTo>
                  <a:cubicBezTo>
                    <a:pt x="135" y="1351"/>
                    <a:pt x="137" y="1348"/>
                    <a:pt x="139" y="1346"/>
                  </a:cubicBezTo>
                  <a:cubicBezTo>
                    <a:pt x="152" y="1333"/>
                    <a:pt x="168" y="1316"/>
                    <a:pt x="153" y="1287"/>
                  </a:cubicBezTo>
                  <a:cubicBezTo>
                    <a:pt x="149" y="1278"/>
                    <a:pt x="140" y="1274"/>
                    <a:pt x="134" y="1269"/>
                  </a:cubicBezTo>
                  <a:cubicBezTo>
                    <a:pt x="122" y="1260"/>
                    <a:pt x="121" y="1259"/>
                    <a:pt x="122" y="1254"/>
                  </a:cubicBezTo>
                  <a:cubicBezTo>
                    <a:pt x="122" y="1249"/>
                    <a:pt x="127" y="1247"/>
                    <a:pt x="139" y="1244"/>
                  </a:cubicBezTo>
                  <a:cubicBezTo>
                    <a:pt x="147" y="1242"/>
                    <a:pt x="153" y="1241"/>
                    <a:pt x="160" y="1236"/>
                  </a:cubicBezTo>
                  <a:cubicBezTo>
                    <a:pt x="185" y="1219"/>
                    <a:pt x="205" y="1180"/>
                    <a:pt x="193" y="1150"/>
                  </a:cubicBezTo>
                  <a:cubicBezTo>
                    <a:pt x="185" y="1127"/>
                    <a:pt x="157" y="1109"/>
                    <a:pt x="135" y="1107"/>
                  </a:cubicBezTo>
                  <a:cubicBezTo>
                    <a:pt x="119" y="1105"/>
                    <a:pt x="104" y="1114"/>
                    <a:pt x="94" y="1120"/>
                  </a:cubicBezTo>
                  <a:cubicBezTo>
                    <a:pt x="86" y="1125"/>
                    <a:pt x="79" y="1129"/>
                    <a:pt x="71" y="1129"/>
                  </a:cubicBezTo>
                  <a:cubicBezTo>
                    <a:pt x="66" y="1129"/>
                    <a:pt x="63" y="1127"/>
                    <a:pt x="63" y="1124"/>
                  </a:cubicBezTo>
                  <a:cubicBezTo>
                    <a:pt x="53" y="1110"/>
                    <a:pt x="65" y="1073"/>
                    <a:pt x="69" y="1056"/>
                  </a:cubicBezTo>
                  <a:lnTo>
                    <a:pt x="71" y="1048"/>
                  </a:lnTo>
                  <a:cubicBezTo>
                    <a:pt x="71" y="1045"/>
                    <a:pt x="73" y="1040"/>
                    <a:pt x="76" y="1035"/>
                  </a:cubicBezTo>
                  <a:cubicBezTo>
                    <a:pt x="79" y="1021"/>
                    <a:pt x="84" y="1008"/>
                    <a:pt x="84" y="995"/>
                  </a:cubicBezTo>
                  <a:cubicBezTo>
                    <a:pt x="86" y="977"/>
                    <a:pt x="78" y="962"/>
                    <a:pt x="71" y="951"/>
                  </a:cubicBezTo>
                  <a:cubicBezTo>
                    <a:pt x="69" y="946"/>
                    <a:pt x="66" y="939"/>
                    <a:pt x="63" y="933"/>
                  </a:cubicBezTo>
                  <a:cubicBezTo>
                    <a:pt x="58" y="916"/>
                    <a:pt x="61" y="901"/>
                    <a:pt x="65" y="883"/>
                  </a:cubicBezTo>
                  <a:cubicBezTo>
                    <a:pt x="68" y="872"/>
                    <a:pt x="71" y="858"/>
                    <a:pt x="71" y="845"/>
                  </a:cubicBezTo>
                  <a:cubicBezTo>
                    <a:pt x="71" y="816"/>
                    <a:pt x="58" y="781"/>
                    <a:pt x="46" y="751"/>
                  </a:cubicBezTo>
                  <a:cubicBezTo>
                    <a:pt x="41" y="738"/>
                    <a:pt x="33" y="727"/>
                    <a:pt x="25" y="717"/>
                  </a:cubicBezTo>
                  <a:cubicBezTo>
                    <a:pt x="20" y="708"/>
                    <a:pt x="15" y="702"/>
                    <a:pt x="10" y="694"/>
                  </a:cubicBezTo>
                  <a:cubicBezTo>
                    <a:pt x="0" y="676"/>
                    <a:pt x="2" y="661"/>
                    <a:pt x="5" y="639"/>
                  </a:cubicBezTo>
                  <a:lnTo>
                    <a:pt x="5" y="633"/>
                  </a:lnTo>
                  <a:cubicBezTo>
                    <a:pt x="7" y="616"/>
                    <a:pt x="5" y="601"/>
                    <a:pt x="5" y="585"/>
                  </a:cubicBezTo>
                  <a:cubicBezTo>
                    <a:pt x="4" y="572"/>
                    <a:pt x="2" y="559"/>
                    <a:pt x="4" y="545"/>
                  </a:cubicBezTo>
                  <a:cubicBezTo>
                    <a:pt x="7" y="516"/>
                    <a:pt x="25" y="486"/>
                    <a:pt x="41" y="463"/>
                  </a:cubicBezTo>
                  <a:cubicBezTo>
                    <a:pt x="56" y="443"/>
                    <a:pt x="76" y="423"/>
                    <a:pt x="94" y="405"/>
                  </a:cubicBezTo>
                  <a:cubicBezTo>
                    <a:pt x="121" y="379"/>
                    <a:pt x="149" y="351"/>
                    <a:pt x="167" y="318"/>
                  </a:cubicBezTo>
                  <a:cubicBezTo>
                    <a:pt x="180" y="293"/>
                    <a:pt x="178" y="275"/>
                    <a:pt x="177" y="255"/>
                  </a:cubicBezTo>
                  <a:cubicBezTo>
                    <a:pt x="175" y="249"/>
                    <a:pt x="175" y="241"/>
                    <a:pt x="175" y="232"/>
                  </a:cubicBezTo>
                  <a:cubicBezTo>
                    <a:pt x="177" y="219"/>
                    <a:pt x="180" y="211"/>
                    <a:pt x="185" y="208"/>
                  </a:cubicBezTo>
                  <a:cubicBezTo>
                    <a:pt x="188" y="204"/>
                    <a:pt x="195" y="203"/>
                    <a:pt x="203" y="206"/>
                  </a:cubicBezTo>
                  <a:cubicBezTo>
                    <a:pt x="205" y="206"/>
                    <a:pt x="206" y="208"/>
                    <a:pt x="208" y="209"/>
                  </a:cubicBezTo>
                  <a:cubicBezTo>
                    <a:pt x="211" y="214"/>
                    <a:pt x="218" y="219"/>
                    <a:pt x="228" y="222"/>
                  </a:cubicBezTo>
                  <a:cubicBezTo>
                    <a:pt x="239" y="224"/>
                    <a:pt x="254" y="219"/>
                    <a:pt x="266" y="216"/>
                  </a:cubicBezTo>
                  <a:cubicBezTo>
                    <a:pt x="270" y="214"/>
                    <a:pt x="275" y="213"/>
                    <a:pt x="280" y="211"/>
                  </a:cubicBezTo>
                  <a:lnTo>
                    <a:pt x="287" y="211"/>
                  </a:lnTo>
                  <a:cubicBezTo>
                    <a:pt x="318" y="204"/>
                    <a:pt x="345" y="199"/>
                    <a:pt x="374" y="185"/>
                  </a:cubicBezTo>
                  <a:cubicBezTo>
                    <a:pt x="406" y="168"/>
                    <a:pt x="417" y="155"/>
                    <a:pt x="415" y="120"/>
                  </a:cubicBezTo>
                  <a:cubicBezTo>
                    <a:pt x="414" y="112"/>
                    <a:pt x="414" y="104"/>
                    <a:pt x="412" y="96"/>
                  </a:cubicBezTo>
                  <a:cubicBezTo>
                    <a:pt x="412" y="84"/>
                    <a:pt x="410" y="73"/>
                    <a:pt x="409" y="61"/>
                  </a:cubicBezTo>
                  <a:lnTo>
                    <a:pt x="414" y="61"/>
                  </a:lnTo>
                  <a:cubicBezTo>
                    <a:pt x="422" y="63"/>
                    <a:pt x="429" y="63"/>
                    <a:pt x="437" y="61"/>
                  </a:cubicBezTo>
                  <a:cubicBezTo>
                    <a:pt x="447" y="59"/>
                    <a:pt x="453" y="54"/>
                    <a:pt x="457" y="51"/>
                  </a:cubicBezTo>
                  <a:cubicBezTo>
                    <a:pt x="460" y="48"/>
                    <a:pt x="462" y="46"/>
                    <a:pt x="465" y="46"/>
                  </a:cubicBezTo>
                  <a:cubicBezTo>
                    <a:pt x="471" y="43"/>
                    <a:pt x="481" y="45"/>
                    <a:pt x="493" y="46"/>
                  </a:cubicBezTo>
                  <a:cubicBezTo>
                    <a:pt x="508" y="48"/>
                    <a:pt x="527" y="50"/>
                    <a:pt x="546" y="35"/>
                  </a:cubicBezTo>
                  <a:cubicBezTo>
                    <a:pt x="555" y="26"/>
                    <a:pt x="560" y="13"/>
                    <a:pt x="562" y="0"/>
                  </a:cubicBezTo>
                  <a:cubicBezTo>
                    <a:pt x="569" y="2"/>
                    <a:pt x="575" y="3"/>
                    <a:pt x="582" y="3"/>
                  </a:cubicBezTo>
                  <a:cubicBezTo>
                    <a:pt x="588" y="5"/>
                    <a:pt x="597" y="8"/>
                    <a:pt x="598" y="12"/>
                  </a:cubicBezTo>
                  <a:cubicBezTo>
                    <a:pt x="600" y="13"/>
                    <a:pt x="602" y="17"/>
                    <a:pt x="602" y="20"/>
                  </a:cubicBezTo>
                  <a:cubicBezTo>
                    <a:pt x="610" y="53"/>
                    <a:pt x="625" y="89"/>
                    <a:pt x="671" y="110"/>
                  </a:cubicBezTo>
                  <a:cubicBezTo>
                    <a:pt x="697" y="122"/>
                    <a:pt x="727" y="125"/>
                    <a:pt x="748" y="127"/>
                  </a:cubicBezTo>
                  <a:cubicBezTo>
                    <a:pt x="753" y="129"/>
                    <a:pt x="758" y="129"/>
                    <a:pt x="761" y="130"/>
                  </a:cubicBezTo>
                  <a:cubicBezTo>
                    <a:pt x="766" y="134"/>
                    <a:pt x="766" y="142"/>
                    <a:pt x="768" y="153"/>
                  </a:cubicBezTo>
                  <a:cubicBezTo>
                    <a:pt x="770" y="166"/>
                    <a:pt x="771" y="183"/>
                    <a:pt x="783" y="194"/>
                  </a:cubicBezTo>
                  <a:cubicBezTo>
                    <a:pt x="791" y="201"/>
                    <a:pt x="799" y="204"/>
                    <a:pt x="808" y="206"/>
                  </a:cubicBezTo>
                  <a:cubicBezTo>
                    <a:pt x="812" y="208"/>
                    <a:pt x="817" y="208"/>
                    <a:pt x="821" y="211"/>
                  </a:cubicBezTo>
                  <a:cubicBezTo>
                    <a:pt x="827" y="216"/>
                    <a:pt x="827" y="229"/>
                    <a:pt x="827" y="237"/>
                  </a:cubicBezTo>
                  <a:lnTo>
                    <a:pt x="827" y="244"/>
                  </a:lnTo>
                  <a:cubicBezTo>
                    <a:pt x="826" y="255"/>
                    <a:pt x="824" y="270"/>
                    <a:pt x="831" y="283"/>
                  </a:cubicBezTo>
                  <a:cubicBezTo>
                    <a:pt x="836" y="297"/>
                    <a:pt x="847" y="308"/>
                    <a:pt x="864" y="315"/>
                  </a:cubicBezTo>
                  <a:cubicBezTo>
                    <a:pt x="877" y="320"/>
                    <a:pt x="892" y="321"/>
                    <a:pt x="903" y="321"/>
                  </a:cubicBezTo>
                  <a:lnTo>
                    <a:pt x="931" y="325"/>
                  </a:lnTo>
                  <a:cubicBezTo>
                    <a:pt x="929" y="335"/>
                    <a:pt x="929" y="343"/>
                    <a:pt x="931" y="353"/>
                  </a:cubicBezTo>
                  <a:cubicBezTo>
                    <a:pt x="939" y="377"/>
                    <a:pt x="957" y="384"/>
                    <a:pt x="972" y="391"/>
                  </a:cubicBezTo>
                  <a:cubicBezTo>
                    <a:pt x="977" y="391"/>
                    <a:pt x="984" y="394"/>
                    <a:pt x="989" y="395"/>
                  </a:cubicBezTo>
                  <a:cubicBezTo>
                    <a:pt x="997" y="400"/>
                    <a:pt x="1004" y="409"/>
                    <a:pt x="1012" y="417"/>
                  </a:cubicBezTo>
                  <a:cubicBezTo>
                    <a:pt x="1017" y="423"/>
                    <a:pt x="1023" y="430"/>
                    <a:pt x="1032" y="437"/>
                  </a:cubicBezTo>
                  <a:cubicBezTo>
                    <a:pt x="1040" y="445"/>
                    <a:pt x="1050" y="448"/>
                    <a:pt x="1058" y="453"/>
                  </a:cubicBezTo>
                  <a:cubicBezTo>
                    <a:pt x="1068" y="458"/>
                    <a:pt x="1078" y="463"/>
                    <a:pt x="1084" y="471"/>
                  </a:cubicBezTo>
                  <a:cubicBezTo>
                    <a:pt x="1088" y="475"/>
                    <a:pt x="1091" y="478"/>
                    <a:pt x="1093" y="481"/>
                  </a:cubicBezTo>
                  <a:cubicBezTo>
                    <a:pt x="1097" y="489"/>
                    <a:pt x="1102" y="496"/>
                    <a:pt x="1114" y="503"/>
                  </a:cubicBezTo>
                  <a:cubicBezTo>
                    <a:pt x="1117" y="503"/>
                    <a:pt x="1119" y="504"/>
                    <a:pt x="1122" y="506"/>
                  </a:cubicBezTo>
                  <a:cubicBezTo>
                    <a:pt x="1130" y="507"/>
                    <a:pt x="1140" y="507"/>
                    <a:pt x="1149" y="507"/>
                  </a:cubicBezTo>
                  <a:cubicBezTo>
                    <a:pt x="1150" y="507"/>
                    <a:pt x="1152" y="507"/>
                    <a:pt x="1153" y="507"/>
                  </a:cubicBezTo>
                  <a:lnTo>
                    <a:pt x="1153" y="507"/>
                  </a:lnTo>
                  <a:cubicBezTo>
                    <a:pt x="1158" y="507"/>
                    <a:pt x="1163" y="507"/>
                    <a:pt x="1167" y="509"/>
                  </a:cubicBezTo>
                  <a:cubicBezTo>
                    <a:pt x="1175" y="512"/>
                    <a:pt x="1180" y="516"/>
                    <a:pt x="1181" y="519"/>
                  </a:cubicBezTo>
                  <a:cubicBezTo>
                    <a:pt x="1183" y="526"/>
                    <a:pt x="1170" y="540"/>
                    <a:pt x="1162" y="550"/>
                  </a:cubicBezTo>
                  <a:lnTo>
                    <a:pt x="1155" y="557"/>
                  </a:lnTo>
                  <a:cubicBezTo>
                    <a:pt x="1142" y="573"/>
                    <a:pt x="1139" y="585"/>
                    <a:pt x="1135" y="600"/>
                  </a:cubicBezTo>
                  <a:lnTo>
                    <a:pt x="1135" y="605"/>
                  </a:lnTo>
                  <a:cubicBezTo>
                    <a:pt x="1134" y="608"/>
                    <a:pt x="1132" y="611"/>
                    <a:pt x="1132" y="61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17" name="Freeform 53">
              <a:extLst>
                <a:ext uri="{FF2B5EF4-FFF2-40B4-BE49-F238E27FC236}">
                  <a16:creationId xmlns:a16="http://schemas.microsoft.com/office/drawing/2014/main" id="{A5270C14-116C-AD4D-9E74-992D76128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6750" y="3154363"/>
              <a:ext cx="182563" cy="290512"/>
            </a:xfrm>
            <a:custGeom>
              <a:avLst/>
              <a:gdLst>
                <a:gd name="T0" fmla="*/ 0 w 508"/>
                <a:gd name="T1" fmla="*/ 664 h 807"/>
                <a:gd name="T2" fmla="*/ 3 w 508"/>
                <a:gd name="T3" fmla="*/ 648 h 807"/>
                <a:gd name="T4" fmla="*/ 6 w 508"/>
                <a:gd name="T5" fmla="*/ 635 h 807"/>
                <a:gd name="T6" fmla="*/ 21 w 508"/>
                <a:gd name="T7" fmla="*/ 615 h 807"/>
                <a:gd name="T8" fmla="*/ 44 w 508"/>
                <a:gd name="T9" fmla="*/ 569 h 807"/>
                <a:gd name="T10" fmla="*/ 26 w 508"/>
                <a:gd name="T11" fmla="*/ 532 h 807"/>
                <a:gd name="T12" fmla="*/ 11 w 508"/>
                <a:gd name="T13" fmla="*/ 501 h 807"/>
                <a:gd name="T14" fmla="*/ 100 w 508"/>
                <a:gd name="T15" fmla="*/ 429 h 807"/>
                <a:gd name="T16" fmla="*/ 148 w 508"/>
                <a:gd name="T17" fmla="*/ 404 h 807"/>
                <a:gd name="T18" fmla="*/ 211 w 508"/>
                <a:gd name="T19" fmla="*/ 327 h 807"/>
                <a:gd name="T20" fmla="*/ 166 w 508"/>
                <a:gd name="T21" fmla="*/ 249 h 807"/>
                <a:gd name="T22" fmla="*/ 148 w 508"/>
                <a:gd name="T23" fmla="*/ 236 h 807"/>
                <a:gd name="T24" fmla="*/ 89 w 508"/>
                <a:gd name="T25" fmla="*/ 183 h 807"/>
                <a:gd name="T26" fmla="*/ 84 w 508"/>
                <a:gd name="T27" fmla="*/ 165 h 807"/>
                <a:gd name="T28" fmla="*/ 90 w 508"/>
                <a:gd name="T29" fmla="*/ 155 h 807"/>
                <a:gd name="T30" fmla="*/ 100 w 508"/>
                <a:gd name="T31" fmla="*/ 142 h 807"/>
                <a:gd name="T32" fmla="*/ 102 w 508"/>
                <a:gd name="T33" fmla="*/ 137 h 807"/>
                <a:gd name="T34" fmla="*/ 99 w 508"/>
                <a:gd name="T35" fmla="*/ 68 h 807"/>
                <a:gd name="T36" fmla="*/ 87 w 508"/>
                <a:gd name="T37" fmla="*/ 42 h 807"/>
                <a:gd name="T38" fmla="*/ 97 w 508"/>
                <a:gd name="T39" fmla="*/ 12 h 807"/>
                <a:gd name="T40" fmla="*/ 123 w 508"/>
                <a:gd name="T41" fmla="*/ 0 h 807"/>
                <a:gd name="T42" fmla="*/ 143 w 508"/>
                <a:gd name="T43" fmla="*/ 9 h 807"/>
                <a:gd name="T44" fmla="*/ 156 w 508"/>
                <a:gd name="T45" fmla="*/ 15 h 807"/>
                <a:gd name="T46" fmla="*/ 188 w 508"/>
                <a:gd name="T47" fmla="*/ 22 h 807"/>
                <a:gd name="T48" fmla="*/ 198 w 508"/>
                <a:gd name="T49" fmla="*/ 20 h 807"/>
                <a:gd name="T50" fmla="*/ 280 w 508"/>
                <a:gd name="T51" fmla="*/ 33 h 807"/>
                <a:gd name="T52" fmla="*/ 308 w 508"/>
                <a:gd name="T53" fmla="*/ 83 h 807"/>
                <a:gd name="T54" fmla="*/ 316 w 508"/>
                <a:gd name="T55" fmla="*/ 127 h 807"/>
                <a:gd name="T56" fmla="*/ 359 w 508"/>
                <a:gd name="T57" fmla="*/ 154 h 807"/>
                <a:gd name="T58" fmla="*/ 384 w 508"/>
                <a:gd name="T59" fmla="*/ 152 h 807"/>
                <a:gd name="T60" fmla="*/ 407 w 508"/>
                <a:gd name="T61" fmla="*/ 157 h 807"/>
                <a:gd name="T62" fmla="*/ 425 w 508"/>
                <a:gd name="T63" fmla="*/ 178 h 807"/>
                <a:gd name="T64" fmla="*/ 430 w 508"/>
                <a:gd name="T65" fmla="*/ 188 h 807"/>
                <a:gd name="T66" fmla="*/ 435 w 508"/>
                <a:gd name="T67" fmla="*/ 193 h 807"/>
                <a:gd name="T68" fmla="*/ 507 w 508"/>
                <a:gd name="T69" fmla="*/ 246 h 807"/>
                <a:gd name="T70" fmla="*/ 502 w 508"/>
                <a:gd name="T71" fmla="*/ 274 h 807"/>
                <a:gd name="T72" fmla="*/ 476 w 508"/>
                <a:gd name="T73" fmla="*/ 307 h 807"/>
                <a:gd name="T74" fmla="*/ 458 w 508"/>
                <a:gd name="T75" fmla="*/ 328 h 807"/>
                <a:gd name="T76" fmla="*/ 418 w 508"/>
                <a:gd name="T77" fmla="*/ 402 h 807"/>
                <a:gd name="T78" fmla="*/ 427 w 508"/>
                <a:gd name="T79" fmla="*/ 457 h 807"/>
                <a:gd name="T80" fmla="*/ 435 w 508"/>
                <a:gd name="T81" fmla="*/ 480 h 807"/>
                <a:gd name="T82" fmla="*/ 400 w 508"/>
                <a:gd name="T83" fmla="*/ 508 h 807"/>
                <a:gd name="T84" fmla="*/ 390 w 508"/>
                <a:gd name="T85" fmla="*/ 509 h 807"/>
                <a:gd name="T86" fmla="*/ 336 w 508"/>
                <a:gd name="T87" fmla="*/ 560 h 807"/>
                <a:gd name="T88" fmla="*/ 321 w 508"/>
                <a:gd name="T89" fmla="*/ 724 h 807"/>
                <a:gd name="T90" fmla="*/ 334 w 508"/>
                <a:gd name="T91" fmla="*/ 738 h 807"/>
                <a:gd name="T92" fmla="*/ 341 w 508"/>
                <a:gd name="T93" fmla="*/ 760 h 807"/>
                <a:gd name="T94" fmla="*/ 313 w 508"/>
                <a:gd name="T95" fmla="*/ 804 h 807"/>
                <a:gd name="T96" fmla="*/ 285 w 508"/>
                <a:gd name="T97" fmla="*/ 793 h 807"/>
                <a:gd name="T98" fmla="*/ 257 w 508"/>
                <a:gd name="T99" fmla="*/ 780 h 807"/>
                <a:gd name="T100" fmla="*/ 170 w 508"/>
                <a:gd name="T101" fmla="*/ 758 h 807"/>
                <a:gd name="T102" fmla="*/ 109 w 508"/>
                <a:gd name="T103" fmla="*/ 763 h 807"/>
                <a:gd name="T104" fmla="*/ 49 w 508"/>
                <a:gd name="T105" fmla="*/ 743 h 807"/>
                <a:gd name="T106" fmla="*/ 36 w 508"/>
                <a:gd name="T107" fmla="*/ 719 h 807"/>
                <a:gd name="T108" fmla="*/ 0 w 508"/>
                <a:gd name="T109" fmla="*/ 664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8" h="807">
                  <a:moveTo>
                    <a:pt x="0" y="664"/>
                  </a:moveTo>
                  <a:cubicBezTo>
                    <a:pt x="3" y="659"/>
                    <a:pt x="3" y="653"/>
                    <a:pt x="3" y="648"/>
                  </a:cubicBezTo>
                  <a:cubicBezTo>
                    <a:pt x="5" y="643"/>
                    <a:pt x="5" y="640"/>
                    <a:pt x="6" y="635"/>
                  </a:cubicBezTo>
                  <a:cubicBezTo>
                    <a:pt x="8" y="626"/>
                    <a:pt x="15" y="621"/>
                    <a:pt x="21" y="615"/>
                  </a:cubicBezTo>
                  <a:cubicBezTo>
                    <a:pt x="33" y="603"/>
                    <a:pt x="48" y="590"/>
                    <a:pt x="44" y="569"/>
                  </a:cubicBezTo>
                  <a:cubicBezTo>
                    <a:pt x="41" y="554"/>
                    <a:pt x="33" y="542"/>
                    <a:pt x="26" y="532"/>
                  </a:cubicBezTo>
                  <a:cubicBezTo>
                    <a:pt x="18" y="523"/>
                    <a:pt x="11" y="514"/>
                    <a:pt x="11" y="501"/>
                  </a:cubicBezTo>
                  <a:cubicBezTo>
                    <a:pt x="13" y="470"/>
                    <a:pt x="59" y="448"/>
                    <a:pt x="100" y="429"/>
                  </a:cubicBezTo>
                  <a:cubicBezTo>
                    <a:pt x="118" y="420"/>
                    <a:pt x="137" y="412"/>
                    <a:pt x="148" y="404"/>
                  </a:cubicBezTo>
                  <a:cubicBezTo>
                    <a:pt x="175" y="386"/>
                    <a:pt x="206" y="361"/>
                    <a:pt x="211" y="327"/>
                  </a:cubicBezTo>
                  <a:cubicBezTo>
                    <a:pt x="219" y="289"/>
                    <a:pt x="189" y="267"/>
                    <a:pt x="166" y="249"/>
                  </a:cubicBezTo>
                  <a:cubicBezTo>
                    <a:pt x="161" y="246"/>
                    <a:pt x="155" y="241"/>
                    <a:pt x="148" y="236"/>
                  </a:cubicBezTo>
                  <a:cubicBezTo>
                    <a:pt x="125" y="221"/>
                    <a:pt x="100" y="203"/>
                    <a:pt x="89" y="183"/>
                  </a:cubicBezTo>
                  <a:cubicBezTo>
                    <a:pt x="82" y="175"/>
                    <a:pt x="81" y="170"/>
                    <a:pt x="84" y="165"/>
                  </a:cubicBezTo>
                  <a:cubicBezTo>
                    <a:pt x="84" y="163"/>
                    <a:pt x="87" y="160"/>
                    <a:pt x="90" y="155"/>
                  </a:cubicBezTo>
                  <a:cubicBezTo>
                    <a:pt x="94" y="152"/>
                    <a:pt x="97" y="147"/>
                    <a:pt x="100" y="142"/>
                  </a:cubicBezTo>
                  <a:cubicBezTo>
                    <a:pt x="100" y="140"/>
                    <a:pt x="102" y="139"/>
                    <a:pt x="102" y="137"/>
                  </a:cubicBezTo>
                  <a:cubicBezTo>
                    <a:pt x="118" y="107"/>
                    <a:pt x="109" y="86"/>
                    <a:pt x="99" y="68"/>
                  </a:cubicBezTo>
                  <a:cubicBezTo>
                    <a:pt x="94" y="60"/>
                    <a:pt x="89" y="51"/>
                    <a:pt x="87" y="42"/>
                  </a:cubicBezTo>
                  <a:cubicBezTo>
                    <a:pt x="86" y="30"/>
                    <a:pt x="90" y="20"/>
                    <a:pt x="97" y="12"/>
                  </a:cubicBezTo>
                  <a:cubicBezTo>
                    <a:pt x="104" y="5"/>
                    <a:pt x="114" y="0"/>
                    <a:pt x="123" y="0"/>
                  </a:cubicBezTo>
                  <a:cubicBezTo>
                    <a:pt x="130" y="0"/>
                    <a:pt x="137" y="4"/>
                    <a:pt x="143" y="9"/>
                  </a:cubicBezTo>
                  <a:cubicBezTo>
                    <a:pt x="148" y="12"/>
                    <a:pt x="151" y="14"/>
                    <a:pt x="156" y="15"/>
                  </a:cubicBezTo>
                  <a:cubicBezTo>
                    <a:pt x="171" y="23"/>
                    <a:pt x="179" y="22"/>
                    <a:pt x="188" y="22"/>
                  </a:cubicBezTo>
                  <a:cubicBezTo>
                    <a:pt x="191" y="20"/>
                    <a:pt x="194" y="20"/>
                    <a:pt x="198" y="20"/>
                  </a:cubicBezTo>
                  <a:cubicBezTo>
                    <a:pt x="217" y="22"/>
                    <a:pt x="244" y="27"/>
                    <a:pt x="280" y="33"/>
                  </a:cubicBezTo>
                  <a:cubicBezTo>
                    <a:pt x="305" y="38"/>
                    <a:pt x="306" y="53"/>
                    <a:pt x="308" y="83"/>
                  </a:cubicBezTo>
                  <a:cubicBezTo>
                    <a:pt x="308" y="98"/>
                    <a:pt x="310" y="114"/>
                    <a:pt x="316" y="127"/>
                  </a:cubicBezTo>
                  <a:cubicBezTo>
                    <a:pt x="323" y="140"/>
                    <a:pt x="336" y="152"/>
                    <a:pt x="359" y="154"/>
                  </a:cubicBezTo>
                  <a:cubicBezTo>
                    <a:pt x="371" y="155"/>
                    <a:pt x="379" y="154"/>
                    <a:pt x="384" y="152"/>
                  </a:cubicBezTo>
                  <a:cubicBezTo>
                    <a:pt x="394" y="150"/>
                    <a:pt x="397" y="149"/>
                    <a:pt x="407" y="157"/>
                  </a:cubicBezTo>
                  <a:cubicBezTo>
                    <a:pt x="413" y="162"/>
                    <a:pt x="418" y="170"/>
                    <a:pt x="425" y="178"/>
                  </a:cubicBezTo>
                  <a:cubicBezTo>
                    <a:pt x="427" y="182"/>
                    <a:pt x="428" y="185"/>
                    <a:pt x="430" y="188"/>
                  </a:cubicBezTo>
                  <a:lnTo>
                    <a:pt x="435" y="193"/>
                  </a:lnTo>
                  <a:cubicBezTo>
                    <a:pt x="450" y="216"/>
                    <a:pt x="471" y="246"/>
                    <a:pt x="507" y="246"/>
                  </a:cubicBezTo>
                  <a:cubicBezTo>
                    <a:pt x="507" y="256"/>
                    <a:pt x="506" y="266"/>
                    <a:pt x="502" y="274"/>
                  </a:cubicBezTo>
                  <a:cubicBezTo>
                    <a:pt x="499" y="285"/>
                    <a:pt x="488" y="295"/>
                    <a:pt x="476" y="307"/>
                  </a:cubicBezTo>
                  <a:cubicBezTo>
                    <a:pt x="469" y="315"/>
                    <a:pt x="463" y="322"/>
                    <a:pt x="458" y="328"/>
                  </a:cubicBezTo>
                  <a:cubicBezTo>
                    <a:pt x="443" y="346"/>
                    <a:pt x="425" y="374"/>
                    <a:pt x="418" y="402"/>
                  </a:cubicBezTo>
                  <a:cubicBezTo>
                    <a:pt x="410" y="427"/>
                    <a:pt x="418" y="443"/>
                    <a:pt x="427" y="457"/>
                  </a:cubicBezTo>
                  <a:cubicBezTo>
                    <a:pt x="430" y="465"/>
                    <a:pt x="433" y="471"/>
                    <a:pt x="435" y="480"/>
                  </a:cubicBezTo>
                  <a:cubicBezTo>
                    <a:pt x="436" y="496"/>
                    <a:pt x="428" y="501"/>
                    <a:pt x="400" y="508"/>
                  </a:cubicBezTo>
                  <a:cubicBezTo>
                    <a:pt x="397" y="508"/>
                    <a:pt x="394" y="509"/>
                    <a:pt x="390" y="509"/>
                  </a:cubicBezTo>
                  <a:cubicBezTo>
                    <a:pt x="359" y="518"/>
                    <a:pt x="347" y="534"/>
                    <a:pt x="336" y="560"/>
                  </a:cubicBezTo>
                  <a:cubicBezTo>
                    <a:pt x="313" y="612"/>
                    <a:pt x="291" y="674"/>
                    <a:pt x="321" y="724"/>
                  </a:cubicBezTo>
                  <a:cubicBezTo>
                    <a:pt x="326" y="730"/>
                    <a:pt x="329" y="735"/>
                    <a:pt x="334" y="738"/>
                  </a:cubicBezTo>
                  <a:cubicBezTo>
                    <a:pt x="341" y="747"/>
                    <a:pt x="343" y="748"/>
                    <a:pt x="341" y="760"/>
                  </a:cubicBezTo>
                  <a:cubicBezTo>
                    <a:pt x="339" y="775"/>
                    <a:pt x="333" y="801"/>
                    <a:pt x="313" y="804"/>
                  </a:cubicBezTo>
                  <a:cubicBezTo>
                    <a:pt x="305" y="806"/>
                    <a:pt x="295" y="799"/>
                    <a:pt x="285" y="793"/>
                  </a:cubicBezTo>
                  <a:cubicBezTo>
                    <a:pt x="277" y="788"/>
                    <a:pt x="267" y="783"/>
                    <a:pt x="257" y="780"/>
                  </a:cubicBezTo>
                  <a:cubicBezTo>
                    <a:pt x="229" y="773"/>
                    <a:pt x="198" y="765"/>
                    <a:pt x="170" y="758"/>
                  </a:cubicBezTo>
                  <a:cubicBezTo>
                    <a:pt x="147" y="753"/>
                    <a:pt x="127" y="758"/>
                    <a:pt x="109" y="763"/>
                  </a:cubicBezTo>
                  <a:cubicBezTo>
                    <a:pt x="82" y="770"/>
                    <a:pt x="67" y="773"/>
                    <a:pt x="49" y="743"/>
                  </a:cubicBezTo>
                  <a:cubicBezTo>
                    <a:pt x="44" y="735"/>
                    <a:pt x="41" y="727"/>
                    <a:pt x="36" y="719"/>
                  </a:cubicBezTo>
                  <a:cubicBezTo>
                    <a:pt x="26" y="700"/>
                    <a:pt x="16" y="682"/>
                    <a:pt x="0" y="664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18" name="Freeform 54">
              <a:extLst>
                <a:ext uri="{FF2B5EF4-FFF2-40B4-BE49-F238E27FC236}">
                  <a16:creationId xmlns:a16="http://schemas.microsoft.com/office/drawing/2014/main" id="{D746E65C-31B3-594E-A577-1C7FAE99A1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7325" y="2276475"/>
              <a:ext cx="773113" cy="749300"/>
            </a:xfrm>
            <a:custGeom>
              <a:avLst/>
              <a:gdLst>
                <a:gd name="T0" fmla="*/ 1767 w 2149"/>
                <a:gd name="T1" fmla="*/ 428 h 2081"/>
                <a:gd name="T2" fmla="*/ 1771 w 2149"/>
                <a:gd name="T3" fmla="*/ 515 h 2081"/>
                <a:gd name="T4" fmla="*/ 1833 w 2149"/>
                <a:gd name="T5" fmla="*/ 632 h 2081"/>
                <a:gd name="T6" fmla="*/ 1863 w 2149"/>
                <a:gd name="T7" fmla="*/ 701 h 2081"/>
                <a:gd name="T8" fmla="*/ 1965 w 2149"/>
                <a:gd name="T9" fmla="*/ 876 h 2081"/>
                <a:gd name="T10" fmla="*/ 2034 w 2149"/>
                <a:gd name="T11" fmla="*/ 851 h 2081"/>
                <a:gd name="T12" fmla="*/ 2071 w 2149"/>
                <a:gd name="T13" fmla="*/ 986 h 2081"/>
                <a:gd name="T14" fmla="*/ 2018 w 2149"/>
                <a:gd name="T15" fmla="*/ 1144 h 2081"/>
                <a:gd name="T16" fmla="*/ 2018 w 2149"/>
                <a:gd name="T17" fmla="*/ 1224 h 2081"/>
                <a:gd name="T18" fmla="*/ 2029 w 2149"/>
                <a:gd name="T19" fmla="*/ 1319 h 2081"/>
                <a:gd name="T20" fmla="*/ 1963 w 2149"/>
                <a:gd name="T21" fmla="*/ 1350 h 2081"/>
                <a:gd name="T22" fmla="*/ 1894 w 2149"/>
                <a:gd name="T23" fmla="*/ 1319 h 2081"/>
                <a:gd name="T24" fmla="*/ 1837 w 2149"/>
                <a:gd name="T25" fmla="*/ 1283 h 2081"/>
                <a:gd name="T26" fmla="*/ 1787 w 2149"/>
                <a:gd name="T27" fmla="*/ 1291 h 2081"/>
                <a:gd name="T28" fmla="*/ 1725 w 2149"/>
                <a:gd name="T29" fmla="*/ 1273 h 2081"/>
                <a:gd name="T30" fmla="*/ 1697 w 2149"/>
                <a:gd name="T31" fmla="*/ 1199 h 2081"/>
                <a:gd name="T32" fmla="*/ 1520 w 2149"/>
                <a:gd name="T33" fmla="*/ 1092 h 2081"/>
                <a:gd name="T34" fmla="*/ 1397 w 2149"/>
                <a:gd name="T35" fmla="*/ 1059 h 2081"/>
                <a:gd name="T36" fmla="*/ 1445 w 2149"/>
                <a:gd name="T37" fmla="*/ 1280 h 2081"/>
                <a:gd name="T38" fmla="*/ 1393 w 2149"/>
                <a:gd name="T39" fmla="*/ 1433 h 2081"/>
                <a:gd name="T40" fmla="*/ 1296 w 2149"/>
                <a:gd name="T41" fmla="*/ 1523 h 2081"/>
                <a:gd name="T42" fmla="*/ 1217 w 2149"/>
                <a:gd name="T43" fmla="*/ 1665 h 2081"/>
                <a:gd name="T44" fmla="*/ 1296 w 2149"/>
                <a:gd name="T45" fmla="*/ 1726 h 2081"/>
                <a:gd name="T46" fmla="*/ 1425 w 2149"/>
                <a:gd name="T47" fmla="*/ 1685 h 2081"/>
                <a:gd name="T48" fmla="*/ 1487 w 2149"/>
                <a:gd name="T49" fmla="*/ 1803 h 2081"/>
                <a:gd name="T50" fmla="*/ 1398 w 2149"/>
                <a:gd name="T51" fmla="*/ 1863 h 2081"/>
                <a:gd name="T52" fmla="*/ 1293 w 2149"/>
                <a:gd name="T53" fmla="*/ 1995 h 2081"/>
                <a:gd name="T54" fmla="*/ 1244 w 2149"/>
                <a:gd name="T55" fmla="*/ 2065 h 2081"/>
                <a:gd name="T56" fmla="*/ 1071 w 2149"/>
                <a:gd name="T57" fmla="*/ 2067 h 2081"/>
                <a:gd name="T58" fmla="*/ 1038 w 2149"/>
                <a:gd name="T59" fmla="*/ 2031 h 2081"/>
                <a:gd name="T60" fmla="*/ 992 w 2149"/>
                <a:gd name="T61" fmla="*/ 1942 h 2081"/>
                <a:gd name="T62" fmla="*/ 909 w 2149"/>
                <a:gd name="T63" fmla="*/ 1950 h 2081"/>
                <a:gd name="T64" fmla="*/ 886 w 2149"/>
                <a:gd name="T65" fmla="*/ 1851 h 2081"/>
                <a:gd name="T66" fmla="*/ 819 w 2149"/>
                <a:gd name="T67" fmla="*/ 1795 h 2081"/>
                <a:gd name="T68" fmla="*/ 812 w 2149"/>
                <a:gd name="T69" fmla="*/ 1718 h 2081"/>
                <a:gd name="T70" fmla="*/ 646 w 2149"/>
                <a:gd name="T71" fmla="*/ 1649 h 2081"/>
                <a:gd name="T72" fmla="*/ 484 w 2149"/>
                <a:gd name="T73" fmla="*/ 1581 h 2081"/>
                <a:gd name="T74" fmla="*/ 408 w 2149"/>
                <a:gd name="T75" fmla="*/ 1487 h 2081"/>
                <a:gd name="T76" fmla="*/ 280 w 2149"/>
                <a:gd name="T77" fmla="*/ 1397 h 2081"/>
                <a:gd name="T78" fmla="*/ 178 w 2149"/>
                <a:gd name="T79" fmla="*/ 1293 h 2081"/>
                <a:gd name="T80" fmla="*/ 110 w 2149"/>
                <a:gd name="T81" fmla="*/ 1242 h 2081"/>
                <a:gd name="T82" fmla="*/ 67 w 2149"/>
                <a:gd name="T83" fmla="*/ 1189 h 2081"/>
                <a:gd name="T84" fmla="*/ 16 w 2149"/>
                <a:gd name="T85" fmla="*/ 1112 h 2081"/>
                <a:gd name="T86" fmla="*/ 29 w 2149"/>
                <a:gd name="T87" fmla="*/ 962 h 2081"/>
                <a:gd name="T88" fmla="*/ 141 w 2149"/>
                <a:gd name="T89" fmla="*/ 835 h 2081"/>
                <a:gd name="T90" fmla="*/ 227 w 2149"/>
                <a:gd name="T91" fmla="*/ 728 h 2081"/>
                <a:gd name="T92" fmla="*/ 326 w 2149"/>
                <a:gd name="T93" fmla="*/ 598 h 2081"/>
                <a:gd name="T94" fmla="*/ 281 w 2149"/>
                <a:gd name="T95" fmla="*/ 520 h 2081"/>
                <a:gd name="T96" fmla="*/ 326 w 2149"/>
                <a:gd name="T97" fmla="*/ 395 h 2081"/>
                <a:gd name="T98" fmla="*/ 390 w 2149"/>
                <a:gd name="T99" fmla="*/ 298 h 2081"/>
                <a:gd name="T100" fmla="*/ 443 w 2149"/>
                <a:gd name="T101" fmla="*/ 280 h 2081"/>
                <a:gd name="T102" fmla="*/ 538 w 2149"/>
                <a:gd name="T103" fmla="*/ 265 h 2081"/>
                <a:gd name="T104" fmla="*/ 606 w 2149"/>
                <a:gd name="T105" fmla="*/ 362 h 2081"/>
                <a:gd name="T106" fmla="*/ 738 w 2149"/>
                <a:gd name="T107" fmla="*/ 271 h 2081"/>
                <a:gd name="T108" fmla="*/ 716 w 2149"/>
                <a:gd name="T109" fmla="*/ 49 h 2081"/>
                <a:gd name="T110" fmla="*/ 850 w 2149"/>
                <a:gd name="T111" fmla="*/ 3 h 2081"/>
                <a:gd name="T112" fmla="*/ 904 w 2149"/>
                <a:gd name="T113" fmla="*/ 270 h 2081"/>
                <a:gd name="T114" fmla="*/ 998 w 2149"/>
                <a:gd name="T115" fmla="*/ 484 h 2081"/>
                <a:gd name="T116" fmla="*/ 1156 w 2149"/>
                <a:gd name="T117" fmla="*/ 232 h 2081"/>
                <a:gd name="T118" fmla="*/ 1413 w 2149"/>
                <a:gd name="T119" fmla="*/ 250 h 2081"/>
                <a:gd name="T120" fmla="*/ 1650 w 2149"/>
                <a:gd name="T121" fmla="*/ 329 h 2081"/>
                <a:gd name="T122" fmla="*/ 1652 w 2149"/>
                <a:gd name="T123" fmla="*/ 428 h 2081"/>
                <a:gd name="T124" fmla="*/ 1669 w 2149"/>
                <a:gd name="T125" fmla="*/ 517 h 20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9" h="2081">
                  <a:moveTo>
                    <a:pt x="1669" y="517"/>
                  </a:moveTo>
                  <a:cubicBezTo>
                    <a:pt x="1688" y="492"/>
                    <a:pt x="1702" y="467"/>
                    <a:pt x="1730" y="448"/>
                  </a:cubicBezTo>
                  <a:cubicBezTo>
                    <a:pt x="1743" y="441"/>
                    <a:pt x="1756" y="434"/>
                    <a:pt x="1767" y="428"/>
                  </a:cubicBezTo>
                  <a:cubicBezTo>
                    <a:pt x="1771" y="441"/>
                    <a:pt x="1772" y="454"/>
                    <a:pt x="1772" y="467"/>
                  </a:cubicBezTo>
                  <a:cubicBezTo>
                    <a:pt x="1772" y="472"/>
                    <a:pt x="1771" y="476"/>
                    <a:pt x="1771" y="481"/>
                  </a:cubicBezTo>
                  <a:cubicBezTo>
                    <a:pt x="1771" y="492"/>
                    <a:pt x="1769" y="504"/>
                    <a:pt x="1771" y="515"/>
                  </a:cubicBezTo>
                  <a:cubicBezTo>
                    <a:pt x="1776" y="540"/>
                    <a:pt x="1789" y="556"/>
                    <a:pt x="1804" y="574"/>
                  </a:cubicBezTo>
                  <a:cubicBezTo>
                    <a:pt x="1812" y="586"/>
                    <a:pt x="1822" y="598"/>
                    <a:pt x="1827" y="609"/>
                  </a:cubicBezTo>
                  <a:cubicBezTo>
                    <a:pt x="1830" y="617"/>
                    <a:pt x="1832" y="624"/>
                    <a:pt x="1833" y="632"/>
                  </a:cubicBezTo>
                  <a:cubicBezTo>
                    <a:pt x="1835" y="639"/>
                    <a:pt x="1837" y="645"/>
                    <a:pt x="1838" y="652"/>
                  </a:cubicBezTo>
                  <a:cubicBezTo>
                    <a:pt x="1843" y="663"/>
                    <a:pt x="1850" y="677"/>
                    <a:pt x="1855" y="688"/>
                  </a:cubicBezTo>
                  <a:cubicBezTo>
                    <a:pt x="1858" y="691"/>
                    <a:pt x="1860" y="696"/>
                    <a:pt x="1863" y="701"/>
                  </a:cubicBezTo>
                  <a:cubicBezTo>
                    <a:pt x="1873" y="723"/>
                    <a:pt x="1881" y="746"/>
                    <a:pt x="1889" y="769"/>
                  </a:cubicBezTo>
                  <a:cubicBezTo>
                    <a:pt x="1894" y="787"/>
                    <a:pt x="1901" y="803"/>
                    <a:pt x="1907" y="820"/>
                  </a:cubicBezTo>
                  <a:cubicBezTo>
                    <a:pt x="1922" y="855"/>
                    <a:pt x="1940" y="874"/>
                    <a:pt x="1965" y="876"/>
                  </a:cubicBezTo>
                  <a:lnTo>
                    <a:pt x="1965" y="876"/>
                  </a:lnTo>
                  <a:cubicBezTo>
                    <a:pt x="1985" y="879"/>
                    <a:pt x="2001" y="869"/>
                    <a:pt x="2015" y="861"/>
                  </a:cubicBezTo>
                  <a:cubicBezTo>
                    <a:pt x="2021" y="858"/>
                    <a:pt x="2028" y="855"/>
                    <a:pt x="2034" y="851"/>
                  </a:cubicBezTo>
                  <a:cubicBezTo>
                    <a:pt x="2069" y="840"/>
                    <a:pt x="2105" y="863"/>
                    <a:pt x="2128" y="886"/>
                  </a:cubicBezTo>
                  <a:cubicBezTo>
                    <a:pt x="2135" y="894"/>
                    <a:pt x="2141" y="902"/>
                    <a:pt x="2148" y="911"/>
                  </a:cubicBezTo>
                  <a:cubicBezTo>
                    <a:pt x="2115" y="930"/>
                    <a:pt x="2090" y="962"/>
                    <a:pt x="2071" y="986"/>
                  </a:cubicBezTo>
                  <a:cubicBezTo>
                    <a:pt x="2061" y="999"/>
                    <a:pt x="2051" y="1011"/>
                    <a:pt x="2039" y="1023"/>
                  </a:cubicBezTo>
                  <a:cubicBezTo>
                    <a:pt x="2029" y="1034"/>
                    <a:pt x="2019" y="1046"/>
                    <a:pt x="2011" y="1056"/>
                  </a:cubicBezTo>
                  <a:cubicBezTo>
                    <a:pt x="1980" y="1095"/>
                    <a:pt x="1998" y="1120"/>
                    <a:pt x="2018" y="1144"/>
                  </a:cubicBezTo>
                  <a:lnTo>
                    <a:pt x="2024" y="1154"/>
                  </a:lnTo>
                  <a:cubicBezTo>
                    <a:pt x="2039" y="1172"/>
                    <a:pt x="2036" y="1179"/>
                    <a:pt x="2028" y="1197"/>
                  </a:cubicBezTo>
                  <a:cubicBezTo>
                    <a:pt x="2024" y="1205"/>
                    <a:pt x="2021" y="1214"/>
                    <a:pt x="2018" y="1224"/>
                  </a:cubicBezTo>
                  <a:cubicBezTo>
                    <a:pt x="2013" y="1240"/>
                    <a:pt x="2015" y="1258"/>
                    <a:pt x="2015" y="1271"/>
                  </a:cubicBezTo>
                  <a:cubicBezTo>
                    <a:pt x="2016" y="1280"/>
                    <a:pt x="2019" y="1289"/>
                    <a:pt x="2023" y="1299"/>
                  </a:cubicBezTo>
                  <a:cubicBezTo>
                    <a:pt x="2026" y="1306"/>
                    <a:pt x="2029" y="1314"/>
                    <a:pt x="2029" y="1319"/>
                  </a:cubicBezTo>
                  <a:cubicBezTo>
                    <a:pt x="2029" y="1332"/>
                    <a:pt x="2010" y="1360"/>
                    <a:pt x="1993" y="1370"/>
                  </a:cubicBezTo>
                  <a:cubicBezTo>
                    <a:pt x="1990" y="1372"/>
                    <a:pt x="1985" y="1375"/>
                    <a:pt x="1980" y="1373"/>
                  </a:cubicBezTo>
                  <a:cubicBezTo>
                    <a:pt x="1975" y="1372"/>
                    <a:pt x="1968" y="1360"/>
                    <a:pt x="1963" y="1350"/>
                  </a:cubicBezTo>
                  <a:cubicBezTo>
                    <a:pt x="1962" y="1347"/>
                    <a:pt x="1959" y="1342"/>
                    <a:pt x="1957" y="1339"/>
                  </a:cubicBezTo>
                  <a:cubicBezTo>
                    <a:pt x="1950" y="1329"/>
                    <a:pt x="1940" y="1314"/>
                    <a:pt x="1924" y="1311"/>
                  </a:cubicBezTo>
                  <a:cubicBezTo>
                    <a:pt x="1911" y="1308"/>
                    <a:pt x="1901" y="1316"/>
                    <a:pt x="1894" y="1319"/>
                  </a:cubicBezTo>
                  <a:cubicBezTo>
                    <a:pt x="1893" y="1322"/>
                    <a:pt x="1889" y="1324"/>
                    <a:pt x="1888" y="1324"/>
                  </a:cubicBezTo>
                  <a:cubicBezTo>
                    <a:pt x="1879" y="1326"/>
                    <a:pt x="1878" y="1322"/>
                    <a:pt x="1870" y="1311"/>
                  </a:cubicBezTo>
                  <a:cubicBezTo>
                    <a:pt x="1863" y="1301"/>
                    <a:pt x="1855" y="1286"/>
                    <a:pt x="1837" y="1283"/>
                  </a:cubicBezTo>
                  <a:cubicBezTo>
                    <a:pt x="1825" y="1281"/>
                    <a:pt x="1815" y="1286"/>
                    <a:pt x="1809" y="1289"/>
                  </a:cubicBezTo>
                  <a:cubicBezTo>
                    <a:pt x="1805" y="1291"/>
                    <a:pt x="1802" y="1293"/>
                    <a:pt x="1800" y="1293"/>
                  </a:cubicBezTo>
                  <a:cubicBezTo>
                    <a:pt x="1794" y="1294"/>
                    <a:pt x="1794" y="1294"/>
                    <a:pt x="1787" y="1291"/>
                  </a:cubicBezTo>
                  <a:cubicBezTo>
                    <a:pt x="1786" y="1291"/>
                    <a:pt x="1782" y="1291"/>
                    <a:pt x="1779" y="1289"/>
                  </a:cubicBezTo>
                  <a:cubicBezTo>
                    <a:pt x="1771" y="1286"/>
                    <a:pt x="1763" y="1286"/>
                    <a:pt x="1754" y="1284"/>
                  </a:cubicBezTo>
                  <a:cubicBezTo>
                    <a:pt x="1733" y="1284"/>
                    <a:pt x="1726" y="1281"/>
                    <a:pt x="1725" y="1273"/>
                  </a:cubicBezTo>
                  <a:cubicBezTo>
                    <a:pt x="1723" y="1270"/>
                    <a:pt x="1725" y="1266"/>
                    <a:pt x="1726" y="1261"/>
                  </a:cubicBezTo>
                  <a:cubicBezTo>
                    <a:pt x="1728" y="1255"/>
                    <a:pt x="1730" y="1247"/>
                    <a:pt x="1726" y="1237"/>
                  </a:cubicBezTo>
                  <a:cubicBezTo>
                    <a:pt x="1723" y="1220"/>
                    <a:pt x="1710" y="1210"/>
                    <a:pt x="1697" y="1199"/>
                  </a:cubicBezTo>
                  <a:cubicBezTo>
                    <a:pt x="1665" y="1172"/>
                    <a:pt x="1632" y="1149"/>
                    <a:pt x="1603" y="1130"/>
                  </a:cubicBezTo>
                  <a:cubicBezTo>
                    <a:pt x="1588" y="1120"/>
                    <a:pt x="1571" y="1113"/>
                    <a:pt x="1557" y="1108"/>
                  </a:cubicBezTo>
                  <a:cubicBezTo>
                    <a:pt x="1543" y="1103"/>
                    <a:pt x="1532" y="1098"/>
                    <a:pt x="1520" y="1092"/>
                  </a:cubicBezTo>
                  <a:cubicBezTo>
                    <a:pt x="1514" y="1087"/>
                    <a:pt x="1507" y="1082"/>
                    <a:pt x="1501" y="1074"/>
                  </a:cubicBezTo>
                  <a:cubicBezTo>
                    <a:pt x="1484" y="1059"/>
                    <a:pt x="1468" y="1042"/>
                    <a:pt x="1438" y="1042"/>
                  </a:cubicBezTo>
                  <a:cubicBezTo>
                    <a:pt x="1413" y="1041"/>
                    <a:pt x="1402" y="1051"/>
                    <a:pt x="1397" y="1059"/>
                  </a:cubicBezTo>
                  <a:cubicBezTo>
                    <a:pt x="1379" y="1088"/>
                    <a:pt x="1402" y="1140"/>
                    <a:pt x="1430" y="1191"/>
                  </a:cubicBezTo>
                  <a:lnTo>
                    <a:pt x="1435" y="1199"/>
                  </a:lnTo>
                  <a:cubicBezTo>
                    <a:pt x="1449" y="1230"/>
                    <a:pt x="1451" y="1247"/>
                    <a:pt x="1445" y="1280"/>
                  </a:cubicBezTo>
                  <a:cubicBezTo>
                    <a:pt x="1438" y="1308"/>
                    <a:pt x="1428" y="1317"/>
                    <a:pt x="1412" y="1337"/>
                  </a:cubicBezTo>
                  <a:lnTo>
                    <a:pt x="1403" y="1349"/>
                  </a:lnTo>
                  <a:cubicBezTo>
                    <a:pt x="1382" y="1373"/>
                    <a:pt x="1387" y="1405"/>
                    <a:pt x="1393" y="1433"/>
                  </a:cubicBezTo>
                  <a:cubicBezTo>
                    <a:pt x="1400" y="1469"/>
                    <a:pt x="1402" y="1484"/>
                    <a:pt x="1372" y="1494"/>
                  </a:cubicBezTo>
                  <a:cubicBezTo>
                    <a:pt x="1365" y="1495"/>
                    <a:pt x="1357" y="1497"/>
                    <a:pt x="1351" y="1499"/>
                  </a:cubicBezTo>
                  <a:cubicBezTo>
                    <a:pt x="1333" y="1502"/>
                    <a:pt x="1311" y="1505"/>
                    <a:pt x="1296" y="1523"/>
                  </a:cubicBezTo>
                  <a:cubicBezTo>
                    <a:pt x="1286" y="1533"/>
                    <a:pt x="1281" y="1545"/>
                    <a:pt x="1278" y="1553"/>
                  </a:cubicBezTo>
                  <a:cubicBezTo>
                    <a:pt x="1272" y="1566"/>
                    <a:pt x="1267" y="1576"/>
                    <a:pt x="1253" y="1586"/>
                  </a:cubicBezTo>
                  <a:cubicBezTo>
                    <a:pt x="1227" y="1606"/>
                    <a:pt x="1216" y="1632"/>
                    <a:pt x="1217" y="1665"/>
                  </a:cubicBezTo>
                  <a:cubicBezTo>
                    <a:pt x="1219" y="1700"/>
                    <a:pt x="1244" y="1705"/>
                    <a:pt x="1260" y="1710"/>
                  </a:cubicBezTo>
                  <a:cubicBezTo>
                    <a:pt x="1270" y="1711"/>
                    <a:pt x="1277" y="1713"/>
                    <a:pt x="1285" y="1718"/>
                  </a:cubicBezTo>
                  <a:cubicBezTo>
                    <a:pt x="1288" y="1721"/>
                    <a:pt x="1293" y="1723"/>
                    <a:pt x="1296" y="1726"/>
                  </a:cubicBezTo>
                  <a:cubicBezTo>
                    <a:pt x="1314" y="1739"/>
                    <a:pt x="1331" y="1752"/>
                    <a:pt x="1365" y="1731"/>
                  </a:cubicBezTo>
                  <a:cubicBezTo>
                    <a:pt x="1375" y="1724"/>
                    <a:pt x="1384" y="1714"/>
                    <a:pt x="1392" y="1706"/>
                  </a:cubicBezTo>
                  <a:cubicBezTo>
                    <a:pt x="1402" y="1696"/>
                    <a:pt x="1410" y="1686"/>
                    <a:pt x="1425" y="1685"/>
                  </a:cubicBezTo>
                  <a:cubicBezTo>
                    <a:pt x="1454" y="1678"/>
                    <a:pt x="1487" y="1686"/>
                    <a:pt x="1509" y="1705"/>
                  </a:cubicBezTo>
                  <a:cubicBezTo>
                    <a:pt x="1522" y="1716"/>
                    <a:pt x="1529" y="1731"/>
                    <a:pt x="1529" y="1749"/>
                  </a:cubicBezTo>
                  <a:cubicBezTo>
                    <a:pt x="1527" y="1774"/>
                    <a:pt x="1512" y="1787"/>
                    <a:pt x="1487" y="1803"/>
                  </a:cubicBezTo>
                  <a:cubicBezTo>
                    <a:pt x="1476" y="1812"/>
                    <a:pt x="1466" y="1822"/>
                    <a:pt x="1458" y="1830"/>
                  </a:cubicBezTo>
                  <a:cubicBezTo>
                    <a:pt x="1449" y="1838"/>
                    <a:pt x="1443" y="1845"/>
                    <a:pt x="1435" y="1851"/>
                  </a:cubicBezTo>
                  <a:cubicBezTo>
                    <a:pt x="1425" y="1858"/>
                    <a:pt x="1412" y="1861"/>
                    <a:pt x="1398" y="1863"/>
                  </a:cubicBezTo>
                  <a:cubicBezTo>
                    <a:pt x="1387" y="1866"/>
                    <a:pt x="1374" y="1869"/>
                    <a:pt x="1361" y="1874"/>
                  </a:cubicBezTo>
                  <a:cubicBezTo>
                    <a:pt x="1342" y="1886"/>
                    <a:pt x="1300" y="1920"/>
                    <a:pt x="1288" y="1943"/>
                  </a:cubicBezTo>
                  <a:cubicBezTo>
                    <a:pt x="1280" y="1963"/>
                    <a:pt x="1286" y="1981"/>
                    <a:pt x="1293" y="1995"/>
                  </a:cubicBezTo>
                  <a:cubicBezTo>
                    <a:pt x="1296" y="2004"/>
                    <a:pt x="1300" y="2014"/>
                    <a:pt x="1298" y="2023"/>
                  </a:cubicBezTo>
                  <a:cubicBezTo>
                    <a:pt x="1295" y="2032"/>
                    <a:pt x="1275" y="2046"/>
                    <a:pt x="1260" y="2055"/>
                  </a:cubicBezTo>
                  <a:cubicBezTo>
                    <a:pt x="1253" y="2059"/>
                    <a:pt x="1249" y="2062"/>
                    <a:pt x="1244" y="2065"/>
                  </a:cubicBezTo>
                  <a:cubicBezTo>
                    <a:pt x="1224" y="2080"/>
                    <a:pt x="1216" y="2079"/>
                    <a:pt x="1191" y="2069"/>
                  </a:cubicBezTo>
                  <a:lnTo>
                    <a:pt x="1178" y="2064"/>
                  </a:lnTo>
                  <a:cubicBezTo>
                    <a:pt x="1133" y="2047"/>
                    <a:pt x="1097" y="2049"/>
                    <a:pt x="1071" y="2067"/>
                  </a:cubicBezTo>
                  <a:cubicBezTo>
                    <a:pt x="1066" y="2069"/>
                    <a:pt x="1062" y="2072"/>
                    <a:pt x="1059" y="2075"/>
                  </a:cubicBezTo>
                  <a:cubicBezTo>
                    <a:pt x="1048" y="2065"/>
                    <a:pt x="1038" y="2055"/>
                    <a:pt x="1036" y="2044"/>
                  </a:cubicBezTo>
                  <a:cubicBezTo>
                    <a:pt x="1036" y="2041"/>
                    <a:pt x="1036" y="2036"/>
                    <a:pt x="1038" y="2031"/>
                  </a:cubicBezTo>
                  <a:cubicBezTo>
                    <a:pt x="1039" y="2024"/>
                    <a:pt x="1039" y="2016"/>
                    <a:pt x="1039" y="2008"/>
                  </a:cubicBezTo>
                  <a:cubicBezTo>
                    <a:pt x="1038" y="1996"/>
                    <a:pt x="1029" y="1986"/>
                    <a:pt x="1024" y="1980"/>
                  </a:cubicBezTo>
                  <a:cubicBezTo>
                    <a:pt x="1016" y="1965"/>
                    <a:pt x="1006" y="1952"/>
                    <a:pt x="992" y="1942"/>
                  </a:cubicBezTo>
                  <a:cubicBezTo>
                    <a:pt x="973" y="1930"/>
                    <a:pt x="952" y="1927"/>
                    <a:pt x="936" y="1934"/>
                  </a:cubicBezTo>
                  <a:cubicBezTo>
                    <a:pt x="927" y="1937"/>
                    <a:pt x="921" y="1942"/>
                    <a:pt x="916" y="1945"/>
                  </a:cubicBezTo>
                  <a:lnTo>
                    <a:pt x="909" y="1950"/>
                  </a:lnTo>
                  <a:cubicBezTo>
                    <a:pt x="903" y="1939"/>
                    <a:pt x="899" y="1924"/>
                    <a:pt x="899" y="1909"/>
                  </a:cubicBezTo>
                  <a:cubicBezTo>
                    <a:pt x="898" y="1906"/>
                    <a:pt x="899" y="1902"/>
                    <a:pt x="899" y="1899"/>
                  </a:cubicBezTo>
                  <a:cubicBezTo>
                    <a:pt x="899" y="1884"/>
                    <a:pt x="899" y="1866"/>
                    <a:pt x="886" y="1851"/>
                  </a:cubicBezTo>
                  <a:cubicBezTo>
                    <a:pt x="878" y="1843"/>
                    <a:pt x="868" y="1838"/>
                    <a:pt x="858" y="1835"/>
                  </a:cubicBezTo>
                  <a:cubicBezTo>
                    <a:pt x="851" y="1833"/>
                    <a:pt x="845" y="1831"/>
                    <a:pt x="838" y="1826"/>
                  </a:cubicBezTo>
                  <a:cubicBezTo>
                    <a:pt x="827" y="1817"/>
                    <a:pt x="819" y="1803"/>
                    <a:pt x="819" y="1795"/>
                  </a:cubicBezTo>
                  <a:cubicBezTo>
                    <a:pt x="819" y="1792"/>
                    <a:pt x="820" y="1789"/>
                    <a:pt x="823" y="1782"/>
                  </a:cubicBezTo>
                  <a:cubicBezTo>
                    <a:pt x="828" y="1774"/>
                    <a:pt x="835" y="1764"/>
                    <a:pt x="833" y="1749"/>
                  </a:cubicBezTo>
                  <a:cubicBezTo>
                    <a:pt x="830" y="1734"/>
                    <a:pt x="823" y="1723"/>
                    <a:pt x="812" y="1718"/>
                  </a:cubicBezTo>
                  <a:cubicBezTo>
                    <a:pt x="791" y="1708"/>
                    <a:pt x="766" y="1721"/>
                    <a:pt x="748" y="1729"/>
                  </a:cubicBezTo>
                  <a:cubicBezTo>
                    <a:pt x="744" y="1731"/>
                    <a:pt x="741" y="1733"/>
                    <a:pt x="738" y="1734"/>
                  </a:cubicBezTo>
                  <a:cubicBezTo>
                    <a:pt x="700" y="1751"/>
                    <a:pt x="670" y="1698"/>
                    <a:pt x="646" y="1649"/>
                  </a:cubicBezTo>
                  <a:lnTo>
                    <a:pt x="639" y="1635"/>
                  </a:lnTo>
                  <a:cubicBezTo>
                    <a:pt x="618" y="1594"/>
                    <a:pt x="580" y="1598"/>
                    <a:pt x="550" y="1601"/>
                  </a:cubicBezTo>
                  <a:cubicBezTo>
                    <a:pt x="519" y="1602"/>
                    <a:pt x="499" y="1604"/>
                    <a:pt x="484" y="1581"/>
                  </a:cubicBezTo>
                  <a:cubicBezTo>
                    <a:pt x="476" y="1571"/>
                    <a:pt x="471" y="1561"/>
                    <a:pt x="466" y="1551"/>
                  </a:cubicBezTo>
                  <a:cubicBezTo>
                    <a:pt x="454" y="1533"/>
                    <a:pt x="445" y="1512"/>
                    <a:pt x="422" y="1495"/>
                  </a:cubicBezTo>
                  <a:lnTo>
                    <a:pt x="408" y="1487"/>
                  </a:lnTo>
                  <a:cubicBezTo>
                    <a:pt x="390" y="1474"/>
                    <a:pt x="375" y="1462"/>
                    <a:pt x="362" y="1443"/>
                  </a:cubicBezTo>
                  <a:cubicBezTo>
                    <a:pt x="344" y="1413"/>
                    <a:pt x="329" y="1403"/>
                    <a:pt x="291" y="1398"/>
                  </a:cubicBezTo>
                  <a:lnTo>
                    <a:pt x="280" y="1397"/>
                  </a:lnTo>
                  <a:cubicBezTo>
                    <a:pt x="262" y="1395"/>
                    <a:pt x="249" y="1393"/>
                    <a:pt x="237" y="1383"/>
                  </a:cubicBezTo>
                  <a:cubicBezTo>
                    <a:pt x="229" y="1373"/>
                    <a:pt x="224" y="1360"/>
                    <a:pt x="217" y="1347"/>
                  </a:cubicBezTo>
                  <a:cubicBezTo>
                    <a:pt x="207" y="1327"/>
                    <a:pt x="199" y="1306"/>
                    <a:pt x="178" y="1293"/>
                  </a:cubicBezTo>
                  <a:cubicBezTo>
                    <a:pt x="168" y="1286"/>
                    <a:pt x="158" y="1283"/>
                    <a:pt x="148" y="1280"/>
                  </a:cubicBezTo>
                  <a:cubicBezTo>
                    <a:pt x="133" y="1275"/>
                    <a:pt x="123" y="1271"/>
                    <a:pt x="117" y="1258"/>
                  </a:cubicBezTo>
                  <a:cubicBezTo>
                    <a:pt x="113" y="1253"/>
                    <a:pt x="112" y="1248"/>
                    <a:pt x="110" y="1242"/>
                  </a:cubicBezTo>
                  <a:cubicBezTo>
                    <a:pt x="107" y="1232"/>
                    <a:pt x="104" y="1222"/>
                    <a:pt x="95" y="1212"/>
                  </a:cubicBezTo>
                  <a:cubicBezTo>
                    <a:pt x="90" y="1205"/>
                    <a:pt x="84" y="1200"/>
                    <a:pt x="77" y="1197"/>
                  </a:cubicBezTo>
                  <a:cubicBezTo>
                    <a:pt x="74" y="1196"/>
                    <a:pt x="71" y="1192"/>
                    <a:pt x="67" y="1189"/>
                  </a:cubicBezTo>
                  <a:cubicBezTo>
                    <a:pt x="57" y="1181"/>
                    <a:pt x="56" y="1172"/>
                    <a:pt x="52" y="1161"/>
                  </a:cubicBezTo>
                  <a:cubicBezTo>
                    <a:pt x="51" y="1151"/>
                    <a:pt x="48" y="1140"/>
                    <a:pt x="39" y="1128"/>
                  </a:cubicBezTo>
                  <a:cubicBezTo>
                    <a:pt x="33" y="1120"/>
                    <a:pt x="24" y="1115"/>
                    <a:pt x="16" y="1112"/>
                  </a:cubicBezTo>
                  <a:cubicBezTo>
                    <a:pt x="10" y="1108"/>
                    <a:pt x="6" y="1107"/>
                    <a:pt x="5" y="1103"/>
                  </a:cubicBezTo>
                  <a:cubicBezTo>
                    <a:pt x="0" y="1095"/>
                    <a:pt x="1" y="1079"/>
                    <a:pt x="3" y="1065"/>
                  </a:cubicBezTo>
                  <a:cubicBezTo>
                    <a:pt x="8" y="1034"/>
                    <a:pt x="16" y="998"/>
                    <a:pt x="29" y="962"/>
                  </a:cubicBezTo>
                  <a:cubicBezTo>
                    <a:pt x="39" y="930"/>
                    <a:pt x="57" y="904"/>
                    <a:pt x="79" y="878"/>
                  </a:cubicBezTo>
                  <a:cubicBezTo>
                    <a:pt x="85" y="868"/>
                    <a:pt x="92" y="859"/>
                    <a:pt x="99" y="850"/>
                  </a:cubicBezTo>
                  <a:cubicBezTo>
                    <a:pt x="113" y="848"/>
                    <a:pt x="128" y="845"/>
                    <a:pt x="141" y="835"/>
                  </a:cubicBezTo>
                  <a:cubicBezTo>
                    <a:pt x="150" y="831"/>
                    <a:pt x="156" y="828"/>
                    <a:pt x="163" y="825"/>
                  </a:cubicBezTo>
                  <a:cubicBezTo>
                    <a:pt x="188" y="812"/>
                    <a:pt x="216" y="799"/>
                    <a:pt x="222" y="761"/>
                  </a:cubicBezTo>
                  <a:cubicBezTo>
                    <a:pt x="225" y="749"/>
                    <a:pt x="227" y="739"/>
                    <a:pt x="227" y="728"/>
                  </a:cubicBezTo>
                  <a:cubicBezTo>
                    <a:pt x="230" y="700"/>
                    <a:pt x="234" y="677"/>
                    <a:pt x="253" y="662"/>
                  </a:cubicBezTo>
                  <a:cubicBezTo>
                    <a:pt x="258" y="657"/>
                    <a:pt x="265" y="654"/>
                    <a:pt x="273" y="649"/>
                  </a:cubicBezTo>
                  <a:cubicBezTo>
                    <a:pt x="295" y="637"/>
                    <a:pt x="321" y="622"/>
                    <a:pt x="326" y="598"/>
                  </a:cubicBezTo>
                  <a:cubicBezTo>
                    <a:pt x="329" y="584"/>
                    <a:pt x="326" y="571"/>
                    <a:pt x="314" y="558"/>
                  </a:cubicBezTo>
                  <a:cubicBezTo>
                    <a:pt x="309" y="550"/>
                    <a:pt x="303" y="545"/>
                    <a:pt x="298" y="542"/>
                  </a:cubicBezTo>
                  <a:cubicBezTo>
                    <a:pt x="290" y="535"/>
                    <a:pt x="285" y="530"/>
                    <a:pt x="281" y="520"/>
                  </a:cubicBezTo>
                  <a:cubicBezTo>
                    <a:pt x="278" y="509"/>
                    <a:pt x="277" y="494"/>
                    <a:pt x="280" y="476"/>
                  </a:cubicBezTo>
                  <a:cubicBezTo>
                    <a:pt x="285" y="449"/>
                    <a:pt x="296" y="423"/>
                    <a:pt x="311" y="406"/>
                  </a:cubicBezTo>
                  <a:cubicBezTo>
                    <a:pt x="314" y="401"/>
                    <a:pt x="321" y="398"/>
                    <a:pt x="326" y="395"/>
                  </a:cubicBezTo>
                  <a:cubicBezTo>
                    <a:pt x="333" y="392"/>
                    <a:pt x="339" y="388"/>
                    <a:pt x="346" y="382"/>
                  </a:cubicBezTo>
                  <a:cubicBezTo>
                    <a:pt x="364" y="364"/>
                    <a:pt x="377" y="336"/>
                    <a:pt x="384" y="321"/>
                  </a:cubicBezTo>
                  <a:cubicBezTo>
                    <a:pt x="385" y="314"/>
                    <a:pt x="389" y="308"/>
                    <a:pt x="390" y="298"/>
                  </a:cubicBezTo>
                  <a:cubicBezTo>
                    <a:pt x="394" y="286"/>
                    <a:pt x="397" y="271"/>
                    <a:pt x="402" y="266"/>
                  </a:cubicBezTo>
                  <a:cubicBezTo>
                    <a:pt x="407" y="260"/>
                    <a:pt x="408" y="260"/>
                    <a:pt x="423" y="270"/>
                  </a:cubicBezTo>
                  <a:cubicBezTo>
                    <a:pt x="430" y="273"/>
                    <a:pt x="436" y="276"/>
                    <a:pt x="443" y="280"/>
                  </a:cubicBezTo>
                  <a:cubicBezTo>
                    <a:pt x="466" y="288"/>
                    <a:pt x="486" y="288"/>
                    <a:pt x="509" y="278"/>
                  </a:cubicBezTo>
                  <a:cubicBezTo>
                    <a:pt x="520" y="273"/>
                    <a:pt x="530" y="268"/>
                    <a:pt x="538" y="263"/>
                  </a:cubicBezTo>
                  <a:cubicBezTo>
                    <a:pt x="538" y="263"/>
                    <a:pt x="538" y="263"/>
                    <a:pt x="538" y="265"/>
                  </a:cubicBezTo>
                  <a:cubicBezTo>
                    <a:pt x="552" y="286"/>
                    <a:pt x="555" y="301"/>
                    <a:pt x="558" y="326"/>
                  </a:cubicBezTo>
                  <a:cubicBezTo>
                    <a:pt x="560" y="336"/>
                    <a:pt x="562" y="347"/>
                    <a:pt x="570" y="355"/>
                  </a:cubicBezTo>
                  <a:cubicBezTo>
                    <a:pt x="583" y="369"/>
                    <a:pt x="591" y="359"/>
                    <a:pt x="606" y="362"/>
                  </a:cubicBezTo>
                  <a:cubicBezTo>
                    <a:pt x="626" y="364"/>
                    <a:pt x="637" y="385"/>
                    <a:pt x="659" y="380"/>
                  </a:cubicBezTo>
                  <a:cubicBezTo>
                    <a:pt x="680" y="373"/>
                    <a:pt x="695" y="336"/>
                    <a:pt x="707" y="319"/>
                  </a:cubicBezTo>
                  <a:cubicBezTo>
                    <a:pt x="715" y="306"/>
                    <a:pt x="738" y="288"/>
                    <a:pt x="738" y="271"/>
                  </a:cubicBezTo>
                  <a:cubicBezTo>
                    <a:pt x="738" y="250"/>
                    <a:pt x="708" y="242"/>
                    <a:pt x="697" y="230"/>
                  </a:cubicBezTo>
                  <a:cubicBezTo>
                    <a:pt x="679" y="212"/>
                    <a:pt x="680" y="192"/>
                    <a:pt x="685" y="169"/>
                  </a:cubicBezTo>
                  <a:cubicBezTo>
                    <a:pt x="693" y="130"/>
                    <a:pt x="702" y="87"/>
                    <a:pt x="716" y="49"/>
                  </a:cubicBezTo>
                  <a:cubicBezTo>
                    <a:pt x="721" y="34"/>
                    <a:pt x="730" y="13"/>
                    <a:pt x="748" y="6"/>
                  </a:cubicBezTo>
                  <a:cubicBezTo>
                    <a:pt x="767" y="0"/>
                    <a:pt x="776" y="16"/>
                    <a:pt x="792" y="23"/>
                  </a:cubicBezTo>
                  <a:cubicBezTo>
                    <a:pt x="822" y="34"/>
                    <a:pt x="823" y="1"/>
                    <a:pt x="850" y="3"/>
                  </a:cubicBezTo>
                  <a:cubicBezTo>
                    <a:pt x="868" y="4"/>
                    <a:pt x="875" y="24"/>
                    <a:pt x="878" y="39"/>
                  </a:cubicBezTo>
                  <a:cubicBezTo>
                    <a:pt x="891" y="90"/>
                    <a:pt x="868" y="135"/>
                    <a:pt x="875" y="184"/>
                  </a:cubicBezTo>
                  <a:cubicBezTo>
                    <a:pt x="879" y="220"/>
                    <a:pt x="883" y="240"/>
                    <a:pt x="904" y="270"/>
                  </a:cubicBezTo>
                  <a:cubicBezTo>
                    <a:pt x="922" y="296"/>
                    <a:pt x="916" y="317"/>
                    <a:pt x="921" y="349"/>
                  </a:cubicBezTo>
                  <a:cubicBezTo>
                    <a:pt x="926" y="380"/>
                    <a:pt x="934" y="401"/>
                    <a:pt x="959" y="421"/>
                  </a:cubicBezTo>
                  <a:cubicBezTo>
                    <a:pt x="982" y="441"/>
                    <a:pt x="980" y="462"/>
                    <a:pt x="998" y="484"/>
                  </a:cubicBezTo>
                  <a:cubicBezTo>
                    <a:pt x="1028" y="522"/>
                    <a:pt x="1041" y="477"/>
                    <a:pt x="1049" y="453"/>
                  </a:cubicBezTo>
                  <a:cubicBezTo>
                    <a:pt x="1059" y="429"/>
                    <a:pt x="1077" y="413"/>
                    <a:pt x="1085" y="388"/>
                  </a:cubicBezTo>
                  <a:cubicBezTo>
                    <a:pt x="1100" y="341"/>
                    <a:pt x="1107" y="255"/>
                    <a:pt x="1156" y="232"/>
                  </a:cubicBezTo>
                  <a:cubicBezTo>
                    <a:pt x="1186" y="217"/>
                    <a:pt x="1217" y="220"/>
                    <a:pt x="1249" y="224"/>
                  </a:cubicBezTo>
                  <a:cubicBezTo>
                    <a:pt x="1277" y="227"/>
                    <a:pt x="1296" y="217"/>
                    <a:pt x="1323" y="215"/>
                  </a:cubicBezTo>
                  <a:cubicBezTo>
                    <a:pt x="1357" y="210"/>
                    <a:pt x="1384" y="238"/>
                    <a:pt x="1413" y="250"/>
                  </a:cubicBezTo>
                  <a:cubicBezTo>
                    <a:pt x="1441" y="261"/>
                    <a:pt x="1471" y="260"/>
                    <a:pt x="1499" y="257"/>
                  </a:cubicBezTo>
                  <a:cubicBezTo>
                    <a:pt x="1545" y="250"/>
                    <a:pt x="1596" y="201"/>
                    <a:pt x="1616" y="266"/>
                  </a:cubicBezTo>
                  <a:cubicBezTo>
                    <a:pt x="1624" y="291"/>
                    <a:pt x="1634" y="308"/>
                    <a:pt x="1650" y="329"/>
                  </a:cubicBezTo>
                  <a:cubicBezTo>
                    <a:pt x="1662" y="342"/>
                    <a:pt x="1680" y="360"/>
                    <a:pt x="1680" y="380"/>
                  </a:cubicBezTo>
                  <a:cubicBezTo>
                    <a:pt x="1682" y="421"/>
                    <a:pt x="1604" y="411"/>
                    <a:pt x="1604" y="438"/>
                  </a:cubicBezTo>
                  <a:cubicBezTo>
                    <a:pt x="1604" y="446"/>
                    <a:pt x="1647" y="425"/>
                    <a:pt x="1652" y="428"/>
                  </a:cubicBezTo>
                  <a:cubicBezTo>
                    <a:pt x="1674" y="438"/>
                    <a:pt x="1670" y="482"/>
                    <a:pt x="1664" y="499"/>
                  </a:cubicBezTo>
                  <a:cubicBezTo>
                    <a:pt x="1660" y="507"/>
                    <a:pt x="1627" y="538"/>
                    <a:pt x="1637" y="545"/>
                  </a:cubicBezTo>
                  <a:cubicBezTo>
                    <a:pt x="1644" y="548"/>
                    <a:pt x="1665" y="522"/>
                    <a:pt x="1669" y="51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19" name="Freeform 55">
              <a:extLst>
                <a:ext uri="{FF2B5EF4-FFF2-40B4-BE49-F238E27FC236}">
                  <a16:creationId xmlns:a16="http://schemas.microsoft.com/office/drawing/2014/main" id="{4F99C606-7B36-354D-869A-D9FE50CDAD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6575" y="3798888"/>
              <a:ext cx="377825" cy="422275"/>
            </a:xfrm>
            <a:custGeom>
              <a:avLst/>
              <a:gdLst>
                <a:gd name="T0" fmla="*/ 936 w 1050"/>
                <a:gd name="T1" fmla="*/ 861 h 1174"/>
                <a:gd name="T2" fmla="*/ 847 w 1050"/>
                <a:gd name="T3" fmla="*/ 861 h 1174"/>
                <a:gd name="T4" fmla="*/ 759 w 1050"/>
                <a:gd name="T5" fmla="*/ 823 h 1174"/>
                <a:gd name="T6" fmla="*/ 683 w 1050"/>
                <a:gd name="T7" fmla="*/ 761 h 1174"/>
                <a:gd name="T8" fmla="*/ 525 w 1050"/>
                <a:gd name="T9" fmla="*/ 830 h 1174"/>
                <a:gd name="T10" fmla="*/ 563 w 1050"/>
                <a:gd name="T11" fmla="*/ 883 h 1174"/>
                <a:gd name="T12" fmla="*/ 562 w 1050"/>
                <a:gd name="T13" fmla="*/ 904 h 1174"/>
                <a:gd name="T14" fmla="*/ 509 w 1050"/>
                <a:gd name="T15" fmla="*/ 939 h 1174"/>
                <a:gd name="T16" fmla="*/ 599 w 1050"/>
                <a:gd name="T17" fmla="*/ 1057 h 1174"/>
                <a:gd name="T18" fmla="*/ 540 w 1050"/>
                <a:gd name="T19" fmla="*/ 1051 h 1174"/>
                <a:gd name="T20" fmla="*/ 369 w 1050"/>
                <a:gd name="T21" fmla="*/ 1018 h 1174"/>
                <a:gd name="T22" fmla="*/ 298 w 1050"/>
                <a:gd name="T23" fmla="*/ 1169 h 1174"/>
                <a:gd name="T24" fmla="*/ 145 w 1050"/>
                <a:gd name="T25" fmla="*/ 1163 h 1174"/>
                <a:gd name="T26" fmla="*/ 127 w 1050"/>
                <a:gd name="T27" fmla="*/ 1160 h 1174"/>
                <a:gd name="T28" fmla="*/ 151 w 1050"/>
                <a:gd name="T29" fmla="*/ 1138 h 1174"/>
                <a:gd name="T30" fmla="*/ 204 w 1050"/>
                <a:gd name="T31" fmla="*/ 1092 h 1174"/>
                <a:gd name="T32" fmla="*/ 146 w 1050"/>
                <a:gd name="T33" fmla="*/ 1013 h 1174"/>
                <a:gd name="T34" fmla="*/ 51 w 1050"/>
                <a:gd name="T35" fmla="*/ 983 h 1174"/>
                <a:gd name="T36" fmla="*/ 0 w 1050"/>
                <a:gd name="T37" fmla="*/ 978 h 1174"/>
                <a:gd name="T38" fmla="*/ 44 w 1050"/>
                <a:gd name="T39" fmla="*/ 876 h 1174"/>
                <a:gd name="T40" fmla="*/ 89 w 1050"/>
                <a:gd name="T41" fmla="*/ 830 h 1174"/>
                <a:gd name="T42" fmla="*/ 150 w 1050"/>
                <a:gd name="T43" fmla="*/ 753 h 1174"/>
                <a:gd name="T44" fmla="*/ 183 w 1050"/>
                <a:gd name="T45" fmla="*/ 687 h 1174"/>
                <a:gd name="T46" fmla="*/ 301 w 1050"/>
                <a:gd name="T47" fmla="*/ 593 h 1174"/>
                <a:gd name="T48" fmla="*/ 356 w 1050"/>
                <a:gd name="T49" fmla="*/ 566 h 1174"/>
                <a:gd name="T50" fmla="*/ 408 w 1050"/>
                <a:gd name="T51" fmla="*/ 596 h 1174"/>
                <a:gd name="T52" fmla="*/ 446 w 1050"/>
                <a:gd name="T53" fmla="*/ 552 h 1174"/>
                <a:gd name="T54" fmla="*/ 515 w 1050"/>
                <a:gd name="T55" fmla="*/ 487 h 1174"/>
                <a:gd name="T56" fmla="*/ 497 w 1050"/>
                <a:gd name="T57" fmla="*/ 384 h 1174"/>
                <a:gd name="T58" fmla="*/ 395 w 1050"/>
                <a:gd name="T59" fmla="*/ 403 h 1174"/>
                <a:gd name="T60" fmla="*/ 333 w 1050"/>
                <a:gd name="T61" fmla="*/ 389 h 1174"/>
                <a:gd name="T62" fmla="*/ 291 w 1050"/>
                <a:gd name="T63" fmla="*/ 369 h 1174"/>
                <a:gd name="T64" fmla="*/ 212 w 1050"/>
                <a:gd name="T65" fmla="*/ 342 h 1174"/>
                <a:gd name="T66" fmla="*/ 183 w 1050"/>
                <a:gd name="T67" fmla="*/ 283 h 1174"/>
                <a:gd name="T68" fmla="*/ 158 w 1050"/>
                <a:gd name="T69" fmla="*/ 199 h 1174"/>
                <a:gd name="T70" fmla="*/ 169 w 1050"/>
                <a:gd name="T71" fmla="*/ 138 h 1174"/>
                <a:gd name="T72" fmla="*/ 277 w 1050"/>
                <a:gd name="T73" fmla="*/ 107 h 1174"/>
                <a:gd name="T74" fmla="*/ 306 w 1050"/>
                <a:gd name="T75" fmla="*/ 138 h 1174"/>
                <a:gd name="T76" fmla="*/ 333 w 1050"/>
                <a:gd name="T77" fmla="*/ 184 h 1174"/>
                <a:gd name="T78" fmla="*/ 461 w 1050"/>
                <a:gd name="T79" fmla="*/ 237 h 1174"/>
                <a:gd name="T80" fmla="*/ 524 w 1050"/>
                <a:gd name="T81" fmla="*/ 239 h 1174"/>
                <a:gd name="T82" fmla="*/ 560 w 1050"/>
                <a:gd name="T83" fmla="*/ 235 h 1174"/>
                <a:gd name="T84" fmla="*/ 606 w 1050"/>
                <a:gd name="T85" fmla="*/ 186 h 1174"/>
                <a:gd name="T86" fmla="*/ 598 w 1050"/>
                <a:gd name="T87" fmla="*/ 155 h 1174"/>
                <a:gd name="T88" fmla="*/ 606 w 1050"/>
                <a:gd name="T89" fmla="*/ 128 h 1174"/>
                <a:gd name="T90" fmla="*/ 621 w 1050"/>
                <a:gd name="T91" fmla="*/ 92 h 1174"/>
                <a:gd name="T92" fmla="*/ 652 w 1050"/>
                <a:gd name="T93" fmla="*/ 31 h 1174"/>
                <a:gd name="T94" fmla="*/ 670 w 1050"/>
                <a:gd name="T95" fmla="*/ 0 h 1174"/>
                <a:gd name="T96" fmla="*/ 767 w 1050"/>
                <a:gd name="T97" fmla="*/ 89 h 1174"/>
                <a:gd name="T98" fmla="*/ 861 w 1050"/>
                <a:gd name="T99" fmla="*/ 145 h 1174"/>
                <a:gd name="T100" fmla="*/ 1005 w 1050"/>
                <a:gd name="T101" fmla="*/ 202 h 1174"/>
                <a:gd name="T102" fmla="*/ 1039 w 1050"/>
                <a:gd name="T103" fmla="*/ 260 h 1174"/>
                <a:gd name="T104" fmla="*/ 1043 w 1050"/>
                <a:gd name="T105" fmla="*/ 331 h 1174"/>
                <a:gd name="T106" fmla="*/ 1006 w 1050"/>
                <a:gd name="T107" fmla="*/ 468 h 1174"/>
                <a:gd name="T108" fmla="*/ 949 w 1050"/>
                <a:gd name="T109" fmla="*/ 484 h 1174"/>
                <a:gd name="T110" fmla="*/ 914 w 1050"/>
                <a:gd name="T111" fmla="*/ 548 h 1174"/>
                <a:gd name="T112" fmla="*/ 847 w 1050"/>
                <a:gd name="T113" fmla="*/ 634 h 1174"/>
                <a:gd name="T114" fmla="*/ 914 w 1050"/>
                <a:gd name="T115" fmla="*/ 720 h 1174"/>
                <a:gd name="T116" fmla="*/ 1005 w 1050"/>
                <a:gd name="T117" fmla="*/ 771 h 1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50" h="1174">
                  <a:moveTo>
                    <a:pt x="970" y="822"/>
                  </a:moveTo>
                  <a:cubicBezTo>
                    <a:pt x="957" y="835"/>
                    <a:pt x="944" y="847"/>
                    <a:pt x="936" y="861"/>
                  </a:cubicBezTo>
                  <a:cubicBezTo>
                    <a:pt x="934" y="863"/>
                    <a:pt x="932" y="866"/>
                    <a:pt x="932" y="870"/>
                  </a:cubicBezTo>
                  <a:cubicBezTo>
                    <a:pt x="904" y="865"/>
                    <a:pt x="876" y="863"/>
                    <a:pt x="847" y="861"/>
                  </a:cubicBezTo>
                  <a:cubicBezTo>
                    <a:pt x="817" y="858"/>
                    <a:pt x="796" y="845"/>
                    <a:pt x="769" y="830"/>
                  </a:cubicBezTo>
                  <a:lnTo>
                    <a:pt x="759" y="823"/>
                  </a:lnTo>
                  <a:cubicBezTo>
                    <a:pt x="731" y="807"/>
                    <a:pt x="713" y="789"/>
                    <a:pt x="688" y="766"/>
                  </a:cubicBezTo>
                  <a:lnTo>
                    <a:pt x="683" y="761"/>
                  </a:lnTo>
                  <a:cubicBezTo>
                    <a:pt x="664" y="743"/>
                    <a:pt x="632" y="720"/>
                    <a:pt x="593" y="749"/>
                  </a:cubicBezTo>
                  <a:cubicBezTo>
                    <a:pt x="562" y="771"/>
                    <a:pt x="529" y="799"/>
                    <a:pt x="525" y="830"/>
                  </a:cubicBezTo>
                  <a:cubicBezTo>
                    <a:pt x="525" y="840"/>
                    <a:pt x="529" y="856"/>
                    <a:pt x="543" y="870"/>
                  </a:cubicBezTo>
                  <a:cubicBezTo>
                    <a:pt x="548" y="875"/>
                    <a:pt x="555" y="878"/>
                    <a:pt x="563" y="883"/>
                  </a:cubicBezTo>
                  <a:cubicBezTo>
                    <a:pt x="571" y="886"/>
                    <a:pt x="588" y="896"/>
                    <a:pt x="588" y="903"/>
                  </a:cubicBezTo>
                  <a:cubicBezTo>
                    <a:pt x="583" y="906"/>
                    <a:pt x="571" y="906"/>
                    <a:pt x="562" y="904"/>
                  </a:cubicBezTo>
                  <a:cubicBezTo>
                    <a:pt x="548" y="901"/>
                    <a:pt x="532" y="899"/>
                    <a:pt x="520" y="909"/>
                  </a:cubicBezTo>
                  <a:cubicBezTo>
                    <a:pt x="514" y="916"/>
                    <a:pt x="509" y="926"/>
                    <a:pt x="509" y="939"/>
                  </a:cubicBezTo>
                  <a:cubicBezTo>
                    <a:pt x="509" y="970"/>
                    <a:pt x="537" y="990"/>
                    <a:pt x="560" y="1006"/>
                  </a:cubicBezTo>
                  <a:cubicBezTo>
                    <a:pt x="586" y="1024"/>
                    <a:pt x="603" y="1038"/>
                    <a:pt x="599" y="1057"/>
                  </a:cubicBezTo>
                  <a:cubicBezTo>
                    <a:pt x="599" y="1064"/>
                    <a:pt x="596" y="1066"/>
                    <a:pt x="596" y="1067"/>
                  </a:cubicBezTo>
                  <a:cubicBezTo>
                    <a:pt x="585" y="1072"/>
                    <a:pt x="557" y="1062"/>
                    <a:pt x="540" y="1051"/>
                  </a:cubicBezTo>
                  <a:cubicBezTo>
                    <a:pt x="532" y="1046"/>
                    <a:pt x="525" y="1039"/>
                    <a:pt x="519" y="1034"/>
                  </a:cubicBezTo>
                  <a:cubicBezTo>
                    <a:pt x="478" y="1003"/>
                    <a:pt x="430" y="965"/>
                    <a:pt x="369" y="1018"/>
                  </a:cubicBezTo>
                  <a:cubicBezTo>
                    <a:pt x="344" y="1039"/>
                    <a:pt x="339" y="1072"/>
                    <a:pt x="334" y="1102"/>
                  </a:cubicBezTo>
                  <a:cubicBezTo>
                    <a:pt x="329" y="1138"/>
                    <a:pt x="324" y="1161"/>
                    <a:pt x="298" y="1169"/>
                  </a:cubicBezTo>
                  <a:cubicBezTo>
                    <a:pt x="283" y="1173"/>
                    <a:pt x="262" y="1166"/>
                    <a:pt x="240" y="1160"/>
                  </a:cubicBezTo>
                  <a:cubicBezTo>
                    <a:pt x="209" y="1148"/>
                    <a:pt x="173" y="1135"/>
                    <a:pt x="145" y="1163"/>
                  </a:cubicBezTo>
                  <a:cubicBezTo>
                    <a:pt x="141" y="1164"/>
                    <a:pt x="140" y="1168"/>
                    <a:pt x="138" y="1169"/>
                  </a:cubicBezTo>
                  <a:cubicBezTo>
                    <a:pt x="133" y="1168"/>
                    <a:pt x="128" y="1164"/>
                    <a:pt x="127" y="1160"/>
                  </a:cubicBezTo>
                  <a:cubicBezTo>
                    <a:pt x="127" y="1158"/>
                    <a:pt x="125" y="1156"/>
                    <a:pt x="128" y="1150"/>
                  </a:cubicBezTo>
                  <a:cubicBezTo>
                    <a:pt x="132" y="1141"/>
                    <a:pt x="138" y="1140"/>
                    <a:pt x="151" y="1138"/>
                  </a:cubicBezTo>
                  <a:cubicBezTo>
                    <a:pt x="160" y="1136"/>
                    <a:pt x="169" y="1135"/>
                    <a:pt x="179" y="1130"/>
                  </a:cubicBezTo>
                  <a:cubicBezTo>
                    <a:pt x="193" y="1122"/>
                    <a:pt x="201" y="1107"/>
                    <a:pt x="204" y="1092"/>
                  </a:cubicBezTo>
                  <a:cubicBezTo>
                    <a:pt x="207" y="1074"/>
                    <a:pt x="202" y="1056"/>
                    <a:pt x="191" y="1043"/>
                  </a:cubicBezTo>
                  <a:cubicBezTo>
                    <a:pt x="178" y="1028"/>
                    <a:pt x="161" y="1020"/>
                    <a:pt x="146" y="1013"/>
                  </a:cubicBezTo>
                  <a:cubicBezTo>
                    <a:pt x="137" y="1010"/>
                    <a:pt x="128" y="1005"/>
                    <a:pt x="122" y="1000"/>
                  </a:cubicBezTo>
                  <a:cubicBezTo>
                    <a:pt x="92" y="978"/>
                    <a:pt x="85" y="977"/>
                    <a:pt x="51" y="983"/>
                  </a:cubicBezTo>
                  <a:cubicBezTo>
                    <a:pt x="36" y="988"/>
                    <a:pt x="21" y="983"/>
                    <a:pt x="6" y="980"/>
                  </a:cubicBezTo>
                  <a:cubicBezTo>
                    <a:pt x="5" y="978"/>
                    <a:pt x="3" y="978"/>
                    <a:pt x="0" y="978"/>
                  </a:cubicBezTo>
                  <a:cubicBezTo>
                    <a:pt x="3" y="952"/>
                    <a:pt x="10" y="927"/>
                    <a:pt x="23" y="906"/>
                  </a:cubicBezTo>
                  <a:cubicBezTo>
                    <a:pt x="28" y="896"/>
                    <a:pt x="36" y="888"/>
                    <a:pt x="44" y="876"/>
                  </a:cubicBezTo>
                  <a:cubicBezTo>
                    <a:pt x="49" y="870"/>
                    <a:pt x="56" y="861"/>
                    <a:pt x="61" y="853"/>
                  </a:cubicBezTo>
                  <a:cubicBezTo>
                    <a:pt x="71" y="842"/>
                    <a:pt x="77" y="837"/>
                    <a:pt x="89" y="830"/>
                  </a:cubicBezTo>
                  <a:cubicBezTo>
                    <a:pt x="94" y="827"/>
                    <a:pt x="97" y="825"/>
                    <a:pt x="102" y="822"/>
                  </a:cubicBezTo>
                  <a:cubicBezTo>
                    <a:pt x="128" y="805"/>
                    <a:pt x="138" y="779"/>
                    <a:pt x="150" y="753"/>
                  </a:cubicBezTo>
                  <a:cubicBezTo>
                    <a:pt x="155" y="739"/>
                    <a:pt x="160" y="728"/>
                    <a:pt x="166" y="716"/>
                  </a:cubicBezTo>
                  <a:cubicBezTo>
                    <a:pt x="173" y="708"/>
                    <a:pt x="178" y="698"/>
                    <a:pt x="183" y="687"/>
                  </a:cubicBezTo>
                  <a:cubicBezTo>
                    <a:pt x="202" y="652"/>
                    <a:pt x="227" y="604"/>
                    <a:pt x="257" y="594"/>
                  </a:cubicBezTo>
                  <a:cubicBezTo>
                    <a:pt x="268" y="590"/>
                    <a:pt x="283" y="598"/>
                    <a:pt x="301" y="593"/>
                  </a:cubicBezTo>
                  <a:cubicBezTo>
                    <a:pt x="313" y="590"/>
                    <a:pt x="323" y="583"/>
                    <a:pt x="329" y="578"/>
                  </a:cubicBezTo>
                  <a:cubicBezTo>
                    <a:pt x="341" y="570"/>
                    <a:pt x="347" y="565"/>
                    <a:pt x="356" y="566"/>
                  </a:cubicBezTo>
                  <a:cubicBezTo>
                    <a:pt x="361" y="568"/>
                    <a:pt x="364" y="573"/>
                    <a:pt x="369" y="578"/>
                  </a:cubicBezTo>
                  <a:cubicBezTo>
                    <a:pt x="379" y="586"/>
                    <a:pt x="390" y="596"/>
                    <a:pt x="408" y="596"/>
                  </a:cubicBezTo>
                  <a:cubicBezTo>
                    <a:pt x="435" y="593"/>
                    <a:pt x="441" y="571"/>
                    <a:pt x="445" y="557"/>
                  </a:cubicBezTo>
                  <a:lnTo>
                    <a:pt x="446" y="552"/>
                  </a:lnTo>
                  <a:cubicBezTo>
                    <a:pt x="454" y="524"/>
                    <a:pt x="466" y="517"/>
                    <a:pt x="486" y="507"/>
                  </a:cubicBezTo>
                  <a:cubicBezTo>
                    <a:pt x="494" y="502"/>
                    <a:pt x="504" y="496"/>
                    <a:pt x="515" y="487"/>
                  </a:cubicBezTo>
                  <a:cubicBezTo>
                    <a:pt x="539" y="471"/>
                    <a:pt x="550" y="445"/>
                    <a:pt x="543" y="423"/>
                  </a:cubicBezTo>
                  <a:cubicBezTo>
                    <a:pt x="539" y="402"/>
                    <a:pt x="522" y="387"/>
                    <a:pt x="497" y="384"/>
                  </a:cubicBezTo>
                  <a:cubicBezTo>
                    <a:pt x="474" y="380"/>
                    <a:pt x="456" y="387"/>
                    <a:pt x="440" y="395"/>
                  </a:cubicBezTo>
                  <a:cubicBezTo>
                    <a:pt x="423" y="402"/>
                    <a:pt x="410" y="407"/>
                    <a:pt x="395" y="403"/>
                  </a:cubicBezTo>
                  <a:lnTo>
                    <a:pt x="377" y="398"/>
                  </a:lnTo>
                  <a:cubicBezTo>
                    <a:pt x="362" y="395"/>
                    <a:pt x="349" y="392"/>
                    <a:pt x="333" y="389"/>
                  </a:cubicBezTo>
                  <a:cubicBezTo>
                    <a:pt x="318" y="387"/>
                    <a:pt x="310" y="380"/>
                    <a:pt x="296" y="372"/>
                  </a:cubicBezTo>
                  <a:lnTo>
                    <a:pt x="291" y="369"/>
                  </a:lnTo>
                  <a:cubicBezTo>
                    <a:pt x="272" y="356"/>
                    <a:pt x="255" y="347"/>
                    <a:pt x="229" y="344"/>
                  </a:cubicBezTo>
                  <a:cubicBezTo>
                    <a:pt x="222" y="342"/>
                    <a:pt x="217" y="342"/>
                    <a:pt x="212" y="342"/>
                  </a:cubicBezTo>
                  <a:cubicBezTo>
                    <a:pt x="197" y="342"/>
                    <a:pt x="193" y="341"/>
                    <a:pt x="188" y="333"/>
                  </a:cubicBezTo>
                  <a:cubicBezTo>
                    <a:pt x="181" y="318"/>
                    <a:pt x="181" y="301"/>
                    <a:pt x="183" y="283"/>
                  </a:cubicBezTo>
                  <a:cubicBezTo>
                    <a:pt x="183" y="260"/>
                    <a:pt x="183" y="237"/>
                    <a:pt x="171" y="217"/>
                  </a:cubicBezTo>
                  <a:cubicBezTo>
                    <a:pt x="166" y="209"/>
                    <a:pt x="163" y="204"/>
                    <a:pt x="158" y="199"/>
                  </a:cubicBezTo>
                  <a:cubicBezTo>
                    <a:pt x="151" y="191"/>
                    <a:pt x="148" y="186"/>
                    <a:pt x="150" y="174"/>
                  </a:cubicBezTo>
                  <a:cubicBezTo>
                    <a:pt x="150" y="163"/>
                    <a:pt x="160" y="150"/>
                    <a:pt x="169" y="138"/>
                  </a:cubicBezTo>
                  <a:cubicBezTo>
                    <a:pt x="191" y="110"/>
                    <a:pt x="225" y="82"/>
                    <a:pt x="252" y="85"/>
                  </a:cubicBezTo>
                  <a:cubicBezTo>
                    <a:pt x="263" y="87"/>
                    <a:pt x="268" y="94"/>
                    <a:pt x="277" y="107"/>
                  </a:cubicBezTo>
                  <a:cubicBezTo>
                    <a:pt x="282" y="113"/>
                    <a:pt x="286" y="120"/>
                    <a:pt x="291" y="125"/>
                  </a:cubicBezTo>
                  <a:cubicBezTo>
                    <a:pt x="295" y="130"/>
                    <a:pt x="301" y="135"/>
                    <a:pt x="306" y="138"/>
                  </a:cubicBezTo>
                  <a:cubicBezTo>
                    <a:pt x="313" y="143"/>
                    <a:pt x="318" y="146"/>
                    <a:pt x="321" y="151"/>
                  </a:cubicBezTo>
                  <a:cubicBezTo>
                    <a:pt x="328" y="161"/>
                    <a:pt x="331" y="173"/>
                    <a:pt x="333" y="184"/>
                  </a:cubicBezTo>
                  <a:cubicBezTo>
                    <a:pt x="338" y="207"/>
                    <a:pt x="344" y="235"/>
                    <a:pt x="398" y="230"/>
                  </a:cubicBezTo>
                  <a:cubicBezTo>
                    <a:pt x="425" y="227"/>
                    <a:pt x="436" y="230"/>
                    <a:pt x="461" y="237"/>
                  </a:cubicBezTo>
                  <a:lnTo>
                    <a:pt x="468" y="239"/>
                  </a:lnTo>
                  <a:cubicBezTo>
                    <a:pt x="487" y="242"/>
                    <a:pt x="507" y="240"/>
                    <a:pt x="524" y="239"/>
                  </a:cubicBezTo>
                  <a:cubicBezTo>
                    <a:pt x="530" y="237"/>
                    <a:pt x="537" y="237"/>
                    <a:pt x="543" y="235"/>
                  </a:cubicBezTo>
                  <a:cubicBezTo>
                    <a:pt x="550" y="235"/>
                    <a:pt x="555" y="235"/>
                    <a:pt x="560" y="235"/>
                  </a:cubicBezTo>
                  <a:cubicBezTo>
                    <a:pt x="576" y="235"/>
                    <a:pt x="591" y="234"/>
                    <a:pt x="601" y="224"/>
                  </a:cubicBezTo>
                  <a:cubicBezTo>
                    <a:pt x="609" y="212"/>
                    <a:pt x="608" y="197"/>
                    <a:pt x="606" y="186"/>
                  </a:cubicBezTo>
                  <a:cubicBezTo>
                    <a:pt x="604" y="179"/>
                    <a:pt x="603" y="176"/>
                    <a:pt x="601" y="171"/>
                  </a:cubicBezTo>
                  <a:cubicBezTo>
                    <a:pt x="599" y="166"/>
                    <a:pt x="598" y="163"/>
                    <a:pt x="598" y="155"/>
                  </a:cubicBezTo>
                  <a:cubicBezTo>
                    <a:pt x="599" y="151"/>
                    <a:pt x="601" y="146"/>
                    <a:pt x="603" y="141"/>
                  </a:cubicBezTo>
                  <a:cubicBezTo>
                    <a:pt x="604" y="137"/>
                    <a:pt x="606" y="132"/>
                    <a:pt x="606" y="128"/>
                  </a:cubicBezTo>
                  <a:lnTo>
                    <a:pt x="608" y="122"/>
                  </a:lnTo>
                  <a:cubicBezTo>
                    <a:pt x="611" y="109"/>
                    <a:pt x="611" y="102"/>
                    <a:pt x="621" y="92"/>
                  </a:cubicBezTo>
                  <a:lnTo>
                    <a:pt x="627" y="85"/>
                  </a:lnTo>
                  <a:cubicBezTo>
                    <a:pt x="641" y="71"/>
                    <a:pt x="657" y="51"/>
                    <a:pt x="652" y="31"/>
                  </a:cubicBezTo>
                  <a:cubicBezTo>
                    <a:pt x="651" y="21"/>
                    <a:pt x="644" y="13"/>
                    <a:pt x="634" y="6"/>
                  </a:cubicBezTo>
                  <a:cubicBezTo>
                    <a:pt x="646" y="3"/>
                    <a:pt x="657" y="0"/>
                    <a:pt x="670" y="0"/>
                  </a:cubicBezTo>
                  <a:cubicBezTo>
                    <a:pt x="702" y="0"/>
                    <a:pt x="718" y="23"/>
                    <a:pt x="736" y="49"/>
                  </a:cubicBezTo>
                  <a:cubicBezTo>
                    <a:pt x="744" y="62"/>
                    <a:pt x="754" y="77"/>
                    <a:pt x="767" y="89"/>
                  </a:cubicBezTo>
                  <a:cubicBezTo>
                    <a:pt x="784" y="104"/>
                    <a:pt x="802" y="112"/>
                    <a:pt x="819" y="120"/>
                  </a:cubicBezTo>
                  <a:cubicBezTo>
                    <a:pt x="833" y="127"/>
                    <a:pt x="848" y="133"/>
                    <a:pt x="861" y="145"/>
                  </a:cubicBezTo>
                  <a:cubicBezTo>
                    <a:pt x="893" y="169"/>
                    <a:pt x="904" y="176"/>
                    <a:pt x="949" y="171"/>
                  </a:cubicBezTo>
                  <a:cubicBezTo>
                    <a:pt x="982" y="166"/>
                    <a:pt x="995" y="174"/>
                    <a:pt x="1005" y="202"/>
                  </a:cubicBezTo>
                  <a:lnTo>
                    <a:pt x="1006" y="209"/>
                  </a:lnTo>
                  <a:cubicBezTo>
                    <a:pt x="1011" y="227"/>
                    <a:pt x="1018" y="250"/>
                    <a:pt x="1039" y="260"/>
                  </a:cubicBezTo>
                  <a:cubicBezTo>
                    <a:pt x="1039" y="268"/>
                    <a:pt x="1038" y="275"/>
                    <a:pt x="1038" y="283"/>
                  </a:cubicBezTo>
                  <a:cubicBezTo>
                    <a:pt x="1038" y="300"/>
                    <a:pt x="1041" y="316"/>
                    <a:pt x="1043" y="331"/>
                  </a:cubicBezTo>
                  <a:cubicBezTo>
                    <a:pt x="1044" y="344"/>
                    <a:pt x="1046" y="356"/>
                    <a:pt x="1048" y="369"/>
                  </a:cubicBezTo>
                  <a:cubicBezTo>
                    <a:pt x="1049" y="392"/>
                    <a:pt x="1048" y="450"/>
                    <a:pt x="1006" y="468"/>
                  </a:cubicBezTo>
                  <a:cubicBezTo>
                    <a:pt x="1000" y="471"/>
                    <a:pt x="992" y="473"/>
                    <a:pt x="985" y="473"/>
                  </a:cubicBezTo>
                  <a:cubicBezTo>
                    <a:pt x="973" y="474"/>
                    <a:pt x="960" y="476"/>
                    <a:pt x="949" y="484"/>
                  </a:cubicBezTo>
                  <a:cubicBezTo>
                    <a:pt x="931" y="496"/>
                    <a:pt x="924" y="514"/>
                    <a:pt x="921" y="529"/>
                  </a:cubicBezTo>
                  <a:cubicBezTo>
                    <a:pt x="919" y="535"/>
                    <a:pt x="917" y="542"/>
                    <a:pt x="914" y="548"/>
                  </a:cubicBezTo>
                  <a:cubicBezTo>
                    <a:pt x="909" y="560"/>
                    <a:pt x="898" y="568"/>
                    <a:pt x="886" y="580"/>
                  </a:cubicBezTo>
                  <a:cubicBezTo>
                    <a:pt x="870" y="593"/>
                    <a:pt x="850" y="609"/>
                    <a:pt x="847" y="634"/>
                  </a:cubicBezTo>
                  <a:cubicBezTo>
                    <a:pt x="840" y="667"/>
                    <a:pt x="858" y="677"/>
                    <a:pt x="876" y="688"/>
                  </a:cubicBezTo>
                  <a:cubicBezTo>
                    <a:pt x="893" y="698"/>
                    <a:pt x="901" y="705"/>
                    <a:pt x="914" y="720"/>
                  </a:cubicBezTo>
                  <a:cubicBezTo>
                    <a:pt x="926" y="733"/>
                    <a:pt x="945" y="738"/>
                    <a:pt x="964" y="744"/>
                  </a:cubicBezTo>
                  <a:cubicBezTo>
                    <a:pt x="992" y="753"/>
                    <a:pt x="1005" y="758"/>
                    <a:pt x="1005" y="771"/>
                  </a:cubicBezTo>
                  <a:cubicBezTo>
                    <a:pt x="1006" y="789"/>
                    <a:pt x="988" y="805"/>
                    <a:pt x="970" y="82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20" name="Freeform 56">
              <a:extLst>
                <a:ext uri="{FF2B5EF4-FFF2-40B4-BE49-F238E27FC236}">
                  <a16:creationId xmlns:a16="http://schemas.microsoft.com/office/drawing/2014/main" id="{E8222323-ACFC-4B43-8A90-F1BDE8FAFE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3400" y="3235325"/>
              <a:ext cx="550863" cy="495300"/>
            </a:xfrm>
            <a:custGeom>
              <a:avLst/>
              <a:gdLst>
                <a:gd name="T0" fmla="*/ 1042 w 1528"/>
                <a:gd name="T1" fmla="*/ 893 h 1378"/>
                <a:gd name="T2" fmla="*/ 1054 w 1528"/>
                <a:gd name="T3" fmla="*/ 949 h 1378"/>
                <a:gd name="T4" fmla="*/ 955 w 1528"/>
                <a:gd name="T5" fmla="*/ 1010 h 1378"/>
                <a:gd name="T6" fmla="*/ 848 w 1528"/>
                <a:gd name="T7" fmla="*/ 1099 h 1378"/>
                <a:gd name="T8" fmla="*/ 787 w 1528"/>
                <a:gd name="T9" fmla="*/ 1125 h 1378"/>
                <a:gd name="T10" fmla="*/ 657 w 1528"/>
                <a:gd name="T11" fmla="*/ 1170 h 1378"/>
                <a:gd name="T12" fmla="*/ 571 w 1528"/>
                <a:gd name="T13" fmla="*/ 1237 h 1378"/>
                <a:gd name="T14" fmla="*/ 527 w 1528"/>
                <a:gd name="T15" fmla="*/ 1222 h 1378"/>
                <a:gd name="T16" fmla="*/ 462 w 1528"/>
                <a:gd name="T17" fmla="*/ 1269 h 1378"/>
                <a:gd name="T18" fmla="*/ 430 w 1528"/>
                <a:gd name="T19" fmla="*/ 1329 h 1378"/>
                <a:gd name="T20" fmla="*/ 393 w 1528"/>
                <a:gd name="T21" fmla="*/ 1377 h 1378"/>
                <a:gd name="T22" fmla="*/ 327 w 1528"/>
                <a:gd name="T23" fmla="*/ 1369 h 1378"/>
                <a:gd name="T24" fmla="*/ 308 w 1528"/>
                <a:gd name="T25" fmla="*/ 1326 h 1378"/>
                <a:gd name="T26" fmla="*/ 291 w 1528"/>
                <a:gd name="T27" fmla="*/ 1269 h 1378"/>
                <a:gd name="T28" fmla="*/ 255 w 1528"/>
                <a:gd name="T29" fmla="*/ 1254 h 1378"/>
                <a:gd name="T30" fmla="*/ 230 w 1528"/>
                <a:gd name="T31" fmla="*/ 1188 h 1378"/>
                <a:gd name="T32" fmla="*/ 136 w 1528"/>
                <a:gd name="T33" fmla="*/ 1166 h 1378"/>
                <a:gd name="T34" fmla="*/ 75 w 1528"/>
                <a:gd name="T35" fmla="*/ 1077 h 1378"/>
                <a:gd name="T36" fmla="*/ 16 w 1528"/>
                <a:gd name="T37" fmla="*/ 1053 h 1378"/>
                <a:gd name="T38" fmla="*/ 5 w 1528"/>
                <a:gd name="T39" fmla="*/ 962 h 1378"/>
                <a:gd name="T40" fmla="*/ 42 w 1528"/>
                <a:gd name="T41" fmla="*/ 974 h 1378"/>
                <a:gd name="T42" fmla="*/ 75 w 1528"/>
                <a:gd name="T43" fmla="*/ 944 h 1378"/>
                <a:gd name="T44" fmla="*/ 145 w 1528"/>
                <a:gd name="T45" fmla="*/ 901 h 1378"/>
                <a:gd name="T46" fmla="*/ 217 w 1528"/>
                <a:gd name="T47" fmla="*/ 745 h 1378"/>
                <a:gd name="T48" fmla="*/ 260 w 1528"/>
                <a:gd name="T49" fmla="*/ 649 h 1378"/>
                <a:gd name="T50" fmla="*/ 281 w 1528"/>
                <a:gd name="T51" fmla="*/ 582 h 1378"/>
                <a:gd name="T52" fmla="*/ 303 w 1528"/>
                <a:gd name="T53" fmla="*/ 524 h 1378"/>
                <a:gd name="T54" fmla="*/ 314 w 1528"/>
                <a:gd name="T55" fmla="*/ 491 h 1378"/>
                <a:gd name="T56" fmla="*/ 341 w 1528"/>
                <a:gd name="T57" fmla="*/ 468 h 1378"/>
                <a:gd name="T58" fmla="*/ 383 w 1528"/>
                <a:gd name="T59" fmla="*/ 504 h 1378"/>
                <a:gd name="T60" fmla="*/ 487 w 1528"/>
                <a:gd name="T61" fmla="*/ 562 h 1378"/>
                <a:gd name="T62" fmla="*/ 622 w 1528"/>
                <a:gd name="T63" fmla="*/ 580 h 1378"/>
                <a:gd name="T64" fmla="*/ 678 w 1528"/>
                <a:gd name="T65" fmla="*/ 605 h 1378"/>
                <a:gd name="T66" fmla="*/ 738 w 1528"/>
                <a:gd name="T67" fmla="*/ 539 h 1378"/>
                <a:gd name="T68" fmla="*/ 716 w 1528"/>
                <a:gd name="T69" fmla="*/ 483 h 1378"/>
                <a:gd name="T70" fmla="*/ 769 w 1528"/>
                <a:gd name="T71" fmla="*/ 310 h 1378"/>
                <a:gd name="T72" fmla="*/ 833 w 1528"/>
                <a:gd name="T73" fmla="*/ 250 h 1378"/>
                <a:gd name="T74" fmla="*/ 815 w 1528"/>
                <a:gd name="T75" fmla="*/ 183 h 1378"/>
                <a:gd name="T76" fmla="*/ 868 w 1528"/>
                <a:gd name="T77" fmla="*/ 99 h 1378"/>
                <a:gd name="T78" fmla="*/ 906 w 1528"/>
                <a:gd name="T79" fmla="*/ 17 h 1378"/>
                <a:gd name="T80" fmla="*/ 958 w 1528"/>
                <a:gd name="T81" fmla="*/ 8 h 1378"/>
                <a:gd name="T82" fmla="*/ 1000 w 1528"/>
                <a:gd name="T83" fmla="*/ 36 h 1378"/>
                <a:gd name="T84" fmla="*/ 1036 w 1528"/>
                <a:gd name="T85" fmla="*/ 25 h 1378"/>
                <a:gd name="T86" fmla="*/ 1105 w 1528"/>
                <a:gd name="T87" fmla="*/ 43 h 1378"/>
                <a:gd name="T88" fmla="*/ 1146 w 1528"/>
                <a:gd name="T89" fmla="*/ 13 h 1378"/>
                <a:gd name="T90" fmla="*/ 1204 w 1528"/>
                <a:gd name="T91" fmla="*/ 21 h 1378"/>
                <a:gd name="T92" fmla="*/ 1245 w 1528"/>
                <a:gd name="T93" fmla="*/ 48 h 1378"/>
                <a:gd name="T94" fmla="*/ 1326 w 1528"/>
                <a:gd name="T95" fmla="*/ 92 h 1378"/>
                <a:gd name="T96" fmla="*/ 1492 w 1528"/>
                <a:gd name="T97" fmla="*/ 168 h 1378"/>
                <a:gd name="T98" fmla="*/ 1507 w 1528"/>
                <a:gd name="T99" fmla="*/ 219 h 1378"/>
                <a:gd name="T100" fmla="*/ 1461 w 1528"/>
                <a:gd name="T101" fmla="*/ 259 h 1378"/>
                <a:gd name="T102" fmla="*/ 1441 w 1528"/>
                <a:gd name="T103" fmla="*/ 330 h 1378"/>
                <a:gd name="T104" fmla="*/ 1248 w 1528"/>
                <a:gd name="T105" fmla="*/ 544 h 1378"/>
                <a:gd name="T106" fmla="*/ 1060 w 1528"/>
                <a:gd name="T107" fmla="*/ 674 h 1378"/>
                <a:gd name="T108" fmla="*/ 1072 w 1528"/>
                <a:gd name="T109" fmla="*/ 845 h 1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28" h="1378">
                  <a:moveTo>
                    <a:pt x="1065" y="852"/>
                  </a:moveTo>
                  <a:cubicBezTo>
                    <a:pt x="1056" y="862"/>
                    <a:pt x="1044" y="873"/>
                    <a:pt x="1042" y="893"/>
                  </a:cubicBezTo>
                  <a:cubicBezTo>
                    <a:pt x="1041" y="906"/>
                    <a:pt x="1044" y="918"/>
                    <a:pt x="1049" y="928"/>
                  </a:cubicBezTo>
                  <a:cubicBezTo>
                    <a:pt x="1051" y="936"/>
                    <a:pt x="1052" y="942"/>
                    <a:pt x="1054" y="949"/>
                  </a:cubicBezTo>
                  <a:cubicBezTo>
                    <a:pt x="1054" y="959"/>
                    <a:pt x="1056" y="988"/>
                    <a:pt x="993" y="1005"/>
                  </a:cubicBezTo>
                  <a:cubicBezTo>
                    <a:pt x="981" y="1008"/>
                    <a:pt x="968" y="1010"/>
                    <a:pt x="955" y="1010"/>
                  </a:cubicBezTo>
                  <a:cubicBezTo>
                    <a:pt x="922" y="1015"/>
                    <a:pt x="886" y="1018"/>
                    <a:pt x="861" y="1046"/>
                  </a:cubicBezTo>
                  <a:cubicBezTo>
                    <a:pt x="848" y="1063"/>
                    <a:pt x="848" y="1081"/>
                    <a:pt x="848" y="1099"/>
                  </a:cubicBezTo>
                  <a:cubicBezTo>
                    <a:pt x="848" y="1124"/>
                    <a:pt x="848" y="1132"/>
                    <a:pt x="830" y="1138"/>
                  </a:cubicBezTo>
                  <a:cubicBezTo>
                    <a:pt x="815" y="1142"/>
                    <a:pt x="804" y="1135"/>
                    <a:pt x="787" y="1125"/>
                  </a:cubicBezTo>
                  <a:cubicBezTo>
                    <a:pt x="769" y="1112"/>
                    <a:pt x="747" y="1097"/>
                    <a:pt x="716" y="1109"/>
                  </a:cubicBezTo>
                  <a:cubicBezTo>
                    <a:pt x="687" y="1120"/>
                    <a:pt x="670" y="1147"/>
                    <a:pt x="657" y="1170"/>
                  </a:cubicBezTo>
                  <a:cubicBezTo>
                    <a:pt x="647" y="1185"/>
                    <a:pt x="639" y="1198"/>
                    <a:pt x="626" y="1208"/>
                  </a:cubicBezTo>
                  <a:cubicBezTo>
                    <a:pt x="612" y="1219"/>
                    <a:pt x="589" y="1234"/>
                    <a:pt x="571" y="1237"/>
                  </a:cubicBezTo>
                  <a:cubicBezTo>
                    <a:pt x="558" y="1241"/>
                    <a:pt x="555" y="1239"/>
                    <a:pt x="543" y="1232"/>
                  </a:cubicBezTo>
                  <a:cubicBezTo>
                    <a:pt x="540" y="1229"/>
                    <a:pt x="533" y="1226"/>
                    <a:pt x="527" y="1222"/>
                  </a:cubicBezTo>
                  <a:cubicBezTo>
                    <a:pt x="510" y="1216"/>
                    <a:pt x="497" y="1214"/>
                    <a:pt x="486" y="1221"/>
                  </a:cubicBezTo>
                  <a:cubicBezTo>
                    <a:pt x="471" y="1229"/>
                    <a:pt x="466" y="1249"/>
                    <a:pt x="462" y="1269"/>
                  </a:cubicBezTo>
                  <a:cubicBezTo>
                    <a:pt x="462" y="1275"/>
                    <a:pt x="461" y="1282"/>
                    <a:pt x="459" y="1288"/>
                  </a:cubicBezTo>
                  <a:cubicBezTo>
                    <a:pt x="454" y="1305"/>
                    <a:pt x="443" y="1316"/>
                    <a:pt x="430" y="1329"/>
                  </a:cubicBezTo>
                  <a:cubicBezTo>
                    <a:pt x="420" y="1341"/>
                    <a:pt x="408" y="1351"/>
                    <a:pt x="400" y="1366"/>
                  </a:cubicBezTo>
                  <a:cubicBezTo>
                    <a:pt x="398" y="1371"/>
                    <a:pt x="395" y="1374"/>
                    <a:pt x="393" y="1377"/>
                  </a:cubicBezTo>
                  <a:lnTo>
                    <a:pt x="360" y="1374"/>
                  </a:lnTo>
                  <a:cubicBezTo>
                    <a:pt x="349" y="1374"/>
                    <a:pt x="337" y="1372"/>
                    <a:pt x="327" y="1369"/>
                  </a:cubicBezTo>
                  <a:cubicBezTo>
                    <a:pt x="318" y="1366"/>
                    <a:pt x="311" y="1359"/>
                    <a:pt x="308" y="1353"/>
                  </a:cubicBezTo>
                  <a:cubicBezTo>
                    <a:pt x="304" y="1346"/>
                    <a:pt x="306" y="1336"/>
                    <a:pt x="308" y="1326"/>
                  </a:cubicBezTo>
                  <a:lnTo>
                    <a:pt x="308" y="1318"/>
                  </a:lnTo>
                  <a:cubicBezTo>
                    <a:pt x="309" y="1295"/>
                    <a:pt x="304" y="1278"/>
                    <a:pt x="291" y="1269"/>
                  </a:cubicBezTo>
                  <a:cubicBezTo>
                    <a:pt x="285" y="1264"/>
                    <a:pt x="276" y="1262"/>
                    <a:pt x="268" y="1260"/>
                  </a:cubicBezTo>
                  <a:cubicBezTo>
                    <a:pt x="263" y="1259"/>
                    <a:pt x="258" y="1257"/>
                    <a:pt x="255" y="1254"/>
                  </a:cubicBezTo>
                  <a:cubicBezTo>
                    <a:pt x="250" y="1250"/>
                    <a:pt x="248" y="1241"/>
                    <a:pt x="248" y="1231"/>
                  </a:cubicBezTo>
                  <a:cubicBezTo>
                    <a:pt x="247" y="1216"/>
                    <a:pt x="245" y="1198"/>
                    <a:pt x="230" y="1188"/>
                  </a:cubicBezTo>
                  <a:cubicBezTo>
                    <a:pt x="220" y="1183"/>
                    <a:pt x="212" y="1181"/>
                    <a:pt x="205" y="1181"/>
                  </a:cubicBezTo>
                  <a:cubicBezTo>
                    <a:pt x="184" y="1180"/>
                    <a:pt x="159" y="1176"/>
                    <a:pt x="136" y="1166"/>
                  </a:cubicBezTo>
                  <a:cubicBezTo>
                    <a:pt x="107" y="1152"/>
                    <a:pt x="92" y="1132"/>
                    <a:pt x="82" y="1092"/>
                  </a:cubicBezTo>
                  <a:cubicBezTo>
                    <a:pt x="80" y="1087"/>
                    <a:pt x="79" y="1082"/>
                    <a:pt x="75" y="1077"/>
                  </a:cubicBezTo>
                  <a:cubicBezTo>
                    <a:pt x="67" y="1063"/>
                    <a:pt x="49" y="1059"/>
                    <a:pt x="42" y="1058"/>
                  </a:cubicBezTo>
                  <a:cubicBezTo>
                    <a:pt x="34" y="1056"/>
                    <a:pt x="26" y="1054"/>
                    <a:pt x="16" y="1053"/>
                  </a:cubicBezTo>
                  <a:cubicBezTo>
                    <a:pt x="16" y="1038"/>
                    <a:pt x="13" y="1023"/>
                    <a:pt x="9" y="1008"/>
                  </a:cubicBezTo>
                  <a:cubicBezTo>
                    <a:pt x="6" y="993"/>
                    <a:pt x="0" y="967"/>
                    <a:pt x="5" y="962"/>
                  </a:cubicBezTo>
                  <a:cubicBezTo>
                    <a:pt x="8" y="960"/>
                    <a:pt x="9" y="960"/>
                    <a:pt x="14" y="965"/>
                  </a:cubicBezTo>
                  <a:cubicBezTo>
                    <a:pt x="19" y="970"/>
                    <a:pt x="28" y="979"/>
                    <a:pt x="42" y="974"/>
                  </a:cubicBezTo>
                  <a:cubicBezTo>
                    <a:pt x="57" y="970"/>
                    <a:pt x="64" y="960"/>
                    <a:pt x="69" y="952"/>
                  </a:cubicBezTo>
                  <a:cubicBezTo>
                    <a:pt x="70" y="949"/>
                    <a:pt x="72" y="947"/>
                    <a:pt x="75" y="944"/>
                  </a:cubicBezTo>
                  <a:cubicBezTo>
                    <a:pt x="82" y="936"/>
                    <a:pt x="93" y="932"/>
                    <a:pt x="103" y="928"/>
                  </a:cubicBezTo>
                  <a:cubicBezTo>
                    <a:pt x="117" y="923"/>
                    <a:pt x="133" y="916"/>
                    <a:pt x="145" y="901"/>
                  </a:cubicBezTo>
                  <a:cubicBezTo>
                    <a:pt x="164" y="875"/>
                    <a:pt x="179" y="839"/>
                    <a:pt x="184" y="802"/>
                  </a:cubicBezTo>
                  <a:cubicBezTo>
                    <a:pt x="189" y="776"/>
                    <a:pt x="199" y="764"/>
                    <a:pt x="217" y="745"/>
                  </a:cubicBezTo>
                  <a:cubicBezTo>
                    <a:pt x="220" y="741"/>
                    <a:pt x="224" y="738"/>
                    <a:pt x="227" y="733"/>
                  </a:cubicBezTo>
                  <a:cubicBezTo>
                    <a:pt x="252" y="703"/>
                    <a:pt x="255" y="679"/>
                    <a:pt x="260" y="649"/>
                  </a:cubicBezTo>
                  <a:cubicBezTo>
                    <a:pt x="260" y="644"/>
                    <a:pt x="262" y="639"/>
                    <a:pt x="262" y="633"/>
                  </a:cubicBezTo>
                  <a:cubicBezTo>
                    <a:pt x="265" y="615"/>
                    <a:pt x="273" y="598"/>
                    <a:pt x="281" y="582"/>
                  </a:cubicBezTo>
                  <a:cubicBezTo>
                    <a:pt x="286" y="570"/>
                    <a:pt x="291" y="560"/>
                    <a:pt x="296" y="549"/>
                  </a:cubicBezTo>
                  <a:cubicBezTo>
                    <a:pt x="299" y="540"/>
                    <a:pt x="301" y="532"/>
                    <a:pt x="303" y="524"/>
                  </a:cubicBezTo>
                  <a:cubicBezTo>
                    <a:pt x="303" y="521"/>
                    <a:pt x="304" y="519"/>
                    <a:pt x="304" y="516"/>
                  </a:cubicBezTo>
                  <a:cubicBezTo>
                    <a:pt x="308" y="507"/>
                    <a:pt x="309" y="499"/>
                    <a:pt x="314" y="491"/>
                  </a:cubicBezTo>
                  <a:cubicBezTo>
                    <a:pt x="318" y="484"/>
                    <a:pt x="322" y="478"/>
                    <a:pt x="329" y="473"/>
                  </a:cubicBezTo>
                  <a:cubicBezTo>
                    <a:pt x="332" y="471"/>
                    <a:pt x="336" y="470"/>
                    <a:pt x="341" y="468"/>
                  </a:cubicBezTo>
                  <a:cubicBezTo>
                    <a:pt x="346" y="466"/>
                    <a:pt x="350" y="465"/>
                    <a:pt x="355" y="460"/>
                  </a:cubicBezTo>
                  <a:cubicBezTo>
                    <a:pt x="367" y="473"/>
                    <a:pt x="375" y="489"/>
                    <a:pt x="383" y="504"/>
                  </a:cubicBezTo>
                  <a:cubicBezTo>
                    <a:pt x="388" y="514"/>
                    <a:pt x="393" y="524"/>
                    <a:pt x="400" y="532"/>
                  </a:cubicBezTo>
                  <a:cubicBezTo>
                    <a:pt x="426" y="577"/>
                    <a:pt x="459" y="570"/>
                    <a:pt x="487" y="562"/>
                  </a:cubicBezTo>
                  <a:cubicBezTo>
                    <a:pt x="502" y="558"/>
                    <a:pt x="519" y="555"/>
                    <a:pt x="535" y="558"/>
                  </a:cubicBezTo>
                  <a:cubicBezTo>
                    <a:pt x="563" y="565"/>
                    <a:pt x="594" y="572"/>
                    <a:pt x="622" y="580"/>
                  </a:cubicBezTo>
                  <a:cubicBezTo>
                    <a:pt x="629" y="582"/>
                    <a:pt x="635" y="585"/>
                    <a:pt x="644" y="590"/>
                  </a:cubicBezTo>
                  <a:cubicBezTo>
                    <a:pt x="654" y="596"/>
                    <a:pt x="665" y="603"/>
                    <a:pt x="678" y="605"/>
                  </a:cubicBezTo>
                  <a:cubicBezTo>
                    <a:pt x="682" y="605"/>
                    <a:pt x="685" y="605"/>
                    <a:pt x="690" y="605"/>
                  </a:cubicBezTo>
                  <a:cubicBezTo>
                    <a:pt x="716" y="600"/>
                    <a:pt x="734" y="575"/>
                    <a:pt x="738" y="539"/>
                  </a:cubicBezTo>
                  <a:cubicBezTo>
                    <a:pt x="741" y="514"/>
                    <a:pt x="733" y="506"/>
                    <a:pt x="726" y="496"/>
                  </a:cubicBezTo>
                  <a:cubicBezTo>
                    <a:pt x="723" y="493"/>
                    <a:pt x="719" y="489"/>
                    <a:pt x="716" y="483"/>
                  </a:cubicBezTo>
                  <a:cubicBezTo>
                    <a:pt x="693" y="445"/>
                    <a:pt x="711" y="390"/>
                    <a:pt x="731" y="346"/>
                  </a:cubicBezTo>
                  <a:cubicBezTo>
                    <a:pt x="741" y="323"/>
                    <a:pt x="747" y="315"/>
                    <a:pt x="769" y="310"/>
                  </a:cubicBezTo>
                  <a:lnTo>
                    <a:pt x="777" y="308"/>
                  </a:lnTo>
                  <a:cubicBezTo>
                    <a:pt x="799" y="303"/>
                    <a:pt x="838" y="293"/>
                    <a:pt x="833" y="250"/>
                  </a:cubicBezTo>
                  <a:cubicBezTo>
                    <a:pt x="832" y="237"/>
                    <a:pt x="825" y="227"/>
                    <a:pt x="822" y="217"/>
                  </a:cubicBezTo>
                  <a:cubicBezTo>
                    <a:pt x="815" y="206"/>
                    <a:pt x="810" y="199"/>
                    <a:pt x="815" y="183"/>
                  </a:cubicBezTo>
                  <a:cubicBezTo>
                    <a:pt x="822" y="158"/>
                    <a:pt x="838" y="135"/>
                    <a:pt x="850" y="119"/>
                  </a:cubicBezTo>
                  <a:cubicBezTo>
                    <a:pt x="855" y="112"/>
                    <a:pt x="861" y="105"/>
                    <a:pt x="868" y="99"/>
                  </a:cubicBezTo>
                  <a:cubicBezTo>
                    <a:pt x="879" y="87"/>
                    <a:pt x="892" y="74"/>
                    <a:pt x="899" y="58"/>
                  </a:cubicBezTo>
                  <a:cubicBezTo>
                    <a:pt x="904" y="45"/>
                    <a:pt x="906" y="31"/>
                    <a:pt x="906" y="17"/>
                  </a:cubicBezTo>
                  <a:cubicBezTo>
                    <a:pt x="911" y="15"/>
                    <a:pt x="916" y="13"/>
                    <a:pt x="919" y="10"/>
                  </a:cubicBezTo>
                  <a:cubicBezTo>
                    <a:pt x="934" y="5"/>
                    <a:pt x="944" y="0"/>
                    <a:pt x="958" y="8"/>
                  </a:cubicBezTo>
                  <a:cubicBezTo>
                    <a:pt x="962" y="10"/>
                    <a:pt x="965" y="15"/>
                    <a:pt x="970" y="18"/>
                  </a:cubicBezTo>
                  <a:cubicBezTo>
                    <a:pt x="976" y="25"/>
                    <a:pt x="985" y="35"/>
                    <a:pt x="1000" y="36"/>
                  </a:cubicBezTo>
                  <a:cubicBezTo>
                    <a:pt x="1013" y="38"/>
                    <a:pt x="1021" y="33"/>
                    <a:pt x="1028" y="30"/>
                  </a:cubicBezTo>
                  <a:cubicBezTo>
                    <a:pt x="1031" y="26"/>
                    <a:pt x="1032" y="25"/>
                    <a:pt x="1036" y="25"/>
                  </a:cubicBezTo>
                  <a:cubicBezTo>
                    <a:pt x="1042" y="23"/>
                    <a:pt x="1049" y="26"/>
                    <a:pt x="1060" y="33"/>
                  </a:cubicBezTo>
                  <a:cubicBezTo>
                    <a:pt x="1072" y="40"/>
                    <a:pt x="1087" y="49"/>
                    <a:pt x="1105" y="43"/>
                  </a:cubicBezTo>
                  <a:cubicBezTo>
                    <a:pt x="1115" y="40"/>
                    <a:pt x="1121" y="33"/>
                    <a:pt x="1128" y="26"/>
                  </a:cubicBezTo>
                  <a:cubicBezTo>
                    <a:pt x="1135" y="21"/>
                    <a:pt x="1140" y="17"/>
                    <a:pt x="1146" y="13"/>
                  </a:cubicBezTo>
                  <a:cubicBezTo>
                    <a:pt x="1154" y="10"/>
                    <a:pt x="1173" y="5"/>
                    <a:pt x="1189" y="10"/>
                  </a:cubicBezTo>
                  <a:cubicBezTo>
                    <a:pt x="1197" y="12"/>
                    <a:pt x="1199" y="15"/>
                    <a:pt x="1204" y="21"/>
                  </a:cubicBezTo>
                  <a:cubicBezTo>
                    <a:pt x="1207" y="25"/>
                    <a:pt x="1210" y="30"/>
                    <a:pt x="1215" y="33"/>
                  </a:cubicBezTo>
                  <a:cubicBezTo>
                    <a:pt x="1224" y="40"/>
                    <a:pt x="1235" y="45"/>
                    <a:pt x="1245" y="48"/>
                  </a:cubicBezTo>
                  <a:cubicBezTo>
                    <a:pt x="1250" y="49"/>
                    <a:pt x="1253" y="51"/>
                    <a:pt x="1257" y="53"/>
                  </a:cubicBezTo>
                  <a:cubicBezTo>
                    <a:pt x="1281" y="63"/>
                    <a:pt x="1303" y="77"/>
                    <a:pt x="1326" y="92"/>
                  </a:cubicBezTo>
                  <a:lnTo>
                    <a:pt x="1337" y="101"/>
                  </a:lnTo>
                  <a:cubicBezTo>
                    <a:pt x="1383" y="132"/>
                    <a:pt x="1431" y="165"/>
                    <a:pt x="1492" y="168"/>
                  </a:cubicBezTo>
                  <a:cubicBezTo>
                    <a:pt x="1504" y="170"/>
                    <a:pt x="1515" y="168"/>
                    <a:pt x="1525" y="166"/>
                  </a:cubicBezTo>
                  <a:cubicBezTo>
                    <a:pt x="1527" y="186"/>
                    <a:pt x="1523" y="206"/>
                    <a:pt x="1507" y="219"/>
                  </a:cubicBezTo>
                  <a:cubicBezTo>
                    <a:pt x="1502" y="222"/>
                    <a:pt x="1497" y="226"/>
                    <a:pt x="1492" y="229"/>
                  </a:cubicBezTo>
                  <a:cubicBezTo>
                    <a:pt x="1482" y="236"/>
                    <a:pt x="1469" y="244"/>
                    <a:pt x="1461" y="259"/>
                  </a:cubicBezTo>
                  <a:cubicBezTo>
                    <a:pt x="1453" y="273"/>
                    <a:pt x="1449" y="290"/>
                    <a:pt x="1446" y="305"/>
                  </a:cubicBezTo>
                  <a:cubicBezTo>
                    <a:pt x="1446" y="313"/>
                    <a:pt x="1443" y="321"/>
                    <a:pt x="1441" y="330"/>
                  </a:cubicBezTo>
                  <a:cubicBezTo>
                    <a:pt x="1416" y="407"/>
                    <a:pt x="1341" y="466"/>
                    <a:pt x="1275" y="521"/>
                  </a:cubicBezTo>
                  <a:cubicBezTo>
                    <a:pt x="1266" y="529"/>
                    <a:pt x="1257" y="535"/>
                    <a:pt x="1248" y="544"/>
                  </a:cubicBezTo>
                  <a:cubicBezTo>
                    <a:pt x="1217" y="568"/>
                    <a:pt x="1191" y="577"/>
                    <a:pt x="1151" y="588"/>
                  </a:cubicBezTo>
                  <a:cubicBezTo>
                    <a:pt x="1126" y="595"/>
                    <a:pt x="1062" y="613"/>
                    <a:pt x="1060" y="674"/>
                  </a:cubicBezTo>
                  <a:cubicBezTo>
                    <a:pt x="1059" y="705"/>
                    <a:pt x="1070" y="730"/>
                    <a:pt x="1080" y="751"/>
                  </a:cubicBezTo>
                  <a:cubicBezTo>
                    <a:pt x="1097" y="786"/>
                    <a:pt x="1107" y="809"/>
                    <a:pt x="1072" y="845"/>
                  </a:cubicBezTo>
                  <a:cubicBezTo>
                    <a:pt x="1070" y="848"/>
                    <a:pt x="1069" y="850"/>
                    <a:pt x="1065" y="85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21" name="Freeform 57">
              <a:extLst>
                <a:ext uri="{FF2B5EF4-FFF2-40B4-BE49-F238E27FC236}">
                  <a16:creationId xmlns:a16="http://schemas.microsoft.com/office/drawing/2014/main" id="{A7B0A640-58DA-A546-8A92-79AD308534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1038" y="3273425"/>
              <a:ext cx="555625" cy="642938"/>
            </a:xfrm>
            <a:custGeom>
              <a:avLst/>
              <a:gdLst>
                <a:gd name="T0" fmla="*/ 1207 w 1544"/>
                <a:gd name="T1" fmla="*/ 1738 h 1787"/>
                <a:gd name="T2" fmla="*/ 1192 w 1544"/>
                <a:gd name="T3" fmla="*/ 1785 h 1787"/>
                <a:gd name="T4" fmla="*/ 1043 w 1544"/>
                <a:gd name="T5" fmla="*/ 1765 h 1787"/>
                <a:gd name="T6" fmla="*/ 982 w 1544"/>
                <a:gd name="T7" fmla="*/ 1765 h 1787"/>
                <a:gd name="T8" fmla="*/ 795 w 1544"/>
                <a:gd name="T9" fmla="*/ 1661 h 1787"/>
                <a:gd name="T10" fmla="*/ 700 w 1544"/>
                <a:gd name="T11" fmla="*/ 1678 h 1787"/>
                <a:gd name="T12" fmla="*/ 664 w 1544"/>
                <a:gd name="T13" fmla="*/ 1694 h 1787"/>
                <a:gd name="T14" fmla="*/ 629 w 1544"/>
                <a:gd name="T15" fmla="*/ 1658 h 1787"/>
                <a:gd name="T16" fmla="*/ 543 w 1544"/>
                <a:gd name="T17" fmla="*/ 1602 h 1787"/>
                <a:gd name="T18" fmla="*/ 428 w 1544"/>
                <a:gd name="T19" fmla="*/ 1552 h 1787"/>
                <a:gd name="T20" fmla="*/ 356 w 1544"/>
                <a:gd name="T21" fmla="*/ 1491 h 1787"/>
                <a:gd name="T22" fmla="*/ 189 w 1544"/>
                <a:gd name="T23" fmla="*/ 1455 h 1787"/>
                <a:gd name="T24" fmla="*/ 174 w 1544"/>
                <a:gd name="T25" fmla="*/ 1453 h 1787"/>
                <a:gd name="T26" fmla="*/ 150 w 1544"/>
                <a:gd name="T27" fmla="*/ 1427 h 1787"/>
                <a:gd name="T28" fmla="*/ 92 w 1544"/>
                <a:gd name="T29" fmla="*/ 1391 h 1787"/>
                <a:gd name="T30" fmla="*/ 46 w 1544"/>
                <a:gd name="T31" fmla="*/ 1348 h 1787"/>
                <a:gd name="T32" fmla="*/ 1 w 1544"/>
                <a:gd name="T33" fmla="*/ 1320 h 1787"/>
                <a:gd name="T34" fmla="*/ 11 w 1544"/>
                <a:gd name="T35" fmla="*/ 1276 h 1787"/>
                <a:gd name="T36" fmla="*/ 38 w 1544"/>
                <a:gd name="T37" fmla="*/ 1244 h 1787"/>
                <a:gd name="T38" fmla="*/ 79 w 1544"/>
                <a:gd name="T39" fmla="*/ 1168 h 1787"/>
                <a:gd name="T40" fmla="*/ 105 w 1544"/>
                <a:gd name="T41" fmla="*/ 1142 h 1787"/>
                <a:gd name="T42" fmla="*/ 168 w 1544"/>
                <a:gd name="T43" fmla="*/ 1159 h 1787"/>
                <a:gd name="T44" fmla="*/ 268 w 1544"/>
                <a:gd name="T45" fmla="*/ 1078 h 1787"/>
                <a:gd name="T46" fmla="*/ 362 w 1544"/>
                <a:gd name="T47" fmla="*/ 1042 h 1787"/>
                <a:gd name="T48" fmla="*/ 464 w 1544"/>
                <a:gd name="T49" fmla="*/ 994 h 1787"/>
                <a:gd name="T50" fmla="*/ 547 w 1544"/>
                <a:gd name="T51" fmla="*/ 933 h 1787"/>
                <a:gd name="T52" fmla="*/ 670 w 1544"/>
                <a:gd name="T53" fmla="*/ 842 h 1787"/>
                <a:gd name="T54" fmla="*/ 657 w 1544"/>
                <a:gd name="T55" fmla="*/ 791 h 1787"/>
                <a:gd name="T56" fmla="*/ 682 w 1544"/>
                <a:gd name="T57" fmla="*/ 758 h 1787"/>
                <a:gd name="T58" fmla="*/ 677 w 1544"/>
                <a:gd name="T59" fmla="*/ 570 h 1787"/>
                <a:gd name="T60" fmla="*/ 855 w 1544"/>
                <a:gd name="T61" fmla="*/ 458 h 1787"/>
                <a:gd name="T62" fmla="*/ 1056 w 1544"/>
                <a:gd name="T63" fmla="*/ 233 h 1787"/>
                <a:gd name="T64" fmla="*/ 1074 w 1544"/>
                <a:gd name="T65" fmla="*/ 167 h 1787"/>
                <a:gd name="T66" fmla="*/ 1115 w 1544"/>
                <a:gd name="T67" fmla="*/ 134 h 1787"/>
                <a:gd name="T68" fmla="*/ 1199 w 1544"/>
                <a:gd name="T69" fmla="*/ 0 h 1787"/>
                <a:gd name="T70" fmla="*/ 1222 w 1544"/>
                <a:gd name="T71" fmla="*/ 50 h 1787"/>
                <a:gd name="T72" fmla="*/ 1290 w 1544"/>
                <a:gd name="T73" fmla="*/ 152 h 1787"/>
                <a:gd name="T74" fmla="*/ 1413 w 1544"/>
                <a:gd name="T75" fmla="*/ 325 h 1787"/>
                <a:gd name="T76" fmla="*/ 1458 w 1544"/>
                <a:gd name="T77" fmla="*/ 444 h 1787"/>
                <a:gd name="T78" fmla="*/ 1425 w 1544"/>
                <a:gd name="T79" fmla="*/ 538 h 1787"/>
                <a:gd name="T80" fmla="*/ 1402 w 1544"/>
                <a:gd name="T81" fmla="*/ 907 h 1787"/>
                <a:gd name="T82" fmla="*/ 1524 w 1544"/>
                <a:gd name="T83" fmla="*/ 1126 h 1787"/>
                <a:gd name="T84" fmla="*/ 1530 w 1544"/>
                <a:gd name="T85" fmla="*/ 1299 h 1787"/>
                <a:gd name="T86" fmla="*/ 1540 w 1544"/>
                <a:gd name="T87" fmla="*/ 1369 h 1787"/>
                <a:gd name="T88" fmla="*/ 1530 w 1544"/>
                <a:gd name="T89" fmla="*/ 1458 h 1787"/>
                <a:gd name="T90" fmla="*/ 1316 w 1544"/>
                <a:gd name="T91" fmla="*/ 1537 h 1787"/>
                <a:gd name="T92" fmla="*/ 1227 w 1544"/>
                <a:gd name="T93" fmla="*/ 1663 h 1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44" h="1787">
                  <a:moveTo>
                    <a:pt x="1225" y="1666"/>
                  </a:moveTo>
                  <a:cubicBezTo>
                    <a:pt x="1216" y="1689"/>
                    <a:pt x="1207" y="1709"/>
                    <a:pt x="1207" y="1738"/>
                  </a:cubicBezTo>
                  <a:lnTo>
                    <a:pt x="1207" y="1748"/>
                  </a:lnTo>
                  <a:cubicBezTo>
                    <a:pt x="1207" y="1768"/>
                    <a:pt x="1207" y="1775"/>
                    <a:pt x="1192" y="1785"/>
                  </a:cubicBezTo>
                  <a:cubicBezTo>
                    <a:pt x="1156" y="1735"/>
                    <a:pt x="1118" y="1730"/>
                    <a:pt x="1090" y="1738"/>
                  </a:cubicBezTo>
                  <a:cubicBezTo>
                    <a:pt x="1072" y="1743"/>
                    <a:pt x="1057" y="1755"/>
                    <a:pt x="1043" y="1765"/>
                  </a:cubicBezTo>
                  <a:cubicBezTo>
                    <a:pt x="1029" y="1776"/>
                    <a:pt x="1016" y="1786"/>
                    <a:pt x="1005" y="1785"/>
                  </a:cubicBezTo>
                  <a:cubicBezTo>
                    <a:pt x="998" y="1783"/>
                    <a:pt x="990" y="1776"/>
                    <a:pt x="982" y="1765"/>
                  </a:cubicBezTo>
                  <a:cubicBezTo>
                    <a:pt x="944" y="1706"/>
                    <a:pt x="891" y="1674"/>
                    <a:pt x="817" y="1664"/>
                  </a:cubicBezTo>
                  <a:cubicBezTo>
                    <a:pt x="810" y="1663"/>
                    <a:pt x="802" y="1661"/>
                    <a:pt x="795" y="1661"/>
                  </a:cubicBezTo>
                  <a:cubicBezTo>
                    <a:pt x="779" y="1656"/>
                    <a:pt x="759" y="1653"/>
                    <a:pt x="739" y="1656"/>
                  </a:cubicBezTo>
                  <a:cubicBezTo>
                    <a:pt x="725" y="1659"/>
                    <a:pt x="711" y="1669"/>
                    <a:pt x="700" y="1678"/>
                  </a:cubicBezTo>
                  <a:cubicBezTo>
                    <a:pt x="688" y="1686"/>
                    <a:pt x="677" y="1692"/>
                    <a:pt x="665" y="1694"/>
                  </a:cubicBezTo>
                  <a:cubicBezTo>
                    <a:pt x="665" y="1696"/>
                    <a:pt x="665" y="1696"/>
                    <a:pt x="664" y="1694"/>
                  </a:cubicBezTo>
                  <a:cubicBezTo>
                    <a:pt x="650" y="1697"/>
                    <a:pt x="644" y="1694"/>
                    <a:pt x="639" y="1682"/>
                  </a:cubicBezTo>
                  <a:cubicBezTo>
                    <a:pt x="636" y="1678"/>
                    <a:pt x="632" y="1669"/>
                    <a:pt x="629" y="1658"/>
                  </a:cubicBezTo>
                  <a:lnTo>
                    <a:pt x="627" y="1651"/>
                  </a:lnTo>
                  <a:cubicBezTo>
                    <a:pt x="613" y="1600"/>
                    <a:pt x="578" y="1598"/>
                    <a:pt x="543" y="1602"/>
                  </a:cubicBezTo>
                  <a:cubicBezTo>
                    <a:pt x="509" y="1605"/>
                    <a:pt x="502" y="1603"/>
                    <a:pt x="476" y="1580"/>
                  </a:cubicBezTo>
                  <a:cubicBezTo>
                    <a:pt x="461" y="1569"/>
                    <a:pt x="445" y="1561"/>
                    <a:pt x="428" y="1552"/>
                  </a:cubicBezTo>
                  <a:cubicBezTo>
                    <a:pt x="412" y="1546"/>
                    <a:pt x="397" y="1537"/>
                    <a:pt x="384" y="1526"/>
                  </a:cubicBezTo>
                  <a:cubicBezTo>
                    <a:pt x="374" y="1518"/>
                    <a:pt x="364" y="1505"/>
                    <a:pt x="356" y="1491"/>
                  </a:cubicBezTo>
                  <a:cubicBezTo>
                    <a:pt x="336" y="1463"/>
                    <a:pt x="314" y="1432"/>
                    <a:pt x="268" y="1430"/>
                  </a:cubicBezTo>
                  <a:cubicBezTo>
                    <a:pt x="240" y="1430"/>
                    <a:pt x="214" y="1440"/>
                    <a:pt x="189" y="1455"/>
                  </a:cubicBezTo>
                  <a:lnTo>
                    <a:pt x="189" y="1455"/>
                  </a:lnTo>
                  <a:cubicBezTo>
                    <a:pt x="183" y="1455"/>
                    <a:pt x="178" y="1455"/>
                    <a:pt x="174" y="1453"/>
                  </a:cubicBezTo>
                  <a:cubicBezTo>
                    <a:pt x="165" y="1452"/>
                    <a:pt x="163" y="1449"/>
                    <a:pt x="160" y="1442"/>
                  </a:cubicBezTo>
                  <a:cubicBezTo>
                    <a:pt x="156" y="1437"/>
                    <a:pt x="153" y="1434"/>
                    <a:pt x="150" y="1427"/>
                  </a:cubicBezTo>
                  <a:cubicBezTo>
                    <a:pt x="138" y="1416"/>
                    <a:pt x="125" y="1409"/>
                    <a:pt x="113" y="1404"/>
                  </a:cubicBezTo>
                  <a:cubicBezTo>
                    <a:pt x="105" y="1399"/>
                    <a:pt x="99" y="1396"/>
                    <a:pt x="92" y="1391"/>
                  </a:cubicBezTo>
                  <a:cubicBezTo>
                    <a:pt x="85" y="1386"/>
                    <a:pt x="80" y="1381"/>
                    <a:pt x="76" y="1374"/>
                  </a:cubicBezTo>
                  <a:cubicBezTo>
                    <a:pt x="67" y="1365"/>
                    <a:pt x="59" y="1355"/>
                    <a:pt x="46" y="1348"/>
                  </a:cubicBezTo>
                  <a:cubicBezTo>
                    <a:pt x="39" y="1343"/>
                    <a:pt x="31" y="1341"/>
                    <a:pt x="24" y="1338"/>
                  </a:cubicBezTo>
                  <a:cubicBezTo>
                    <a:pt x="10" y="1335"/>
                    <a:pt x="5" y="1332"/>
                    <a:pt x="1" y="1320"/>
                  </a:cubicBezTo>
                  <a:cubicBezTo>
                    <a:pt x="0" y="1313"/>
                    <a:pt x="0" y="1309"/>
                    <a:pt x="1" y="1302"/>
                  </a:cubicBezTo>
                  <a:cubicBezTo>
                    <a:pt x="3" y="1294"/>
                    <a:pt x="6" y="1285"/>
                    <a:pt x="11" y="1276"/>
                  </a:cubicBezTo>
                  <a:cubicBezTo>
                    <a:pt x="11" y="1276"/>
                    <a:pt x="13" y="1276"/>
                    <a:pt x="13" y="1274"/>
                  </a:cubicBezTo>
                  <a:cubicBezTo>
                    <a:pt x="20" y="1262"/>
                    <a:pt x="28" y="1252"/>
                    <a:pt x="38" y="1244"/>
                  </a:cubicBezTo>
                  <a:cubicBezTo>
                    <a:pt x="52" y="1228"/>
                    <a:pt x="67" y="1213"/>
                    <a:pt x="74" y="1190"/>
                  </a:cubicBezTo>
                  <a:cubicBezTo>
                    <a:pt x="77" y="1183"/>
                    <a:pt x="77" y="1175"/>
                    <a:pt x="79" y="1168"/>
                  </a:cubicBezTo>
                  <a:cubicBezTo>
                    <a:pt x="80" y="1157"/>
                    <a:pt x="84" y="1140"/>
                    <a:pt x="89" y="1139"/>
                  </a:cubicBezTo>
                  <a:cubicBezTo>
                    <a:pt x="92" y="1137"/>
                    <a:pt x="97" y="1139"/>
                    <a:pt x="105" y="1142"/>
                  </a:cubicBezTo>
                  <a:cubicBezTo>
                    <a:pt x="112" y="1144"/>
                    <a:pt x="117" y="1147"/>
                    <a:pt x="120" y="1149"/>
                  </a:cubicBezTo>
                  <a:cubicBezTo>
                    <a:pt x="132" y="1157"/>
                    <a:pt x="143" y="1164"/>
                    <a:pt x="168" y="1159"/>
                  </a:cubicBezTo>
                  <a:cubicBezTo>
                    <a:pt x="189" y="1154"/>
                    <a:pt x="217" y="1137"/>
                    <a:pt x="234" y="1124"/>
                  </a:cubicBezTo>
                  <a:cubicBezTo>
                    <a:pt x="249" y="1111"/>
                    <a:pt x="258" y="1094"/>
                    <a:pt x="268" y="1078"/>
                  </a:cubicBezTo>
                  <a:cubicBezTo>
                    <a:pt x="281" y="1056"/>
                    <a:pt x="293" y="1037"/>
                    <a:pt x="316" y="1028"/>
                  </a:cubicBezTo>
                  <a:cubicBezTo>
                    <a:pt x="333" y="1024"/>
                    <a:pt x="344" y="1030"/>
                    <a:pt x="362" y="1042"/>
                  </a:cubicBezTo>
                  <a:cubicBezTo>
                    <a:pt x="379" y="1053"/>
                    <a:pt x="400" y="1066"/>
                    <a:pt x="426" y="1058"/>
                  </a:cubicBezTo>
                  <a:cubicBezTo>
                    <a:pt x="464" y="1047"/>
                    <a:pt x="464" y="1015"/>
                    <a:pt x="464" y="994"/>
                  </a:cubicBezTo>
                  <a:cubicBezTo>
                    <a:pt x="464" y="979"/>
                    <a:pt x="464" y="967"/>
                    <a:pt x="471" y="959"/>
                  </a:cubicBezTo>
                  <a:cubicBezTo>
                    <a:pt x="489" y="938"/>
                    <a:pt x="517" y="935"/>
                    <a:pt x="547" y="933"/>
                  </a:cubicBezTo>
                  <a:cubicBezTo>
                    <a:pt x="562" y="930"/>
                    <a:pt x="576" y="930"/>
                    <a:pt x="590" y="925"/>
                  </a:cubicBezTo>
                  <a:cubicBezTo>
                    <a:pt x="659" y="908"/>
                    <a:pt x="672" y="870"/>
                    <a:pt x="670" y="842"/>
                  </a:cubicBezTo>
                  <a:cubicBezTo>
                    <a:pt x="669" y="832"/>
                    <a:pt x="665" y="824"/>
                    <a:pt x="664" y="814"/>
                  </a:cubicBezTo>
                  <a:cubicBezTo>
                    <a:pt x="660" y="806"/>
                    <a:pt x="657" y="798"/>
                    <a:pt x="657" y="791"/>
                  </a:cubicBezTo>
                  <a:cubicBezTo>
                    <a:pt x="659" y="781"/>
                    <a:pt x="664" y="776"/>
                    <a:pt x="674" y="767"/>
                  </a:cubicBezTo>
                  <a:cubicBezTo>
                    <a:pt x="677" y="763"/>
                    <a:pt x="679" y="762"/>
                    <a:pt x="682" y="758"/>
                  </a:cubicBezTo>
                  <a:cubicBezTo>
                    <a:pt x="728" y="709"/>
                    <a:pt x="711" y="673"/>
                    <a:pt x="695" y="636"/>
                  </a:cubicBezTo>
                  <a:cubicBezTo>
                    <a:pt x="685" y="617"/>
                    <a:pt x="677" y="595"/>
                    <a:pt x="677" y="570"/>
                  </a:cubicBezTo>
                  <a:cubicBezTo>
                    <a:pt x="677" y="541"/>
                    <a:pt x="698" y="521"/>
                    <a:pt x="749" y="508"/>
                  </a:cubicBezTo>
                  <a:cubicBezTo>
                    <a:pt x="791" y="496"/>
                    <a:pt x="820" y="488"/>
                    <a:pt x="855" y="458"/>
                  </a:cubicBezTo>
                  <a:cubicBezTo>
                    <a:pt x="863" y="452"/>
                    <a:pt x="873" y="444"/>
                    <a:pt x="883" y="435"/>
                  </a:cubicBezTo>
                  <a:cubicBezTo>
                    <a:pt x="950" y="381"/>
                    <a:pt x="1028" y="317"/>
                    <a:pt x="1056" y="233"/>
                  </a:cubicBezTo>
                  <a:cubicBezTo>
                    <a:pt x="1059" y="225"/>
                    <a:pt x="1061" y="215"/>
                    <a:pt x="1062" y="205"/>
                  </a:cubicBezTo>
                  <a:cubicBezTo>
                    <a:pt x="1066" y="192"/>
                    <a:pt x="1067" y="178"/>
                    <a:pt x="1074" y="167"/>
                  </a:cubicBezTo>
                  <a:cubicBezTo>
                    <a:pt x="1079" y="157"/>
                    <a:pt x="1087" y="152"/>
                    <a:pt x="1095" y="147"/>
                  </a:cubicBezTo>
                  <a:cubicBezTo>
                    <a:pt x="1102" y="144"/>
                    <a:pt x="1108" y="139"/>
                    <a:pt x="1115" y="134"/>
                  </a:cubicBezTo>
                  <a:cubicBezTo>
                    <a:pt x="1140" y="112"/>
                    <a:pt x="1143" y="81"/>
                    <a:pt x="1140" y="53"/>
                  </a:cubicBezTo>
                  <a:cubicBezTo>
                    <a:pt x="1163" y="42"/>
                    <a:pt x="1183" y="22"/>
                    <a:pt x="1199" y="0"/>
                  </a:cubicBezTo>
                  <a:cubicBezTo>
                    <a:pt x="1209" y="12"/>
                    <a:pt x="1216" y="25"/>
                    <a:pt x="1221" y="42"/>
                  </a:cubicBezTo>
                  <a:lnTo>
                    <a:pt x="1222" y="50"/>
                  </a:lnTo>
                  <a:cubicBezTo>
                    <a:pt x="1229" y="81"/>
                    <a:pt x="1235" y="106"/>
                    <a:pt x="1265" y="131"/>
                  </a:cubicBezTo>
                  <a:cubicBezTo>
                    <a:pt x="1273" y="137"/>
                    <a:pt x="1281" y="145"/>
                    <a:pt x="1290" y="152"/>
                  </a:cubicBezTo>
                  <a:cubicBezTo>
                    <a:pt x="1308" y="165"/>
                    <a:pt x="1326" y="178"/>
                    <a:pt x="1339" y="197"/>
                  </a:cubicBezTo>
                  <a:cubicBezTo>
                    <a:pt x="1367" y="234"/>
                    <a:pt x="1390" y="281"/>
                    <a:pt x="1413" y="325"/>
                  </a:cubicBezTo>
                  <a:cubicBezTo>
                    <a:pt x="1418" y="338"/>
                    <a:pt x="1425" y="350"/>
                    <a:pt x="1431" y="363"/>
                  </a:cubicBezTo>
                  <a:cubicBezTo>
                    <a:pt x="1445" y="389"/>
                    <a:pt x="1458" y="416"/>
                    <a:pt x="1458" y="444"/>
                  </a:cubicBezTo>
                  <a:cubicBezTo>
                    <a:pt x="1458" y="468"/>
                    <a:pt x="1448" y="488"/>
                    <a:pt x="1436" y="511"/>
                  </a:cubicBezTo>
                  <a:cubicBezTo>
                    <a:pt x="1433" y="519"/>
                    <a:pt x="1430" y="529"/>
                    <a:pt x="1425" y="538"/>
                  </a:cubicBezTo>
                  <a:cubicBezTo>
                    <a:pt x="1400" y="600"/>
                    <a:pt x="1398" y="669"/>
                    <a:pt x="1421" y="755"/>
                  </a:cubicBezTo>
                  <a:cubicBezTo>
                    <a:pt x="1438" y="816"/>
                    <a:pt x="1428" y="849"/>
                    <a:pt x="1402" y="907"/>
                  </a:cubicBezTo>
                  <a:cubicBezTo>
                    <a:pt x="1367" y="986"/>
                    <a:pt x="1415" y="1020"/>
                    <a:pt x="1456" y="1050"/>
                  </a:cubicBezTo>
                  <a:cubicBezTo>
                    <a:pt x="1486" y="1070"/>
                    <a:pt x="1515" y="1091"/>
                    <a:pt x="1524" y="1126"/>
                  </a:cubicBezTo>
                  <a:cubicBezTo>
                    <a:pt x="1530" y="1155"/>
                    <a:pt x="1530" y="1185"/>
                    <a:pt x="1529" y="1216"/>
                  </a:cubicBezTo>
                  <a:cubicBezTo>
                    <a:pt x="1527" y="1243"/>
                    <a:pt x="1525" y="1271"/>
                    <a:pt x="1530" y="1299"/>
                  </a:cubicBezTo>
                  <a:lnTo>
                    <a:pt x="1534" y="1320"/>
                  </a:lnTo>
                  <a:cubicBezTo>
                    <a:pt x="1537" y="1337"/>
                    <a:pt x="1538" y="1353"/>
                    <a:pt x="1540" y="1369"/>
                  </a:cubicBezTo>
                  <a:cubicBezTo>
                    <a:pt x="1542" y="1378"/>
                    <a:pt x="1542" y="1386"/>
                    <a:pt x="1542" y="1396"/>
                  </a:cubicBezTo>
                  <a:cubicBezTo>
                    <a:pt x="1543" y="1417"/>
                    <a:pt x="1540" y="1439"/>
                    <a:pt x="1530" y="1458"/>
                  </a:cubicBezTo>
                  <a:cubicBezTo>
                    <a:pt x="1507" y="1509"/>
                    <a:pt x="1459" y="1514"/>
                    <a:pt x="1405" y="1519"/>
                  </a:cubicBezTo>
                  <a:cubicBezTo>
                    <a:pt x="1375" y="1523"/>
                    <a:pt x="1344" y="1526"/>
                    <a:pt x="1316" y="1537"/>
                  </a:cubicBezTo>
                  <a:cubicBezTo>
                    <a:pt x="1268" y="1557"/>
                    <a:pt x="1252" y="1600"/>
                    <a:pt x="1234" y="1643"/>
                  </a:cubicBezTo>
                  <a:cubicBezTo>
                    <a:pt x="1232" y="1650"/>
                    <a:pt x="1229" y="1656"/>
                    <a:pt x="1227" y="1663"/>
                  </a:cubicBezTo>
                  <a:lnTo>
                    <a:pt x="1225" y="166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22" name="Freeform 58">
              <a:extLst>
                <a:ext uri="{FF2B5EF4-FFF2-40B4-BE49-F238E27FC236}">
                  <a16:creationId xmlns:a16="http://schemas.microsoft.com/office/drawing/2014/main" id="{F817A8B5-7917-D14D-B54F-DB9AA43B7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9313" y="3878263"/>
              <a:ext cx="384175" cy="292100"/>
            </a:xfrm>
            <a:custGeom>
              <a:avLst/>
              <a:gdLst>
                <a:gd name="T0" fmla="*/ 1052 w 1067"/>
                <a:gd name="T1" fmla="*/ 704 h 810"/>
                <a:gd name="T2" fmla="*/ 1066 w 1067"/>
                <a:gd name="T3" fmla="*/ 756 h 810"/>
                <a:gd name="T4" fmla="*/ 995 w 1067"/>
                <a:gd name="T5" fmla="*/ 783 h 810"/>
                <a:gd name="T6" fmla="*/ 983 w 1067"/>
                <a:gd name="T7" fmla="*/ 789 h 810"/>
                <a:gd name="T8" fmla="*/ 919 w 1067"/>
                <a:gd name="T9" fmla="*/ 806 h 810"/>
                <a:gd name="T10" fmla="*/ 865 w 1067"/>
                <a:gd name="T11" fmla="*/ 794 h 810"/>
                <a:gd name="T12" fmla="*/ 795 w 1067"/>
                <a:gd name="T13" fmla="*/ 781 h 810"/>
                <a:gd name="T14" fmla="*/ 693 w 1067"/>
                <a:gd name="T15" fmla="*/ 768 h 810"/>
                <a:gd name="T16" fmla="*/ 578 w 1067"/>
                <a:gd name="T17" fmla="*/ 728 h 810"/>
                <a:gd name="T18" fmla="*/ 573 w 1067"/>
                <a:gd name="T19" fmla="*/ 727 h 810"/>
                <a:gd name="T20" fmla="*/ 477 w 1067"/>
                <a:gd name="T21" fmla="*/ 715 h 810"/>
                <a:gd name="T22" fmla="*/ 448 w 1067"/>
                <a:gd name="T23" fmla="*/ 733 h 810"/>
                <a:gd name="T24" fmla="*/ 407 w 1067"/>
                <a:gd name="T25" fmla="*/ 750 h 810"/>
                <a:gd name="T26" fmla="*/ 372 w 1067"/>
                <a:gd name="T27" fmla="*/ 727 h 810"/>
                <a:gd name="T28" fmla="*/ 336 w 1067"/>
                <a:gd name="T29" fmla="*/ 700 h 810"/>
                <a:gd name="T30" fmla="*/ 253 w 1067"/>
                <a:gd name="T31" fmla="*/ 689 h 810"/>
                <a:gd name="T32" fmla="*/ 220 w 1067"/>
                <a:gd name="T33" fmla="*/ 687 h 810"/>
                <a:gd name="T34" fmla="*/ 110 w 1067"/>
                <a:gd name="T35" fmla="*/ 659 h 810"/>
                <a:gd name="T36" fmla="*/ 105 w 1067"/>
                <a:gd name="T37" fmla="*/ 659 h 810"/>
                <a:gd name="T38" fmla="*/ 89 w 1067"/>
                <a:gd name="T39" fmla="*/ 654 h 810"/>
                <a:gd name="T40" fmla="*/ 89 w 1067"/>
                <a:gd name="T41" fmla="*/ 651 h 810"/>
                <a:gd name="T42" fmla="*/ 118 w 1067"/>
                <a:gd name="T43" fmla="*/ 620 h 810"/>
                <a:gd name="T44" fmla="*/ 161 w 1067"/>
                <a:gd name="T45" fmla="*/ 547 h 810"/>
                <a:gd name="T46" fmla="*/ 102 w 1067"/>
                <a:gd name="T47" fmla="*/ 496 h 810"/>
                <a:gd name="T48" fmla="*/ 64 w 1067"/>
                <a:gd name="T49" fmla="*/ 480 h 810"/>
                <a:gd name="T50" fmla="*/ 19 w 1067"/>
                <a:gd name="T51" fmla="*/ 443 h 810"/>
                <a:gd name="T52" fmla="*/ 1 w 1067"/>
                <a:gd name="T53" fmla="*/ 417 h 810"/>
                <a:gd name="T54" fmla="*/ 33 w 1067"/>
                <a:gd name="T55" fmla="*/ 377 h 810"/>
                <a:gd name="T56" fmla="*/ 69 w 1067"/>
                <a:gd name="T57" fmla="*/ 336 h 810"/>
                <a:gd name="T58" fmla="*/ 77 w 1067"/>
                <a:gd name="T59" fmla="*/ 313 h 810"/>
                <a:gd name="T60" fmla="*/ 92 w 1067"/>
                <a:gd name="T61" fmla="*/ 285 h 810"/>
                <a:gd name="T62" fmla="*/ 118 w 1067"/>
                <a:gd name="T63" fmla="*/ 277 h 810"/>
                <a:gd name="T64" fmla="*/ 146 w 1067"/>
                <a:gd name="T65" fmla="*/ 270 h 810"/>
                <a:gd name="T66" fmla="*/ 204 w 1067"/>
                <a:gd name="T67" fmla="*/ 145 h 810"/>
                <a:gd name="T68" fmla="*/ 199 w 1067"/>
                <a:gd name="T69" fmla="*/ 106 h 810"/>
                <a:gd name="T70" fmla="*/ 196 w 1067"/>
                <a:gd name="T71" fmla="*/ 61 h 810"/>
                <a:gd name="T72" fmla="*/ 196 w 1067"/>
                <a:gd name="T73" fmla="*/ 41 h 810"/>
                <a:gd name="T74" fmla="*/ 199 w 1067"/>
                <a:gd name="T75" fmla="*/ 41 h 810"/>
                <a:gd name="T76" fmla="*/ 247 w 1067"/>
                <a:gd name="T77" fmla="*/ 20 h 810"/>
                <a:gd name="T78" fmla="*/ 278 w 1067"/>
                <a:gd name="T79" fmla="*/ 3 h 810"/>
                <a:gd name="T80" fmla="*/ 323 w 1067"/>
                <a:gd name="T81" fmla="*/ 7 h 810"/>
                <a:gd name="T82" fmla="*/ 346 w 1067"/>
                <a:gd name="T83" fmla="*/ 12 h 810"/>
                <a:gd name="T84" fmla="*/ 492 w 1067"/>
                <a:gd name="T85" fmla="*/ 99 h 810"/>
                <a:gd name="T86" fmla="*/ 532 w 1067"/>
                <a:gd name="T87" fmla="*/ 130 h 810"/>
                <a:gd name="T88" fmla="*/ 591 w 1067"/>
                <a:gd name="T89" fmla="*/ 107 h 810"/>
                <a:gd name="T90" fmla="*/ 629 w 1067"/>
                <a:gd name="T91" fmla="*/ 84 h 810"/>
                <a:gd name="T92" fmla="*/ 701 w 1067"/>
                <a:gd name="T93" fmla="*/ 119 h 810"/>
                <a:gd name="T94" fmla="*/ 660 w 1067"/>
                <a:gd name="T95" fmla="*/ 170 h 810"/>
                <a:gd name="T96" fmla="*/ 683 w 1067"/>
                <a:gd name="T97" fmla="*/ 254 h 810"/>
                <a:gd name="T98" fmla="*/ 695 w 1067"/>
                <a:gd name="T99" fmla="*/ 270 h 810"/>
                <a:gd name="T100" fmla="*/ 720 w 1067"/>
                <a:gd name="T101" fmla="*/ 312 h 810"/>
                <a:gd name="T102" fmla="*/ 724 w 1067"/>
                <a:gd name="T103" fmla="*/ 328 h 810"/>
                <a:gd name="T104" fmla="*/ 748 w 1067"/>
                <a:gd name="T105" fmla="*/ 381 h 810"/>
                <a:gd name="T106" fmla="*/ 832 w 1067"/>
                <a:gd name="T107" fmla="*/ 437 h 810"/>
                <a:gd name="T108" fmla="*/ 878 w 1067"/>
                <a:gd name="T109" fmla="*/ 458 h 810"/>
                <a:gd name="T110" fmla="*/ 927 w 1067"/>
                <a:gd name="T111" fmla="*/ 508 h 810"/>
                <a:gd name="T112" fmla="*/ 934 w 1067"/>
                <a:gd name="T113" fmla="*/ 539 h 810"/>
                <a:gd name="T114" fmla="*/ 947 w 1067"/>
                <a:gd name="T115" fmla="*/ 582 h 810"/>
                <a:gd name="T116" fmla="*/ 993 w 1067"/>
                <a:gd name="T117" fmla="*/ 623 h 810"/>
                <a:gd name="T118" fmla="*/ 1023 w 1067"/>
                <a:gd name="T119" fmla="*/ 641 h 810"/>
                <a:gd name="T120" fmla="*/ 1052 w 1067"/>
                <a:gd name="T121" fmla="*/ 704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67" h="810">
                  <a:moveTo>
                    <a:pt x="1052" y="704"/>
                  </a:moveTo>
                  <a:cubicBezTo>
                    <a:pt x="1057" y="720"/>
                    <a:pt x="1061" y="738"/>
                    <a:pt x="1066" y="756"/>
                  </a:cubicBezTo>
                  <a:cubicBezTo>
                    <a:pt x="1039" y="763"/>
                    <a:pt x="1016" y="771"/>
                    <a:pt x="995" y="783"/>
                  </a:cubicBezTo>
                  <a:lnTo>
                    <a:pt x="983" y="789"/>
                  </a:lnTo>
                  <a:cubicBezTo>
                    <a:pt x="960" y="801"/>
                    <a:pt x="945" y="809"/>
                    <a:pt x="919" y="806"/>
                  </a:cubicBezTo>
                  <a:cubicBezTo>
                    <a:pt x="901" y="804"/>
                    <a:pt x="884" y="799"/>
                    <a:pt x="865" y="794"/>
                  </a:cubicBezTo>
                  <a:cubicBezTo>
                    <a:pt x="843" y="788"/>
                    <a:pt x="818" y="783"/>
                    <a:pt x="795" y="781"/>
                  </a:cubicBezTo>
                  <a:cubicBezTo>
                    <a:pt x="761" y="778"/>
                    <a:pt x="726" y="774"/>
                    <a:pt x="693" y="768"/>
                  </a:cubicBezTo>
                  <a:cubicBezTo>
                    <a:pt x="655" y="760"/>
                    <a:pt x="619" y="746"/>
                    <a:pt x="578" y="728"/>
                  </a:cubicBezTo>
                  <a:lnTo>
                    <a:pt x="573" y="727"/>
                  </a:lnTo>
                  <a:cubicBezTo>
                    <a:pt x="545" y="715"/>
                    <a:pt x="512" y="702"/>
                    <a:pt x="477" y="715"/>
                  </a:cubicBezTo>
                  <a:cubicBezTo>
                    <a:pt x="468" y="718"/>
                    <a:pt x="458" y="727"/>
                    <a:pt x="448" y="733"/>
                  </a:cubicBezTo>
                  <a:cubicBezTo>
                    <a:pt x="433" y="745"/>
                    <a:pt x="421" y="753"/>
                    <a:pt x="407" y="750"/>
                  </a:cubicBezTo>
                  <a:cubicBezTo>
                    <a:pt x="395" y="746"/>
                    <a:pt x="383" y="737"/>
                    <a:pt x="372" y="727"/>
                  </a:cubicBezTo>
                  <a:cubicBezTo>
                    <a:pt x="360" y="717"/>
                    <a:pt x="349" y="707"/>
                    <a:pt x="336" y="700"/>
                  </a:cubicBezTo>
                  <a:cubicBezTo>
                    <a:pt x="308" y="690"/>
                    <a:pt x="281" y="689"/>
                    <a:pt x="253" y="689"/>
                  </a:cubicBezTo>
                  <a:cubicBezTo>
                    <a:pt x="243" y="689"/>
                    <a:pt x="232" y="687"/>
                    <a:pt x="220" y="687"/>
                  </a:cubicBezTo>
                  <a:cubicBezTo>
                    <a:pt x="182" y="682"/>
                    <a:pt x="148" y="672"/>
                    <a:pt x="110" y="659"/>
                  </a:cubicBezTo>
                  <a:lnTo>
                    <a:pt x="105" y="659"/>
                  </a:lnTo>
                  <a:cubicBezTo>
                    <a:pt x="98" y="657"/>
                    <a:pt x="94" y="654"/>
                    <a:pt x="89" y="654"/>
                  </a:cubicBezTo>
                  <a:cubicBezTo>
                    <a:pt x="89" y="653"/>
                    <a:pt x="89" y="653"/>
                    <a:pt x="89" y="651"/>
                  </a:cubicBezTo>
                  <a:cubicBezTo>
                    <a:pt x="94" y="641"/>
                    <a:pt x="105" y="631"/>
                    <a:pt x="118" y="620"/>
                  </a:cubicBezTo>
                  <a:cubicBezTo>
                    <a:pt x="140" y="600"/>
                    <a:pt x="164" y="578"/>
                    <a:pt x="161" y="547"/>
                  </a:cubicBezTo>
                  <a:cubicBezTo>
                    <a:pt x="159" y="514"/>
                    <a:pt x="126" y="504"/>
                    <a:pt x="102" y="496"/>
                  </a:cubicBezTo>
                  <a:cubicBezTo>
                    <a:pt x="87" y="493"/>
                    <a:pt x="70" y="488"/>
                    <a:pt x="64" y="480"/>
                  </a:cubicBezTo>
                  <a:cubicBezTo>
                    <a:pt x="49" y="463"/>
                    <a:pt x="39" y="455"/>
                    <a:pt x="19" y="443"/>
                  </a:cubicBezTo>
                  <a:cubicBezTo>
                    <a:pt x="3" y="433"/>
                    <a:pt x="0" y="432"/>
                    <a:pt x="1" y="417"/>
                  </a:cubicBezTo>
                  <a:cubicBezTo>
                    <a:pt x="5" y="400"/>
                    <a:pt x="18" y="389"/>
                    <a:pt x="33" y="377"/>
                  </a:cubicBezTo>
                  <a:cubicBezTo>
                    <a:pt x="46" y="366"/>
                    <a:pt x="61" y="353"/>
                    <a:pt x="69" y="336"/>
                  </a:cubicBezTo>
                  <a:cubicBezTo>
                    <a:pt x="72" y="330"/>
                    <a:pt x="74" y="321"/>
                    <a:pt x="77" y="313"/>
                  </a:cubicBezTo>
                  <a:cubicBezTo>
                    <a:pt x="80" y="300"/>
                    <a:pt x="84" y="290"/>
                    <a:pt x="92" y="285"/>
                  </a:cubicBezTo>
                  <a:cubicBezTo>
                    <a:pt x="100" y="280"/>
                    <a:pt x="108" y="279"/>
                    <a:pt x="118" y="277"/>
                  </a:cubicBezTo>
                  <a:cubicBezTo>
                    <a:pt x="128" y="275"/>
                    <a:pt x="136" y="274"/>
                    <a:pt x="146" y="270"/>
                  </a:cubicBezTo>
                  <a:cubicBezTo>
                    <a:pt x="186" y="252"/>
                    <a:pt x="207" y="206"/>
                    <a:pt x="204" y="145"/>
                  </a:cubicBezTo>
                  <a:cubicBezTo>
                    <a:pt x="204" y="132"/>
                    <a:pt x="201" y="119"/>
                    <a:pt x="199" y="106"/>
                  </a:cubicBezTo>
                  <a:cubicBezTo>
                    <a:pt x="197" y="91"/>
                    <a:pt x="194" y="76"/>
                    <a:pt x="196" y="61"/>
                  </a:cubicBezTo>
                  <a:cubicBezTo>
                    <a:pt x="194" y="55"/>
                    <a:pt x="194" y="48"/>
                    <a:pt x="196" y="41"/>
                  </a:cubicBezTo>
                  <a:cubicBezTo>
                    <a:pt x="196" y="41"/>
                    <a:pt x="197" y="41"/>
                    <a:pt x="199" y="41"/>
                  </a:cubicBezTo>
                  <a:cubicBezTo>
                    <a:pt x="217" y="40"/>
                    <a:pt x="232" y="30"/>
                    <a:pt x="247" y="20"/>
                  </a:cubicBezTo>
                  <a:cubicBezTo>
                    <a:pt x="257" y="12"/>
                    <a:pt x="267" y="5"/>
                    <a:pt x="278" y="3"/>
                  </a:cubicBezTo>
                  <a:cubicBezTo>
                    <a:pt x="291" y="0"/>
                    <a:pt x="306" y="3"/>
                    <a:pt x="323" y="7"/>
                  </a:cubicBezTo>
                  <a:cubicBezTo>
                    <a:pt x="331" y="8"/>
                    <a:pt x="337" y="10"/>
                    <a:pt x="346" y="12"/>
                  </a:cubicBezTo>
                  <a:cubicBezTo>
                    <a:pt x="413" y="20"/>
                    <a:pt x="458" y="48"/>
                    <a:pt x="492" y="99"/>
                  </a:cubicBezTo>
                  <a:cubicBezTo>
                    <a:pt x="504" y="119"/>
                    <a:pt x="517" y="129"/>
                    <a:pt x="532" y="130"/>
                  </a:cubicBezTo>
                  <a:cubicBezTo>
                    <a:pt x="553" y="134"/>
                    <a:pt x="573" y="120"/>
                    <a:pt x="591" y="107"/>
                  </a:cubicBezTo>
                  <a:cubicBezTo>
                    <a:pt x="603" y="97"/>
                    <a:pt x="616" y="87"/>
                    <a:pt x="629" y="84"/>
                  </a:cubicBezTo>
                  <a:cubicBezTo>
                    <a:pt x="659" y="76"/>
                    <a:pt x="682" y="92"/>
                    <a:pt x="701" y="119"/>
                  </a:cubicBezTo>
                  <a:cubicBezTo>
                    <a:pt x="683" y="129"/>
                    <a:pt x="667" y="140"/>
                    <a:pt x="660" y="170"/>
                  </a:cubicBezTo>
                  <a:cubicBezTo>
                    <a:pt x="654" y="198"/>
                    <a:pt x="662" y="228"/>
                    <a:pt x="683" y="254"/>
                  </a:cubicBezTo>
                  <a:cubicBezTo>
                    <a:pt x="687" y="259"/>
                    <a:pt x="690" y="265"/>
                    <a:pt x="695" y="270"/>
                  </a:cubicBezTo>
                  <a:cubicBezTo>
                    <a:pt x="706" y="284"/>
                    <a:pt x="715" y="295"/>
                    <a:pt x="720" y="312"/>
                  </a:cubicBezTo>
                  <a:cubicBezTo>
                    <a:pt x="721" y="318"/>
                    <a:pt x="723" y="323"/>
                    <a:pt x="724" y="328"/>
                  </a:cubicBezTo>
                  <a:cubicBezTo>
                    <a:pt x="728" y="346"/>
                    <a:pt x="733" y="364"/>
                    <a:pt x="748" y="381"/>
                  </a:cubicBezTo>
                  <a:cubicBezTo>
                    <a:pt x="769" y="407"/>
                    <a:pt x="802" y="422"/>
                    <a:pt x="832" y="437"/>
                  </a:cubicBezTo>
                  <a:cubicBezTo>
                    <a:pt x="848" y="443"/>
                    <a:pt x="863" y="450"/>
                    <a:pt x="878" y="458"/>
                  </a:cubicBezTo>
                  <a:cubicBezTo>
                    <a:pt x="896" y="471"/>
                    <a:pt x="917" y="486"/>
                    <a:pt x="927" y="508"/>
                  </a:cubicBezTo>
                  <a:cubicBezTo>
                    <a:pt x="932" y="517"/>
                    <a:pt x="934" y="527"/>
                    <a:pt x="934" y="539"/>
                  </a:cubicBezTo>
                  <a:cubicBezTo>
                    <a:pt x="937" y="554"/>
                    <a:pt x="939" y="569"/>
                    <a:pt x="947" y="582"/>
                  </a:cubicBezTo>
                  <a:cubicBezTo>
                    <a:pt x="958" y="601"/>
                    <a:pt x="977" y="613"/>
                    <a:pt x="993" y="623"/>
                  </a:cubicBezTo>
                  <a:cubicBezTo>
                    <a:pt x="1005" y="629"/>
                    <a:pt x="1014" y="634"/>
                    <a:pt x="1023" y="641"/>
                  </a:cubicBezTo>
                  <a:cubicBezTo>
                    <a:pt x="1039" y="657"/>
                    <a:pt x="1044" y="677"/>
                    <a:pt x="1052" y="704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23" name="Freeform 59">
              <a:extLst>
                <a:ext uri="{FF2B5EF4-FFF2-40B4-BE49-F238E27FC236}">
                  <a16:creationId xmlns:a16="http://schemas.microsoft.com/office/drawing/2014/main" id="{907C29F1-81AC-5C49-9F76-6A960F3E91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888" y="2608263"/>
              <a:ext cx="1200150" cy="679450"/>
            </a:xfrm>
            <a:custGeom>
              <a:avLst/>
              <a:gdLst>
                <a:gd name="T0" fmla="*/ 514 w 3335"/>
                <a:gd name="T1" fmla="*/ 975 h 1886"/>
                <a:gd name="T2" fmla="*/ 642 w 3335"/>
                <a:gd name="T3" fmla="*/ 904 h 1886"/>
                <a:gd name="T4" fmla="*/ 512 w 3335"/>
                <a:gd name="T5" fmla="*/ 768 h 1886"/>
                <a:gd name="T6" fmla="*/ 407 w 3335"/>
                <a:gd name="T7" fmla="*/ 761 h 1886"/>
                <a:gd name="T8" fmla="*/ 458 w 3335"/>
                <a:gd name="T9" fmla="*/ 618 h 1886"/>
                <a:gd name="T10" fmla="*/ 563 w 3335"/>
                <a:gd name="T11" fmla="*/ 443 h 1886"/>
                <a:gd name="T12" fmla="*/ 593 w 3335"/>
                <a:gd name="T13" fmla="*/ 257 h 1886"/>
                <a:gd name="T14" fmla="*/ 646 w 3335"/>
                <a:gd name="T15" fmla="*/ 191 h 1886"/>
                <a:gd name="T16" fmla="*/ 842 w 3335"/>
                <a:gd name="T17" fmla="*/ 321 h 1886"/>
                <a:gd name="T18" fmla="*/ 912 w 3335"/>
                <a:gd name="T19" fmla="*/ 392 h 1886"/>
                <a:gd name="T20" fmla="*/ 972 w 3335"/>
                <a:gd name="T21" fmla="*/ 387 h 1886"/>
                <a:gd name="T22" fmla="*/ 1059 w 3335"/>
                <a:gd name="T23" fmla="*/ 414 h 1886"/>
                <a:gd name="T24" fmla="*/ 1146 w 3335"/>
                <a:gd name="T25" fmla="*/ 470 h 1886"/>
                <a:gd name="T26" fmla="*/ 1184 w 3335"/>
                <a:gd name="T27" fmla="*/ 308 h 1886"/>
                <a:gd name="T28" fmla="*/ 1173 w 3335"/>
                <a:gd name="T29" fmla="*/ 150 h 1886"/>
                <a:gd name="T30" fmla="*/ 1328 w 3335"/>
                <a:gd name="T31" fmla="*/ 2 h 1886"/>
                <a:gd name="T32" fmla="*/ 1565 w 3335"/>
                <a:gd name="T33" fmla="*/ 25 h 1886"/>
                <a:gd name="T34" fmla="*/ 1856 w 3335"/>
                <a:gd name="T35" fmla="*/ 73 h 1886"/>
                <a:gd name="T36" fmla="*/ 2290 w 3335"/>
                <a:gd name="T37" fmla="*/ 384 h 1886"/>
                <a:gd name="T38" fmla="*/ 2746 w 3335"/>
                <a:gd name="T39" fmla="*/ 651 h 1886"/>
                <a:gd name="T40" fmla="*/ 2907 w 3335"/>
                <a:gd name="T41" fmla="*/ 624 h 1886"/>
                <a:gd name="T42" fmla="*/ 3120 w 3335"/>
                <a:gd name="T43" fmla="*/ 532 h 1886"/>
                <a:gd name="T44" fmla="*/ 3331 w 3335"/>
                <a:gd name="T45" fmla="*/ 465 h 1886"/>
                <a:gd name="T46" fmla="*/ 3293 w 3335"/>
                <a:gd name="T47" fmla="*/ 512 h 1886"/>
                <a:gd name="T48" fmla="*/ 3311 w 3335"/>
                <a:gd name="T49" fmla="*/ 682 h 1886"/>
                <a:gd name="T50" fmla="*/ 3276 w 3335"/>
                <a:gd name="T51" fmla="*/ 738 h 1886"/>
                <a:gd name="T52" fmla="*/ 3079 w 3335"/>
                <a:gd name="T53" fmla="*/ 852 h 1886"/>
                <a:gd name="T54" fmla="*/ 2743 w 3335"/>
                <a:gd name="T55" fmla="*/ 957 h 1886"/>
                <a:gd name="T56" fmla="*/ 2586 w 3335"/>
                <a:gd name="T57" fmla="*/ 1008 h 1886"/>
                <a:gd name="T58" fmla="*/ 2300 w 3335"/>
                <a:gd name="T59" fmla="*/ 1092 h 1886"/>
                <a:gd name="T60" fmla="*/ 2103 w 3335"/>
                <a:gd name="T61" fmla="*/ 1199 h 1886"/>
                <a:gd name="T62" fmla="*/ 1874 w 3335"/>
                <a:gd name="T63" fmla="*/ 1479 h 1886"/>
                <a:gd name="T64" fmla="*/ 1795 w 3335"/>
                <a:gd name="T65" fmla="*/ 1675 h 1886"/>
                <a:gd name="T66" fmla="*/ 1703 w 3335"/>
                <a:gd name="T67" fmla="*/ 1811 h 1886"/>
                <a:gd name="T68" fmla="*/ 1593 w 3335"/>
                <a:gd name="T69" fmla="*/ 1885 h 1886"/>
                <a:gd name="T70" fmla="*/ 1354 w 3335"/>
                <a:gd name="T71" fmla="*/ 1766 h 1886"/>
                <a:gd name="T72" fmla="*/ 1235 w 3335"/>
                <a:gd name="T73" fmla="*/ 1731 h 1886"/>
                <a:gd name="T74" fmla="*/ 1130 w 3335"/>
                <a:gd name="T75" fmla="*/ 1741 h 1886"/>
                <a:gd name="T76" fmla="*/ 1087 w 3335"/>
                <a:gd name="T77" fmla="*/ 1743 h 1886"/>
                <a:gd name="T78" fmla="*/ 980 w 3335"/>
                <a:gd name="T79" fmla="*/ 1736 h 1886"/>
                <a:gd name="T80" fmla="*/ 917 w 3335"/>
                <a:gd name="T81" fmla="*/ 1680 h 1886"/>
                <a:gd name="T82" fmla="*/ 805 w 3335"/>
                <a:gd name="T83" fmla="*/ 1598 h 1886"/>
                <a:gd name="T84" fmla="*/ 639 w 3335"/>
                <a:gd name="T85" fmla="*/ 1509 h 1886"/>
                <a:gd name="T86" fmla="*/ 533 w 3335"/>
                <a:gd name="T87" fmla="*/ 1562 h 1886"/>
                <a:gd name="T88" fmla="*/ 540 w 3335"/>
                <a:gd name="T89" fmla="*/ 1647 h 1886"/>
                <a:gd name="T90" fmla="*/ 382 w 3335"/>
                <a:gd name="T91" fmla="*/ 1634 h 1886"/>
                <a:gd name="T92" fmla="*/ 158 w 3335"/>
                <a:gd name="T93" fmla="*/ 1577 h 1886"/>
                <a:gd name="T94" fmla="*/ 33 w 3335"/>
                <a:gd name="T95" fmla="*/ 1666 h 1886"/>
                <a:gd name="T96" fmla="*/ 24 w 3335"/>
                <a:gd name="T97" fmla="*/ 1570 h 1886"/>
                <a:gd name="T98" fmla="*/ 13 w 3335"/>
                <a:gd name="T99" fmla="*/ 1466 h 1886"/>
                <a:gd name="T100" fmla="*/ 46 w 3335"/>
                <a:gd name="T101" fmla="*/ 1384 h 1886"/>
                <a:gd name="T102" fmla="*/ 163 w 3335"/>
                <a:gd name="T103" fmla="*/ 1262 h 1886"/>
                <a:gd name="T104" fmla="*/ 220 w 3335"/>
                <a:gd name="T105" fmla="*/ 1170 h 1886"/>
                <a:gd name="T106" fmla="*/ 400 w 3335"/>
                <a:gd name="T107" fmla="*/ 1165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35" h="1886">
                  <a:moveTo>
                    <a:pt x="464" y="1107"/>
                  </a:moveTo>
                  <a:cubicBezTo>
                    <a:pt x="468" y="1091"/>
                    <a:pt x="463" y="1076"/>
                    <a:pt x="456" y="1063"/>
                  </a:cubicBezTo>
                  <a:cubicBezTo>
                    <a:pt x="451" y="1049"/>
                    <a:pt x="448" y="1041"/>
                    <a:pt x="453" y="1031"/>
                  </a:cubicBezTo>
                  <a:cubicBezTo>
                    <a:pt x="459" y="1018"/>
                    <a:pt x="496" y="987"/>
                    <a:pt x="514" y="975"/>
                  </a:cubicBezTo>
                  <a:cubicBezTo>
                    <a:pt x="522" y="972"/>
                    <a:pt x="533" y="969"/>
                    <a:pt x="543" y="967"/>
                  </a:cubicBezTo>
                  <a:cubicBezTo>
                    <a:pt x="558" y="964"/>
                    <a:pt x="575" y="961"/>
                    <a:pt x="589" y="951"/>
                  </a:cubicBezTo>
                  <a:cubicBezTo>
                    <a:pt x="599" y="942"/>
                    <a:pt x="608" y="934"/>
                    <a:pt x="616" y="926"/>
                  </a:cubicBezTo>
                  <a:cubicBezTo>
                    <a:pt x="624" y="918"/>
                    <a:pt x="632" y="909"/>
                    <a:pt x="642" y="904"/>
                  </a:cubicBezTo>
                  <a:cubicBezTo>
                    <a:pt x="665" y="888"/>
                    <a:pt x="692" y="868"/>
                    <a:pt x="693" y="829"/>
                  </a:cubicBezTo>
                  <a:cubicBezTo>
                    <a:pt x="697" y="802"/>
                    <a:pt x="687" y="779"/>
                    <a:pt x="665" y="763"/>
                  </a:cubicBezTo>
                  <a:cubicBezTo>
                    <a:pt x="639" y="740"/>
                    <a:pt x="596" y="728"/>
                    <a:pt x="560" y="736"/>
                  </a:cubicBezTo>
                  <a:cubicBezTo>
                    <a:pt x="537" y="741"/>
                    <a:pt x="524" y="755"/>
                    <a:pt x="512" y="768"/>
                  </a:cubicBezTo>
                  <a:cubicBezTo>
                    <a:pt x="505" y="774"/>
                    <a:pt x="499" y="781"/>
                    <a:pt x="491" y="786"/>
                  </a:cubicBezTo>
                  <a:cubicBezTo>
                    <a:pt x="473" y="797"/>
                    <a:pt x="469" y="794"/>
                    <a:pt x="453" y="783"/>
                  </a:cubicBezTo>
                  <a:cubicBezTo>
                    <a:pt x="448" y="779"/>
                    <a:pt x="445" y="776"/>
                    <a:pt x="438" y="773"/>
                  </a:cubicBezTo>
                  <a:cubicBezTo>
                    <a:pt x="428" y="766"/>
                    <a:pt x="417" y="763"/>
                    <a:pt x="407" y="761"/>
                  </a:cubicBezTo>
                  <a:cubicBezTo>
                    <a:pt x="389" y="758"/>
                    <a:pt x="385" y="755"/>
                    <a:pt x="384" y="741"/>
                  </a:cubicBezTo>
                  <a:cubicBezTo>
                    <a:pt x="382" y="717"/>
                    <a:pt x="390" y="699"/>
                    <a:pt x="408" y="685"/>
                  </a:cubicBezTo>
                  <a:cubicBezTo>
                    <a:pt x="426" y="672"/>
                    <a:pt x="435" y="657"/>
                    <a:pt x="441" y="644"/>
                  </a:cubicBezTo>
                  <a:cubicBezTo>
                    <a:pt x="445" y="634"/>
                    <a:pt x="449" y="626"/>
                    <a:pt x="458" y="618"/>
                  </a:cubicBezTo>
                  <a:cubicBezTo>
                    <a:pt x="466" y="606"/>
                    <a:pt x="479" y="605"/>
                    <a:pt x="496" y="603"/>
                  </a:cubicBezTo>
                  <a:cubicBezTo>
                    <a:pt x="504" y="601"/>
                    <a:pt x="512" y="600"/>
                    <a:pt x="520" y="596"/>
                  </a:cubicBezTo>
                  <a:cubicBezTo>
                    <a:pt x="573" y="580"/>
                    <a:pt x="565" y="537"/>
                    <a:pt x="560" y="506"/>
                  </a:cubicBezTo>
                  <a:cubicBezTo>
                    <a:pt x="555" y="481"/>
                    <a:pt x="550" y="460"/>
                    <a:pt x="563" y="443"/>
                  </a:cubicBezTo>
                  <a:lnTo>
                    <a:pt x="571" y="432"/>
                  </a:lnTo>
                  <a:cubicBezTo>
                    <a:pt x="589" y="412"/>
                    <a:pt x="603" y="397"/>
                    <a:pt x="609" y="362"/>
                  </a:cubicBezTo>
                  <a:cubicBezTo>
                    <a:pt x="619" y="325"/>
                    <a:pt x="616" y="302"/>
                    <a:pt x="598" y="265"/>
                  </a:cubicBezTo>
                  <a:lnTo>
                    <a:pt x="593" y="257"/>
                  </a:lnTo>
                  <a:cubicBezTo>
                    <a:pt x="581" y="236"/>
                    <a:pt x="547" y="171"/>
                    <a:pt x="560" y="152"/>
                  </a:cubicBezTo>
                  <a:cubicBezTo>
                    <a:pt x="561" y="148"/>
                    <a:pt x="568" y="147"/>
                    <a:pt x="578" y="147"/>
                  </a:cubicBezTo>
                  <a:cubicBezTo>
                    <a:pt x="596" y="147"/>
                    <a:pt x="609" y="158"/>
                    <a:pt x="622" y="171"/>
                  </a:cubicBezTo>
                  <a:cubicBezTo>
                    <a:pt x="629" y="178"/>
                    <a:pt x="637" y="186"/>
                    <a:pt x="646" y="191"/>
                  </a:cubicBezTo>
                  <a:cubicBezTo>
                    <a:pt x="660" y="201"/>
                    <a:pt x="674" y="206"/>
                    <a:pt x="688" y="211"/>
                  </a:cubicBezTo>
                  <a:cubicBezTo>
                    <a:pt x="703" y="216"/>
                    <a:pt x="716" y="221"/>
                    <a:pt x="728" y="229"/>
                  </a:cubicBezTo>
                  <a:cubicBezTo>
                    <a:pt x="756" y="249"/>
                    <a:pt x="790" y="272"/>
                    <a:pt x="823" y="300"/>
                  </a:cubicBezTo>
                  <a:cubicBezTo>
                    <a:pt x="832" y="306"/>
                    <a:pt x="838" y="313"/>
                    <a:pt x="842" y="321"/>
                  </a:cubicBezTo>
                  <a:cubicBezTo>
                    <a:pt x="843" y="325"/>
                    <a:pt x="842" y="330"/>
                    <a:pt x="840" y="334"/>
                  </a:cubicBezTo>
                  <a:cubicBezTo>
                    <a:pt x="838" y="339"/>
                    <a:pt x="837" y="348"/>
                    <a:pt x="838" y="356"/>
                  </a:cubicBezTo>
                  <a:cubicBezTo>
                    <a:pt x="843" y="384"/>
                    <a:pt x="871" y="387"/>
                    <a:pt x="891" y="389"/>
                  </a:cubicBezTo>
                  <a:cubicBezTo>
                    <a:pt x="899" y="391"/>
                    <a:pt x="906" y="391"/>
                    <a:pt x="912" y="392"/>
                  </a:cubicBezTo>
                  <a:cubicBezTo>
                    <a:pt x="914" y="394"/>
                    <a:pt x="917" y="394"/>
                    <a:pt x="919" y="394"/>
                  </a:cubicBezTo>
                  <a:cubicBezTo>
                    <a:pt x="927" y="397"/>
                    <a:pt x="932" y="399"/>
                    <a:pt x="945" y="397"/>
                  </a:cubicBezTo>
                  <a:cubicBezTo>
                    <a:pt x="952" y="395"/>
                    <a:pt x="957" y="392"/>
                    <a:pt x="962" y="391"/>
                  </a:cubicBezTo>
                  <a:cubicBezTo>
                    <a:pt x="967" y="387"/>
                    <a:pt x="968" y="386"/>
                    <a:pt x="972" y="387"/>
                  </a:cubicBezTo>
                  <a:cubicBezTo>
                    <a:pt x="978" y="387"/>
                    <a:pt x="982" y="394"/>
                    <a:pt x="988" y="402"/>
                  </a:cubicBezTo>
                  <a:cubicBezTo>
                    <a:pt x="995" y="415"/>
                    <a:pt x="1006" y="433"/>
                    <a:pt x="1033" y="428"/>
                  </a:cubicBezTo>
                  <a:cubicBezTo>
                    <a:pt x="1041" y="427"/>
                    <a:pt x="1046" y="422"/>
                    <a:pt x="1051" y="419"/>
                  </a:cubicBezTo>
                  <a:cubicBezTo>
                    <a:pt x="1056" y="414"/>
                    <a:pt x="1057" y="414"/>
                    <a:pt x="1059" y="414"/>
                  </a:cubicBezTo>
                  <a:cubicBezTo>
                    <a:pt x="1066" y="415"/>
                    <a:pt x="1071" y="423"/>
                    <a:pt x="1074" y="430"/>
                  </a:cubicBezTo>
                  <a:cubicBezTo>
                    <a:pt x="1075" y="433"/>
                    <a:pt x="1079" y="438"/>
                    <a:pt x="1080" y="442"/>
                  </a:cubicBezTo>
                  <a:cubicBezTo>
                    <a:pt x="1089" y="456"/>
                    <a:pt x="1097" y="473"/>
                    <a:pt x="1113" y="478"/>
                  </a:cubicBezTo>
                  <a:cubicBezTo>
                    <a:pt x="1123" y="479"/>
                    <a:pt x="1135" y="478"/>
                    <a:pt x="1146" y="470"/>
                  </a:cubicBezTo>
                  <a:cubicBezTo>
                    <a:pt x="1166" y="458"/>
                    <a:pt x="1196" y="422"/>
                    <a:pt x="1196" y="395"/>
                  </a:cubicBezTo>
                  <a:cubicBezTo>
                    <a:pt x="1196" y="387"/>
                    <a:pt x="1191" y="376"/>
                    <a:pt x="1188" y="367"/>
                  </a:cubicBezTo>
                  <a:cubicBezTo>
                    <a:pt x="1184" y="359"/>
                    <a:pt x="1181" y="351"/>
                    <a:pt x="1181" y="346"/>
                  </a:cubicBezTo>
                  <a:cubicBezTo>
                    <a:pt x="1181" y="334"/>
                    <a:pt x="1179" y="321"/>
                    <a:pt x="1184" y="308"/>
                  </a:cubicBezTo>
                  <a:cubicBezTo>
                    <a:pt x="1186" y="300"/>
                    <a:pt x="1189" y="292"/>
                    <a:pt x="1192" y="285"/>
                  </a:cubicBezTo>
                  <a:cubicBezTo>
                    <a:pt x="1201" y="265"/>
                    <a:pt x="1209" y="246"/>
                    <a:pt x="1186" y="216"/>
                  </a:cubicBezTo>
                  <a:lnTo>
                    <a:pt x="1179" y="206"/>
                  </a:lnTo>
                  <a:cubicBezTo>
                    <a:pt x="1159" y="181"/>
                    <a:pt x="1153" y="173"/>
                    <a:pt x="1173" y="150"/>
                  </a:cubicBezTo>
                  <a:cubicBezTo>
                    <a:pt x="1181" y="140"/>
                    <a:pt x="1189" y="129"/>
                    <a:pt x="1199" y="119"/>
                  </a:cubicBezTo>
                  <a:cubicBezTo>
                    <a:pt x="1211" y="106"/>
                    <a:pt x="1220" y="94"/>
                    <a:pt x="1232" y="81"/>
                  </a:cubicBezTo>
                  <a:cubicBezTo>
                    <a:pt x="1255" y="51"/>
                    <a:pt x="1276" y="25"/>
                    <a:pt x="1303" y="12"/>
                  </a:cubicBezTo>
                  <a:cubicBezTo>
                    <a:pt x="1311" y="7"/>
                    <a:pt x="1319" y="3"/>
                    <a:pt x="1328" y="2"/>
                  </a:cubicBezTo>
                  <a:cubicBezTo>
                    <a:pt x="1334" y="2"/>
                    <a:pt x="1341" y="0"/>
                    <a:pt x="1347" y="2"/>
                  </a:cubicBezTo>
                  <a:cubicBezTo>
                    <a:pt x="1388" y="3"/>
                    <a:pt x="1431" y="8"/>
                    <a:pt x="1473" y="13"/>
                  </a:cubicBezTo>
                  <a:cubicBezTo>
                    <a:pt x="1494" y="17"/>
                    <a:pt x="1514" y="18"/>
                    <a:pt x="1535" y="21"/>
                  </a:cubicBezTo>
                  <a:lnTo>
                    <a:pt x="1565" y="25"/>
                  </a:lnTo>
                  <a:cubicBezTo>
                    <a:pt x="1585" y="26"/>
                    <a:pt x="1604" y="28"/>
                    <a:pt x="1624" y="30"/>
                  </a:cubicBezTo>
                  <a:cubicBezTo>
                    <a:pt x="1650" y="33"/>
                    <a:pt x="1673" y="25"/>
                    <a:pt x="1695" y="17"/>
                  </a:cubicBezTo>
                  <a:cubicBezTo>
                    <a:pt x="1711" y="12"/>
                    <a:pt x="1726" y="7"/>
                    <a:pt x="1744" y="5"/>
                  </a:cubicBezTo>
                  <a:cubicBezTo>
                    <a:pt x="1792" y="2"/>
                    <a:pt x="1823" y="36"/>
                    <a:pt x="1856" y="73"/>
                  </a:cubicBezTo>
                  <a:cubicBezTo>
                    <a:pt x="1863" y="81"/>
                    <a:pt x="1871" y="91"/>
                    <a:pt x="1879" y="97"/>
                  </a:cubicBezTo>
                  <a:cubicBezTo>
                    <a:pt x="1921" y="142"/>
                    <a:pt x="1972" y="175"/>
                    <a:pt x="2019" y="208"/>
                  </a:cubicBezTo>
                  <a:lnTo>
                    <a:pt x="2049" y="229"/>
                  </a:lnTo>
                  <a:cubicBezTo>
                    <a:pt x="2128" y="283"/>
                    <a:pt x="2211" y="333"/>
                    <a:pt x="2290" y="384"/>
                  </a:cubicBezTo>
                  <a:cubicBezTo>
                    <a:pt x="2339" y="414"/>
                    <a:pt x="2387" y="443"/>
                    <a:pt x="2435" y="475"/>
                  </a:cubicBezTo>
                  <a:cubicBezTo>
                    <a:pt x="2504" y="519"/>
                    <a:pt x="2571" y="563"/>
                    <a:pt x="2641" y="608"/>
                  </a:cubicBezTo>
                  <a:cubicBezTo>
                    <a:pt x="2645" y="613"/>
                    <a:pt x="2650" y="616"/>
                    <a:pt x="2655" y="619"/>
                  </a:cubicBezTo>
                  <a:cubicBezTo>
                    <a:pt x="2682" y="638"/>
                    <a:pt x="2710" y="659"/>
                    <a:pt x="2746" y="651"/>
                  </a:cubicBezTo>
                  <a:cubicBezTo>
                    <a:pt x="2756" y="647"/>
                    <a:pt x="2764" y="644"/>
                    <a:pt x="2772" y="643"/>
                  </a:cubicBezTo>
                  <a:cubicBezTo>
                    <a:pt x="2785" y="638"/>
                    <a:pt x="2799" y="633"/>
                    <a:pt x="2815" y="633"/>
                  </a:cubicBezTo>
                  <a:cubicBezTo>
                    <a:pt x="2823" y="633"/>
                    <a:pt x="2830" y="633"/>
                    <a:pt x="2838" y="633"/>
                  </a:cubicBezTo>
                  <a:cubicBezTo>
                    <a:pt x="2860" y="634"/>
                    <a:pt x="2884" y="636"/>
                    <a:pt x="2907" y="624"/>
                  </a:cubicBezTo>
                  <a:cubicBezTo>
                    <a:pt x="2922" y="618"/>
                    <a:pt x="2932" y="606"/>
                    <a:pt x="2940" y="595"/>
                  </a:cubicBezTo>
                  <a:cubicBezTo>
                    <a:pt x="2950" y="585"/>
                    <a:pt x="2958" y="577"/>
                    <a:pt x="2970" y="570"/>
                  </a:cubicBezTo>
                  <a:cubicBezTo>
                    <a:pt x="2986" y="563"/>
                    <a:pt x="3008" y="563"/>
                    <a:pt x="3029" y="565"/>
                  </a:cubicBezTo>
                  <a:cubicBezTo>
                    <a:pt x="3062" y="567"/>
                    <a:pt x="3100" y="568"/>
                    <a:pt x="3120" y="532"/>
                  </a:cubicBezTo>
                  <a:cubicBezTo>
                    <a:pt x="3133" y="507"/>
                    <a:pt x="3138" y="506"/>
                    <a:pt x="3171" y="501"/>
                  </a:cubicBezTo>
                  <a:cubicBezTo>
                    <a:pt x="3194" y="496"/>
                    <a:pt x="3206" y="484"/>
                    <a:pt x="3219" y="473"/>
                  </a:cubicBezTo>
                  <a:cubicBezTo>
                    <a:pt x="3224" y="468"/>
                    <a:pt x="3230" y="463"/>
                    <a:pt x="3239" y="456"/>
                  </a:cubicBezTo>
                  <a:cubicBezTo>
                    <a:pt x="3267" y="440"/>
                    <a:pt x="3296" y="451"/>
                    <a:pt x="3331" y="465"/>
                  </a:cubicBezTo>
                  <a:cubicBezTo>
                    <a:pt x="3331" y="465"/>
                    <a:pt x="3332" y="465"/>
                    <a:pt x="3334" y="466"/>
                  </a:cubicBezTo>
                  <a:cubicBezTo>
                    <a:pt x="3329" y="470"/>
                    <a:pt x="3326" y="475"/>
                    <a:pt x="3321" y="479"/>
                  </a:cubicBezTo>
                  <a:cubicBezTo>
                    <a:pt x="3313" y="489"/>
                    <a:pt x="3304" y="499"/>
                    <a:pt x="3295" y="511"/>
                  </a:cubicBezTo>
                  <a:lnTo>
                    <a:pt x="3293" y="512"/>
                  </a:lnTo>
                  <a:cubicBezTo>
                    <a:pt x="3278" y="532"/>
                    <a:pt x="3252" y="563"/>
                    <a:pt x="3268" y="595"/>
                  </a:cubicBezTo>
                  <a:cubicBezTo>
                    <a:pt x="3275" y="610"/>
                    <a:pt x="3288" y="615"/>
                    <a:pt x="3298" y="618"/>
                  </a:cubicBezTo>
                  <a:cubicBezTo>
                    <a:pt x="3304" y="621"/>
                    <a:pt x="3309" y="623"/>
                    <a:pt x="3313" y="626"/>
                  </a:cubicBezTo>
                  <a:cubicBezTo>
                    <a:pt x="3324" y="639"/>
                    <a:pt x="3321" y="666"/>
                    <a:pt x="3311" y="682"/>
                  </a:cubicBezTo>
                  <a:cubicBezTo>
                    <a:pt x="3308" y="687"/>
                    <a:pt x="3304" y="690"/>
                    <a:pt x="3301" y="694"/>
                  </a:cubicBezTo>
                  <a:cubicBezTo>
                    <a:pt x="3298" y="695"/>
                    <a:pt x="3296" y="699"/>
                    <a:pt x="3293" y="702"/>
                  </a:cubicBezTo>
                  <a:cubicBezTo>
                    <a:pt x="3281" y="713"/>
                    <a:pt x="3280" y="720"/>
                    <a:pt x="3280" y="728"/>
                  </a:cubicBezTo>
                  <a:cubicBezTo>
                    <a:pt x="3280" y="732"/>
                    <a:pt x="3278" y="735"/>
                    <a:pt x="3276" y="738"/>
                  </a:cubicBezTo>
                  <a:cubicBezTo>
                    <a:pt x="3268" y="763"/>
                    <a:pt x="3232" y="773"/>
                    <a:pt x="3196" y="783"/>
                  </a:cubicBezTo>
                  <a:cubicBezTo>
                    <a:pt x="3173" y="788"/>
                    <a:pt x="3151" y="794"/>
                    <a:pt x="3135" y="804"/>
                  </a:cubicBezTo>
                  <a:cubicBezTo>
                    <a:pt x="3123" y="811"/>
                    <a:pt x="3113" y="820"/>
                    <a:pt x="3105" y="829"/>
                  </a:cubicBezTo>
                  <a:cubicBezTo>
                    <a:pt x="3097" y="839"/>
                    <a:pt x="3089" y="847"/>
                    <a:pt x="3079" y="852"/>
                  </a:cubicBezTo>
                  <a:cubicBezTo>
                    <a:pt x="3059" y="863"/>
                    <a:pt x="3031" y="865"/>
                    <a:pt x="3003" y="865"/>
                  </a:cubicBezTo>
                  <a:lnTo>
                    <a:pt x="2986" y="865"/>
                  </a:lnTo>
                  <a:cubicBezTo>
                    <a:pt x="2922" y="870"/>
                    <a:pt x="2851" y="886"/>
                    <a:pt x="2797" y="913"/>
                  </a:cubicBezTo>
                  <a:cubicBezTo>
                    <a:pt x="2776" y="924"/>
                    <a:pt x="2757" y="941"/>
                    <a:pt x="2743" y="957"/>
                  </a:cubicBezTo>
                  <a:cubicBezTo>
                    <a:pt x="2725" y="975"/>
                    <a:pt x="2708" y="993"/>
                    <a:pt x="2685" y="998"/>
                  </a:cubicBezTo>
                  <a:cubicBezTo>
                    <a:pt x="2664" y="1003"/>
                    <a:pt x="2641" y="1005"/>
                    <a:pt x="2619" y="1005"/>
                  </a:cubicBezTo>
                  <a:cubicBezTo>
                    <a:pt x="2617" y="1007"/>
                    <a:pt x="2614" y="1007"/>
                    <a:pt x="2613" y="1007"/>
                  </a:cubicBezTo>
                  <a:cubicBezTo>
                    <a:pt x="2604" y="1007"/>
                    <a:pt x="2594" y="1007"/>
                    <a:pt x="2586" y="1008"/>
                  </a:cubicBezTo>
                  <a:cubicBezTo>
                    <a:pt x="2557" y="1012"/>
                    <a:pt x="2525" y="1018"/>
                    <a:pt x="2496" y="1036"/>
                  </a:cubicBezTo>
                  <a:cubicBezTo>
                    <a:pt x="2481" y="1045"/>
                    <a:pt x="2466" y="1054"/>
                    <a:pt x="2451" y="1064"/>
                  </a:cubicBezTo>
                  <a:cubicBezTo>
                    <a:pt x="2418" y="1089"/>
                    <a:pt x="2384" y="1114"/>
                    <a:pt x="2346" y="1117"/>
                  </a:cubicBezTo>
                  <a:cubicBezTo>
                    <a:pt x="2323" y="1119"/>
                    <a:pt x="2313" y="1105"/>
                    <a:pt x="2300" y="1092"/>
                  </a:cubicBezTo>
                  <a:cubicBezTo>
                    <a:pt x="2283" y="1074"/>
                    <a:pt x="2263" y="1051"/>
                    <a:pt x="2222" y="1071"/>
                  </a:cubicBezTo>
                  <a:cubicBezTo>
                    <a:pt x="2179" y="1089"/>
                    <a:pt x="2150" y="1107"/>
                    <a:pt x="2133" y="1127"/>
                  </a:cubicBezTo>
                  <a:cubicBezTo>
                    <a:pt x="2120" y="1140"/>
                    <a:pt x="2115" y="1158"/>
                    <a:pt x="2112" y="1176"/>
                  </a:cubicBezTo>
                  <a:cubicBezTo>
                    <a:pt x="2108" y="1185"/>
                    <a:pt x="2107" y="1191"/>
                    <a:pt x="2103" y="1199"/>
                  </a:cubicBezTo>
                  <a:cubicBezTo>
                    <a:pt x="2094" y="1224"/>
                    <a:pt x="2085" y="1246"/>
                    <a:pt x="2075" y="1278"/>
                  </a:cubicBezTo>
                  <a:cubicBezTo>
                    <a:pt x="2067" y="1302"/>
                    <a:pt x="2052" y="1311"/>
                    <a:pt x="2031" y="1326"/>
                  </a:cubicBezTo>
                  <a:lnTo>
                    <a:pt x="2019" y="1334"/>
                  </a:lnTo>
                  <a:cubicBezTo>
                    <a:pt x="1967" y="1372"/>
                    <a:pt x="1914" y="1427"/>
                    <a:pt x="1874" y="1479"/>
                  </a:cubicBezTo>
                  <a:cubicBezTo>
                    <a:pt x="1851" y="1509"/>
                    <a:pt x="1842" y="1531"/>
                    <a:pt x="1843" y="1572"/>
                  </a:cubicBezTo>
                  <a:cubicBezTo>
                    <a:pt x="1845" y="1591"/>
                    <a:pt x="1838" y="1598"/>
                    <a:pt x="1828" y="1611"/>
                  </a:cubicBezTo>
                  <a:cubicBezTo>
                    <a:pt x="1823" y="1618"/>
                    <a:pt x="1818" y="1624"/>
                    <a:pt x="1814" y="1633"/>
                  </a:cubicBezTo>
                  <a:cubicBezTo>
                    <a:pt x="1805" y="1646"/>
                    <a:pt x="1800" y="1662"/>
                    <a:pt x="1795" y="1675"/>
                  </a:cubicBezTo>
                  <a:cubicBezTo>
                    <a:pt x="1792" y="1692"/>
                    <a:pt x="1787" y="1707"/>
                    <a:pt x="1779" y="1718"/>
                  </a:cubicBezTo>
                  <a:cubicBezTo>
                    <a:pt x="1767" y="1733"/>
                    <a:pt x="1756" y="1748"/>
                    <a:pt x="1743" y="1761"/>
                  </a:cubicBezTo>
                  <a:cubicBezTo>
                    <a:pt x="1731" y="1776"/>
                    <a:pt x="1718" y="1791"/>
                    <a:pt x="1706" y="1807"/>
                  </a:cubicBezTo>
                  <a:cubicBezTo>
                    <a:pt x="1705" y="1809"/>
                    <a:pt x="1705" y="1809"/>
                    <a:pt x="1703" y="1811"/>
                  </a:cubicBezTo>
                  <a:cubicBezTo>
                    <a:pt x="1698" y="1817"/>
                    <a:pt x="1693" y="1824"/>
                    <a:pt x="1688" y="1830"/>
                  </a:cubicBezTo>
                  <a:cubicBezTo>
                    <a:pt x="1675" y="1848"/>
                    <a:pt x="1660" y="1863"/>
                    <a:pt x="1644" y="1873"/>
                  </a:cubicBezTo>
                  <a:cubicBezTo>
                    <a:pt x="1637" y="1878"/>
                    <a:pt x="1629" y="1881"/>
                    <a:pt x="1619" y="1883"/>
                  </a:cubicBezTo>
                  <a:cubicBezTo>
                    <a:pt x="1611" y="1885"/>
                    <a:pt x="1603" y="1885"/>
                    <a:pt x="1593" y="1885"/>
                  </a:cubicBezTo>
                  <a:cubicBezTo>
                    <a:pt x="1538" y="1881"/>
                    <a:pt x="1494" y="1852"/>
                    <a:pt x="1451" y="1820"/>
                  </a:cubicBezTo>
                  <a:lnTo>
                    <a:pt x="1440" y="1814"/>
                  </a:lnTo>
                  <a:cubicBezTo>
                    <a:pt x="1415" y="1797"/>
                    <a:pt x="1392" y="1783"/>
                    <a:pt x="1367" y="1771"/>
                  </a:cubicBezTo>
                  <a:cubicBezTo>
                    <a:pt x="1362" y="1769"/>
                    <a:pt x="1359" y="1768"/>
                    <a:pt x="1354" y="1766"/>
                  </a:cubicBezTo>
                  <a:cubicBezTo>
                    <a:pt x="1346" y="1763"/>
                    <a:pt x="1336" y="1760"/>
                    <a:pt x="1331" y="1755"/>
                  </a:cubicBezTo>
                  <a:cubicBezTo>
                    <a:pt x="1328" y="1753"/>
                    <a:pt x="1326" y="1750"/>
                    <a:pt x="1324" y="1746"/>
                  </a:cubicBezTo>
                  <a:cubicBezTo>
                    <a:pt x="1318" y="1740"/>
                    <a:pt x="1311" y="1731"/>
                    <a:pt x="1296" y="1727"/>
                  </a:cubicBezTo>
                  <a:cubicBezTo>
                    <a:pt x="1273" y="1720"/>
                    <a:pt x="1248" y="1727"/>
                    <a:pt x="1235" y="1731"/>
                  </a:cubicBezTo>
                  <a:cubicBezTo>
                    <a:pt x="1225" y="1735"/>
                    <a:pt x="1217" y="1743"/>
                    <a:pt x="1211" y="1750"/>
                  </a:cubicBezTo>
                  <a:cubicBezTo>
                    <a:pt x="1206" y="1755"/>
                    <a:pt x="1201" y="1760"/>
                    <a:pt x="1196" y="1760"/>
                  </a:cubicBezTo>
                  <a:cubicBezTo>
                    <a:pt x="1189" y="1763"/>
                    <a:pt x="1183" y="1760"/>
                    <a:pt x="1173" y="1753"/>
                  </a:cubicBezTo>
                  <a:cubicBezTo>
                    <a:pt x="1161" y="1746"/>
                    <a:pt x="1148" y="1738"/>
                    <a:pt x="1130" y="1741"/>
                  </a:cubicBezTo>
                  <a:cubicBezTo>
                    <a:pt x="1123" y="1743"/>
                    <a:pt x="1117" y="1746"/>
                    <a:pt x="1113" y="1750"/>
                  </a:cubicBezTo>
                  <a:cubicBezTo>
                    <a:pt x="1108" y="1751"/>
                    <a:pt x="1105" y="1753"/>
                    <a:pt x="1102" y="1753"/>
                  </a:cubicBezTo>
                  <a:lnTo>
                    <a:pt x="1102" y="1753"/>
                  </a:lnTo>
                  <a:cubicBezTo>
                    <a:pt x="1097" y="1753"/>
                    <a:pt x="1094" y="1748"/>
                    <a:pt x="1087" y="1743"/>
                  </a:cubicBezTo>
                  <a:cubicBezTo>
                    <a:pt x="1082" y="1738"/>
                    <a:pt x="1077" y="1731"/>
                    <a:pt x="1071" y="1728"/>
                  </a:cubicBezTo>
                  <a:cubicBezTo>
                    <a:pt x="1044" y="1713"/>
                    <a:pt x="1024" y="1722"/>
                    <a:pt x="1008" y="1730"/>
                  </a:cubicBezTo>
                  <a:cubicBezTo>
                    <a:pt x="1006" y="1730"/>
                    <a:pt x="1003" y="1731"/>
                    <a:pt x="1001" y="1733"/>
                  </a:cubicBezTo>
                  <a:cubicBezTo>
                    <a:pt x="995" y="1735"/>
                    <a:pt x="988" y="1736"/>
                    <a:pt x="980" y="1736"/>
                  </a:cubicBezTo>
                  <a:lnTo>
                    <a:pt x="975" y="1736"/>
                  </a:lnTo>
                  <a:cubicBezTo>
                    <a:pt x="955" y="1733"/>
                    <a:pt x="940" y="1713"/>
                    <a:pt x="927" y="1695"/>
                  </a:cubicBezTo>
                  <a:lnTo>
                    <a:pt x="924" y="1689"/>
                  </a:lnTo>
                  <a:cubicBezTo>
                    <a:pt x="921" y="1687"/>
                    <a:pt x="919" y="1684"/>
                    <a:pt x="917" y="1680"/>
                  </a:cubicBezTo>
                  <a:cubicBezTo>
                    <a:pt x="911" y="1671"/>
                    <a:pt x="904" y="1659"/>
                    <a:pt x="893" y="1651"/>
                  </a:cubicBezTo>
                  <a:cubicBezTo>
                    <a:pt x="873" y="1638"/>
                    <a:pt x="860" y="1641"/>
                    <a:pt x="850" y="1643"/>
                  </a:cubicBezTo>
                  <a:cubicBezTo>
                    <a:pt x="845" y="1644"/>
                    <a:pt x="840" y="1646"/>
                    <a:pt x="833" y="1644"/>
                  </a:cubicBezTo>
                  <a:cubicBezTo>
                    <a:pt x="810" y="1643"/>
                    <a:pt x="807" y="1631"/>
                    <a:pt x="805" y="1598"/>
                  </a:cubicBezTo>
                  <a:cubicBezTo>
                    <a:pt x="804" y="1572"/>
                    <a:pt x="802" y="1534"/>
                    <a:pt x="756" y="1524"/>
                  </a:cubicBezTo>
                  <a:cubicBezTo>
                    <a:pt x="720" y="1517"/>
                    <a:pt x="692" y="1512"/>
                    <a:pt x="670" y="1511"/>
                  </a:cubicBezTo>
                  <a:cubicBezTo>
                    <a:pt x="664" y="1511"/>
                    <a:pt x="659" y="1511"/>
                    <a:pt x="655" y="1512"/>
                  </a:cubicBezTo>
                  <a:cubicBezTo>
                    <a:pt x="650" y="1512"/>
                    <a:pt x="647" y="1512"/>
                    <a:pt x="639" y="1509"/>
                  </a:cubicBezTo>
                  <a:cubicBezTo>
                    <a:pt x="636" y="1507"/>
                    <a:pt x="632" y="1506"/>
                    <a:pt x="629" y="1503"/>
                  </a:cubicBezTo>
                  <a:cubicBezTo>
                    <a:pt x="619" y="1498"/>
                    <a:pt x="609" y="1491"/>
                    <a:pt x="594" y="1491"/>
                  </a:cubicBezTo>
                  <a:cubicBezTo>
                    <a:pt x="576" y="1491"/>
                    <a:pt x="560" y="1499"/>
                    <a:pt x="548" y="1512"/>
                  </a:cubicBezTo>
                  <a:cubicBezTo>
                    <a:pt x="535" y="1526"/>
                    <a:pt x="530" y="1544"/>
                    <a:pt x="533" y="1562"/>
                  </a:cubicBezTo>
                  <a:cubicBezTo>
                    <a:pt x="535" y="1575"/>
                    <a:pt x="540" y="1588"/>
                    <a:pt x="547" y="1598"/>
                  </a:cubicBezTo>
                  <a:cubicBezTo>
                    <a:pt x="555" y="1615"/>
                    <a:pt x="560" y="1624"/>
                    <a:pt x="550" y="1643"/>
                  </a:cubicBezTo>
                  <a:cubicBezTo>
                    <a:pt x="548" y="1644"/>
                    <a:pt x="547" y="1647"/>
                    <a:pt x="545" y="1651"/>
                  </a:cubicBezTo>
                  <a:lnTo>
                    <a:pt x="540" y="1647"/>
                  </a:lnTo>
                  <a:cubicBezTo>
                    <a:pt x="515" y="1633"/>
                    <a:pt x="499" y="1624"/>
                    <a:pt x="461" y="1639"/>
                  </a:cubicBezTo>
                  <a:cubicBezTo>
                    <a:pt x="454" y="1641"/>
                    <a:pt x="448" y="1646"/>
                    <a:pt x="440" y="1649"/>
                  </a:cubicBezTo>
                  <a:cubicBezTo>
                    <a:pt x="413" y="1664"/>
                    <a:pt x="403" y="1666"/>
                    <a:pt x="393" y="1652"/>
                  </a:cubicBezTo>
                  <a:cubicBezTo>
                    <a:pt x="389" y="1646"/>
                    <a:pt x="385" y="1641"/>
                    <a:pt x="382" y="1634"/>
                  </a:cubicBezTo>
                  <a:cubicBezTo>
                    <a:pt x="374" y="1618"/>
                    <a:pt x="364" y="1600"/>
                    <a:pt x="328" y="1605"/>
                  </a:cubicBezTo>
                  <a:lnTo>
                    <a:pt x="313" y="1606"/>
                  </a:lnTo>
                  <a:cubicBezTo>
                    <a:pt x="286" y="1611"/>
                    <a:pt x="275" y="1613"/>
                    <a:pt x="250" y="1598"/>
                  </a:cubicBezTo>
                  <a:cubicBezTo>
                    <a:pt x="217" y="1580"/>
                    <a:pt x="184" y="1572"/>
                    <a:pt x="158" y="1577"/>
                  </a:cubicBezTo>
                  <a:cubicBezTo>
                    <a:pt x="120" y="1583"/>
                    <a:pt x="94" y="1610"/>
                    <a:pt x="79" y="1629"/>
                  </a:cubicBezTo>
                  <a:lnTo>
                    <a:pt x="76" y="1633"/>
                  </a:lnTo>
                  <a:cubicBezTo>
                    <a:pt x="69" y="1644"/>
                    <a:pt x="51" y="1666"/>
                    <a:pt x="39" y="1667"/>
                  </a:cubicBezTo>
                  <a:cubicBezTo>
                    <a:pt x="38" y="1667"/>
                    <a:pt x="36" y="1667"/>
                    <a:pt x="33" y="1666"/>
                  </a:cubicBezTo>
                  <a:cubicBezTo>
                    <a:pt x="29" y="1662"/>
                    <a:pt x="34" y="1647"/>
                    <a:pt x="38" y="1639"/>
                  </a:cubicBezTo>
                  <a:cubicBezTo>
                    <a:pt x="41" y="1626"/>
                    <a:pt x="44" y="1613"/>
                    <a:pt x="43" y="1601"/>
                  </a:cubicBezTo>
                  <a:cubicBezTo>
                    <a:pt x="39" y="1593"/>
                    <a:pt x="34" y="1588"/>
                    <a:pt x="31" y="1582"/>
                  </a:cubicBezTo>
                  <a:cubicBezTo>
                    <a:pt x="28" y="1578"/>
                    <a:pt x="24" y="1573"/>
                    <a:pt x="24" y="1570"/>
                  </a:cubicBezTo>
                  <a:cubicBezTo>
                    <a:pt x="23" y="1567"/>
                    <a:pt x="26" y="1560"/>
                    <a:pt x="29" y="1554"/>
                  </a:cubicBezTo>
                  <a:cubicBezTo>
                    <a:pt x="31" y="1549"/>
                    <a:pt x="33" y="1544"/>
                    <a:pt x="34" y="1537"/>
                  </a:cubicBezTo>
                  <a:cubicBezTo>
                    <a:pt x="39" y="1519"/>
                    <a:pt x="41" y="1498"/>
                    <a:pt x="29" y="1479"/>
                  </a:cubicBezTo>
                  <a:cubicBezTo>
                    <a:pt x="24" y="1473"/>
                    <a:pt x="18" y="1470"/>
                    <a:pt x="13" y="1466"/>
                  </a:cubicBezTo>
                  <a:cubicBezTo>
                    <a:pt x="10" y="1463"/>
                    <a:pt x="5" y="1461"/>
                    <a:pt x="5" y="1460"/>
                  </a:cubicBezTo>
                  <a:cubicBezTo>
                    <a:pt x="0" y="1448"/>
                    <a:pt x="10" y="1435"/>
                    <a:pt x="23" y="1418"/>
                  </a:cubicBezTo>
                  <a:cubicBezTo>
                    <a:pt x="28" y="1414"/>
                    <a:pt x="31" y="1409"/>
                    <a:pt x="33" y="1405"/>
                  </a:cubicBezTo>
                  <a:cubicBezTo>
                    <a:pt x="38" y="1399"/>
                    <a:pt x="43" y="1392"/>
                    <a:pt x="46" y="1384"/>
                  </a:cubicBezTo>
                  <a:cubicBezTo>
                    <a:pt x="54" y="1369"/>
                    <a:pt x="61" y="1354"/>
                    <a:pt x="72" y="1349"/>
                  </a:cubicBezTo>
                  <a:cubicBezTo>
                    <a:pt x="80" y="1344"/>
                    <a:pt x="87" y="1343"/>
                    <a:pt x="94" y="1343"/>
                  </a:cubicBezTo>
                  <a:cubicBezTo>
                    <a:pt x="112" y="1339"/>
                    <a:pt x="127" y="1336"/>
                    <a:pt x="136" y="1306"/>
                  </a:cubicBezTo>
                  <a:cubicBezTo>
                    <a:pt x="143" y="1290"/>
                    <a:pt x="153" y="1277"/>
                    <a:pt x="163" y="1262"/>
                  </a:cubicBezTo>
                  <a:cubicBezTo>
                    <a:pt x="169" y="1252"/>
                    <a:pt x="178" y="1242"/>
                    <a:pt x="184" y="1229"/>
                  </a:cubicBezTo>
                  <a:cubicBezTo>
                    <a:pt x="188" y="1222"/>
                    <a:pt x="191" y="1216"/>
                    <a:pt x="194" y="1209"/>
                  </a:cubicBezTo>
                  <a:cubicBezTo>
                    <a:pt x="197" y="1201"/>
                    <a:pt x="201" y="1194"/>
                    <a:pt x="204" y="1189"/>
                  </a:cubicBezTo>
                  <a:cubicBezTo>
                    <a:pt x="209" y="1181"/>
                    <a:pt x="214" y="1175"/>
                    <a:pt x="220" y="1170"/>
                  </a:cubicBezTo>
                  <a:cubicBezTo>
                    <a:pt x="222" y="1168"/>
                    <a:pt x="224" y="1166"/>
                    <a:pt x="224" y="1166"/>
                  </a:cubicBezTo>
                  <a:cubicBezTo>
                    <a:pt x="245" y="1153"/>
                    <a:pt x="272" y="1153"/>
                    <a:pt x="309" y="1166"/>
                  </a:cubicBezTo>
                  <a:lnTo>
                    <a:pt x="321" y="1171"/>
                  </a:lnTo>
                  <a:cubicBezTo>
                    <a:pt x="347" y="1181"/>
                    <a:pt x="369" y="1188"/>
                    <a:pt x="400" y="1165"/>
                  </a:cubicBezTo>
                  <a:cubicBezTo>
                    <a:pt x="403" y="1161"/>
                    <a:pt x="408" y="1158"/>
                    <a:pt x="415" y="1155"/>
                  </a:cubicBezTo>
                  <a:cubicBezTo>
                    <a:pt x="435" y="1142"/>
                    <a:pt x="458" y="1127"/>
                    <a:pt x="464" y="110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24" name="Freeform 60">
              <a:extLst>
                <a:ext uri="{FF2B5EF4-FFF2-40B4-BE49-F238E27FC236}">
                  <a16:creationId xmlns:a16="http://schemas.microsoft.com/office/drawing/2014/main" id="{EE7401DA-A1AD-0B4F-9AEA-3CA15F2F08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3438" y="2222500"/>
              <a:ext cx="892175" cy="612775"/>
            </a:xfrm>
            <a:custGeom>
              <a:avLst/>
              <a:gdLst>
                <a:gd name="T0" fmla="*/ 27 w 2479"/>
                <a:gd name="T1" fmla="*/ 555 h 1703"/>
                <a:gd name="T2" fmla="*/ 191 w 2479"/>
                <a:gd name="T3" fmla="*/ 300 h 1703"/>
                <a:gd name="T4" fmla="*/ 372 w 2479"/>
                <a:gd name="T5" fmla="*/ 140 h 1703"/>
                <a:gd name="T6" fmla="*/ 407 w 2479"/>
                <a:gd name="T7" fmla="*/ 32 h 1703"/>
                <a:gd name="T8" fmla="*/ 544 w 2479"/>
                <a:gd name="T9" fmla="*/ 208 h 1703"/>
                <a:gd name="T10" fmla="*/ 503 w 2479"/>
                <a:gd name="T11" fmla="*/ 425 h 1703"/>
                <a:gd name="T12" fmla="*/ 404 w 2479"/>
                <a:gd name="T13" fmla="*/ 406 h 1703"/>
                <a:gd name="T14" fmla="*/ 244 w 2479"/>
                <a:gd name="T15" fmla="*/ 481 h 1703"/>
                <a:gd name="T16" fmla="*/ 356 w 2479"/>
                <a:gd name="T17" fmla="*/ 727 h 1703"/>
                <a:gd name="T18" fmla="*/ 633 w 2479"/>
                <a:gd name="T19" fmla="*/ 648 h 1703"/>
                <a:gd name="T20" fmla="*/ 687 w 2479"/>
                <a:gd name="T21" fmla="*/ 598 h 1703"/>
                <a:gd name="T22" fmla="*/ 822 w 2479"/>
                <a:gd name="T23" fmla="*/ 644 h 1703"/>
                <a:gd name="T24" fmla="*/ 980 w 2479"/>
                <a:gd name="T25" fmla="*/ 656 h 1703"/>
                <a:gd name="T26" fmla="*/ 1119 w 2479"/>
                <a:gd name="T27" fmla="*/ 709 h 1703"/>
                <a:gd name="T28" fmla="*/ 1206 w 2479"/>
                <a:gd name="T29" fmla="*/ 676 h 1703"/>
                <a:gd name="T30" fmla="*/ 1366 w 2479"/>
                <a:gd name="T31" fmla="*/ 709 h 1703"/>
                <a:gd name="T32" fmla="*/ 1190 w 2479"/>
                <a:gd name="T33" fmla="*/ 826 h 1703"/>
                <a:gd name="T34" fmla="*/ 1583 w 2479"/>
                <a:gd name="T35" fmla="*/ 1000 h 1703"/>
                <a:gd name="T36" fmla="*/ 1720 w 2479"/>
                <a:gd name="T37" fmla="*/ 997 h 1703"/>
                <a:gd name="T38" fmla="*/ 1732 w 2479"/>
                <a:gd name="T39" fmla="*/ 1036 h 1703"/>
                <a:gd name="T40" fmla="*/ 1746 w 2479"/>
                <a:gd name="T41" fmla="*/ 1032 h 1703"/>
                <a:gd name="T42" fmla="*/ 1834 w 2479"/>
                <a:gd name="T43" fmla="*/ 1012 h 1703"/>
                <a:gd name="T44" fmla="*/ 1783 w 2479"/>
                <a:gd name="T45" fmla="*/ 1205 h 1703"/>
                <a:gd name="T46" fmla="*/ 2023 w 2479"/>
                <a:gd name="T47" fmla="*/ 1122 h 1703"/>
                <a:gd name="T48" fmla="*/ 2087 w 2479"/>
                <a:gd name="T49" fmla="*/ 901 h 1703"/>
                <a:gd name="T50" fmla="*/ 2226 w 2479"/>
                <a:gd name="T51" fmla="*/ 943 h 1703"/>
                <a:gd name="T52" fmla="*/ 2473 w 2479"/>
                <a:gd name="T53" fmla="*/ 1211 h 1703"/>
                <a:gd name="T54" fmla="*/ 2456 w 2479"/>
                <a:gd name="T55" fmla="*/ 1275 h 1703"/>
                <a:gd name="T56" fmla="*/ 2412 w 2479"/>
                <a:gd name="T57" fmla="*/ 1389 h 1703"/>
                <a:gd name="T58" fmla="*/ 2420 w 2479"/>
                <a:gd name="T59" fmla="*/ 1516 h 1703"/>
                <a:gd name="T60" fmla="*/ 2269 w 2479"/>
                <a:gd name="T61" fmla="*/ 1526 h 1703"/>
                <a:gd name="T62" fmla="*/ 2099 w 2479"/>
                <a:gd name="T63" fmla="*/ 1610 h 1703"/>
                <a:gd name="T64" fmla="*/ 1964 w 2479"/>
                <a:gd name="T65" fmla="*/ 1672 h 1703"/>
                <a:gd name="T66" fmla="*/ 1830 w 2479"/>
                <a:gd name="T67" fmla="*/ 1689 h 1703"/>
                <a:gd name="T68" fmla="*/ 1723 w 2479"/>
                <a:gd name="T69" fmla="*/ 1658 h 1703"/>
                <a:gd name="T70" fmla="*/ 1132 w 2479"/>
                <a:gd name="T71" fmla="*/ 1277 h 1703"/>
                <a:gd name="T72" fmla="*/ 944 w 2479"/>
                <a:gd name="T73" fmla="*/ 1127 h 1703"/>
                <a:gd name="T74" fmla="*/ 694 w 2479"/>
                <a:gd name="T75" fmla="*/ 1074 h 1703"/>
                <a:gd name="T76" fmla="*/ 544 w 2479"/>
                <a:gd name="T77" fmla="*/ 1058 h 1703"/>
                <a:gd name="T78" fmla="*/ 354 w 2479"/>
                <a:gd name="T79" fmla="*/ 1017 h 1703"/>
                <a:gd name="T80" fmla="*/ 176 w 2479"/>
                <a:gd name="T81" fmla="*/ 999 h 1703"/>
                <a:gd name="T82" fmla="*/ 122 w 2479"/>
                <a:gd name="T83" fmla="*/ 910 h 1703"/>
                <a:gd name="T84" fmla="*/ 71 w 2479"/>
                <a:gd name="T85" fmla="*/ 791 h 1703"/>
                <a:gd name="T86" fmla="*/ 31 w 2479"/>
                <a:gd name="T87" fmla="*/ 707 h 1703"/>
                <a:gd name="T88" fmla="*/ 7 w 2479"/>
                <a:gd name="T89" fmla="*/ 618 h 1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79" h="1703">
                  <a:moveTo>
                    <a:pt x="7" y="618"/>
                  </a:moveTo>
                  <a:cubicBezTo>
                    <a:pt x="7" y="602"/>
                    <a:pt x="5" y="583"/>
                    <a:pt x="0" y="567"/>
                  </a:cubicBezTo>
                  <a:cubicBezTo>
                    <a:pt x="10" y="564"/>
                    <a:pt x="18" y="559"/>
                    <a:pt x="27" y="555"/>
                  </a:cubicBezTo>
                  <a:cubicBezTo>
                    <a:pt x="79" y="527"/>
                    <a:pt x="134" y="466"/>
                    <a:pt x="114" y="402"/>
                  </a:cubicBezTo>
                  <a:cubicBezTo>
                    <a:pt x="104" y="373"/>
                    <a:pt x="87" y="366"/>
                    <a:pt x="115" y="340"/>
                  </a:cubicBezTo>
                  <a:cubicBezTo>
                    <a:pt x="137" y="320"/>
                    <a:pt x="163" y="312"/>
                    <a:pt x="191" y="300"/>
                  </a:cubicBezTo>
                  <a:cubicBezTo>
                    <a:pt x="223" y="287"/>
                    <a:pt x="237" y="272"/>
                    <a:pt x="260" y="249"/>
                  </a:cubicBezTo>
                  <a:cubicBezTo>
                    <a:pt x="282" y="229"/>
                    <a:pt x="308" y="226"/>
                    <a:pt x="328" y="205"/>
                  </a:cubicBezTo>
                  <a:cubicBezTo>
                    <a:pt x="344" y="186"/>
                    <a:pt x="371" y="167"/>
                    <a:pt x="372" y="140"/>
                  </a:cubicBezTo>
                  <a:cubicBezTo>
                    <a:pt x="374" y="119"/>
                    <a:pt x="366" y="96"/>
                    <a:pt x="363" y="74"/>
                  </a:cubicBezTo>
                  <a:cubicBezTo>
                    <a:pt x="359" y="58"/>
                    <a:pt x="353" y="30"/>
                    <a:pt x="368" y="17"/>
                  </a:cubicBezTo>
                  <a:cubicBezTo>
                    <a:pt x="386" y="0"/>
                    <a:pt x="399" y="15"/>
                    <a:pt x="407" y="32"/>
                  </a:cubicBezTo>
                  <a:cubicBezTo>
                    <a:pt x="415" y="53"/>
                    <a:pt x="412" y="76"/>
                    <a:pt x="428" y="96"/>
                  </a:cubicBezTo>
                  <a:cubicBezTo>
                    <a:pt x="445" y="116"/>
                    <a:pt x="473" y="122"/>
                    <a:pt x="491" y="140"/>
                  </a:cubicBezTo>
                  <a:cubicBezTo>
                    <a:pt x="513" y="158"/>
                    <a:pt x="532" y="183"/>
                    <a:pt x="544" y="208"/>
                  </a:cubicBezTo>
                  <a:cubicBezTo>
                    <a:pt x="560" y="239"/>
                    <a:pt x="544" y="251"/>
                    <a:pt x="537" y="280"/>
                  </a:cubicBezTo>
                  <a:cubicBezTo>
                    <a:pt x="529" y="308"/>
                    <a:pt x="547" y="335"/>
                    <a:pt x="539" y="363"/>
                  </a:cubicBezTo>
                  <a:cubicBezTo>
                    <a:pt x="531" y="386"/>
                    <a:pt x="513" y="404"/>
                    <a:pt x="503" y="425"/>
                  </a:cubicBezTo>
                  <a:cubicBezTo>
                    <a:pt x="496" y="445"/>
                    <a:pt x="486" y="470"/>
                    <a:pt x="463" y="455"/>
                  </a:cubicBezTo>
                  <a:cubicBezTo>
                    <a:pt x="455" y="448"/>
                    <a:pt x="450" y="432"/>
                    <a:pt x="442" y="425"/>
                  </a:cubicBezTo>
                  <a:cubicBezTo>
                    <a:pt x="432" y="415"/>
                    <a:pt x="415" y="412"/>
                    <a:pt x="404" y="406"/>
                  </a:cubicBezTo>
                  <a:cubicBezTo>
                    <a:pt x="371" y="391"/>
                    <a:pt x="359" y="371"/>
                    <a:pt x="326" y="387"/>
                  </a:cubicBezTo>
                  <a:cubicBezTo>
                    <a:pt x="302" y="399"/>
                    <a:pt x="280" y="392"/>
                    <a:pt x="259" y="404"/>
                  </a:cubicBezTo>
                  <a:cubicBezTo>
                    <a:pt x="224" y="424"/>
                    <a:pt x="228" y="452"/>
                    <a:pt x="244" y="481"/>
                  </a:cubicBezTo>
                  <a:cubicBezTo>
                    <a:pt x="260" y="511"/>
                    <a:pt x="249" y="518"/>
                    <a:pt x="239" y="546"/>
                  </a:cubicBezTo>
                  <a:cubicBezTo>
                    <a:pt x="219" y="595"/>
                    <a:pt x="211" y="648"/>
                    <a:pt x="260" y="682"/>
                  </a:cubicBezTo>
                  <a:cubicBezTo>
                    <a:pt x="285" y="700"/>
                    <a:pt x="326" y="714"/>
                    <a:pt x="356" y="727"/>
                  </a:cubicBezTo>
                  <a:cubicBezTo>
                    <a:pt x="384" y="740"/>
                    <a:pt x="409" y="738"/>
                    <a:pt x="432" y="714"/>
                  </a:cubicBezTo>
                  <a:cubicBezTo>
                    <a:pt x="463" y="681"/>
                    <a:pt x="522" y="606"/>
                    <a:pt x="575" y="613"/>
                  </a:cubicBezTo>
                  <a:cubicBezTo>
                    <a:pt x="598" y="615"/>
                    <a:pt x="618" y="631"/>
                    <a:pt x="633" y="648"/>
                  </a:cubicBezTo>
                  <a:cubicBezTo>
                    <a:pt x="638" y="653"/>
                    <a:pt x="641" y="666"/>
                    <a:pt x="651" y="666"/>
                  </a:cubicBezTo>
                  <a:cubicBezTo>
                    <a:pt x="667" y="667"/>
                    <a:pt x="656" y="654"/>
                    <a:pt x="657" y="648"/>
                  </a:cubicBezTo>
                  <a:cubicBezTo>
                    <a:pt x="662" y="635"/>
                    <a:pt x="669" y="595"/>
                    <a:pt x="687" y="598"/>
                  </a:cubicBezTo>
                  <a:cubicBezTo>
                    <a:pt x="694" y="602"/>
                    <a:pt x="695" y="620"/>
                    <a:pt x="700" y="625"/>
                  </a:cubicBezTo>
                  <a:cubicBezTo>
                    <a:pt x="709" y="631"/>
                    <a:pt x="718" y="636"/>
                    <a:pt x="728" y="639"/>
                  </a:cubicBezTo>
                  <a:cubicBezTo>
                    <a:pt x="758" y="649"/>
                    <a:pt x="791" y="649"/>
                    <a:pt x="822" y="644"/>
                  </a:cubicBezTo>
                  <a:cubicBezTo>
                    <a:pt x="852" y="641"/>
                    <a:pt x="882" y="646"/>
                    <a:pt x="910" y="638"/>
                  </a:cubicBezTo>
                  <a:cubicBezTo>
                    <a:pt x="934" y="631"/>
                    <a:pt x="934" y="628"/>
                    <a:pt x="954" y="639"/>
                  </a:cubicBezTo>
                  <a:cubicBezTo>
                    <a:pt x="966" y="646"/>
                    <a:pt x="967" y="653"/>
                    <a:pt x="980" y="656"/>
                  </a:cubicBezTo>
                  <a:cubicBezTo>
                    <a:pt x="997" y="659"/>
                    <a:pt x="1010" y="658"/>
                    <a:pt x="1026" y="663"/>
                  </a:cubicBezTo>
                  <a:cubicBezTo>
                    <a:pt x="1043" y="667"/>
                    <a:pt x="1054" y="672"/>
                    <a:pt x="1073" y="674"/>
                  </a:cubicBezTo>
                  <a:cubicBezTo>
                    <a:pt x="1096" y="676"/>
                    <a:pt x="1135" y="676"/>
                    <a:pt x="1119" y="709"/>
                  </a:cubicBezTo>
                  <a:cubicBezTo>
                    <a:pt x="1111" y="725"/>
                    <a:pt x="1069" y="738"/>
                    <a:pt x="1101" y="758"/>
                  </a:cubicBezTo>
                  <a:cubicBezTo>
                    <a:pt x="1125" y="771"/>
                    <a:pt x="1139" y="743"/>
                    <a:pt x="1148" y="727"/>
                  </a:cubicBezTo>
                  <a:cubicBezTo>
                    <a:pt x="1165" y="704"/>
                    <a:pt x="1178" y="686"/>
                    <a:pt x="1206" y="676"/>
                  </a:cubicBezTo>
                  <a:cubicBezTo>
                    <a:pt x="1262" y="659"/>
                    <a:pt x="1326" y="687"/>
                    <a:pt x="1381" y="700"/>
                  </a:cubicBezTo>
                  <a:cubicBezTo>
                    <a:pt x="1391" y="704"/>
                    <a:pt x="1425" y="710"/>
                    <a:pt x="1412" y="727"/>
                  </a:cubicBezTo>
                  <a:cubicBezTo>
                    <a:pt x="1400" y="740"/>
                    <a:pt x="1376" y="712"/>
                    <a:pt x="1366" y="709"/>
                  </a:cubicBezTo>
                  <a:cubicBezTo>
                    <a:pt x="1328" y="692"/>
                    <a:pt x="1290" y="760"/>
                    <a:pt x="1280" y="791"/>
                  </a:cubicBezTo>
                  <a:cubicBezTo>
                    <a:pt x="1274" y="812"/>
                    <a:pt x="1272" y="845"/>
                    <a:pt x="1241" y="839"/>
                  </a:cubicBezTo>
                  <a:cubicBezTo>
                    <a:pt x="1223" y="835"/>
                    <a:pt x="1209" y="806"/>
                    <a:pt x="1190" y="826"/>
                  </a:cubicBezTo>
                  <a:cubicBezTo>
                    <a:pt x="1168" y="849"/>
                    <a:pt x="1267" y="916"/>
                    <a:pt x="1283" y="928"/>
                  </a:cubicBezTo>
                  <a:cubicBezTo>
                    <a:pt x="1336" y="961"/>
                    <a:pt x="1372" y="887"/>
                    <a:pt x="1430" y="898"/>
                  </a:cubicBezTo>
                  <a:cubicBezTo>
                    <a:pt x="1503" y="910"/>
                    <a:pt x="1534" y="951"/>
                    <a:pt x="1583" y="1000"/>
                  </a:cubicBezTo>
                  <a:cubicBezTo>
                    <a:pt x="1615" y="1033"/>
                    <a:pt x="1620" y="1010"/>
                    <a:pt x="1653" y="1002"/>
                  </a:cubicBezTo>
                  <a:cubicBezTo>
                    <a:pt x="1666" y="999"/>
                    <a:pt x="1674" y="1007"/>
                    <a:pt x="1687" y="1005"/>
                  </a:cubicBezTo>
                  <a:cubicBezTo>
                    <a:pt x="1697" y="1004"/>
                    <a:pt x="1709" y="990"/>
                    <a:pt x="1720" y="997"/>
                  </a:cubicBezTo>
                  <a:cubicBezTo>
                    <a:pt x="1728" y="1000"/>
                    <a:pt x="1728" y="1012"/>
                    <a:pt x="1730" y="1020"/>
                  </a:cubicBezTo>
                  <a:cubicBezTo>
                    <a:pt x="1730" y="1022"/>
                    <a:pt x="1730" y="1025"/>
                    <a:pt x="1730" y="1028"/>
                  </a:cubicBezTo>
                  <a:cubicBezTo>
                    <a:pt x="1730" y="1032"/>
                    <a:pt x="1732" y="1033"/>
                    <a:pt x="1732" y="1036"/>
                  </a:cubicBezTo>
                  <a:lnTo>
                    <a:pt x="1732" y="1038"/>
                  </a:lnTo>
                  <a:cubicBezTo>
                    <a:pt x="1733" y="1040"/>
                    <a:pt x="1735" y="1041"/>
                    <a:pt x="1737" y="1040"/>
                  </a:cubicBezTo>
                  <a:cubicBezTo>
                    <a:pt x="1743" y="1040"/>
                    <a:pt x="1745" y="1035"/>
                    <a:pt x="1746" y="1032"/>
                  </a:cubicBezTo>
                  <a:cubicBezTo>
                    <a:pt x="1748" y="1025"/>
                    <a:pt x="1753" y="1020"/>
                    <a:pt x="1756" y="1015"/>
                  </a:cubicBezTo>
                  <a:cubicBezTo>
                    <a:pt x="1760" y="1008"/>
                    <a:pt x="1765" y="999"/>
                    <a:pt x="1771" y="994"/>
                  </a:cubicBezTo>
                  <a:cubicBezTo>
                    <a:pt x="1797" y="974"/>
                    <a:pt x="1825" y="980"/>
                    <a:pt x="1834" y="1012"/>
                  </a:cubicBezTo>
                  <a:cubicBezTo>
                    <a:pt x="1840" y="1032"/>
                    <a:pt x="1855" y="1064"/>
                    <a:pt x="1844" y="1084"/>
                  </a:cubicBezTo>
                  <a:cubicBezTo>
                    <a:pt x="1829" y="1107"/>
                    <a:pt x="1797" y="1111"/>
                    <a:pt x="1781" y="1134"/>
                  </a:cubicBezTo>
                  <a:cubicBezTo>
                    <a:pt x="1765" y="1162"/>
                    <a:pt x="1771" y="1178"/>
                    <a:pt x="1783" y="1205"/>
                  </a:cubicBezTo>
                  <a:cubicBezTo>
                    <a:pt x="1819" y="1284"/>
                    <a:pt x="1844" y="1185"/>
                    <a:pt x="1872" y="1165"/>
                  </a:cubicBezTo>
                  <a:cubicBezTo>
                    <a:pt x="1900" y="1145"/>
                    <a:pt x="1924" y="1168"/>
                    <a:pt x="1952" y="1165"/>
                  </a:cubicBezTo>
                  <a:cubicBezTo>
                    <a:pt x="1977" y="1162"/>
                    <a:pt x="2003" y="1139"/>
                    <a:pt x="2023" y="1122"/>
                  </a:cubicBezTo>
                  <a:cubicBezTo>
                    <a:pt x="2048" y="1099"/>
                    <a:pt x="2051" y="1088"/>
                    <a:pt x="2040" y="1058"/>
                  </a:cubicBezTo>
                  <a:cubicBezTo>
                    <a:pt x="2031" y="1030"/>
                    <a:pt x="2041" y="992"/>
                    <a:pt x="2043" y="962"/>
                  </a:cubicBezTo>
                  <a:cubicBezTo>
                    <a:pt x="2045" y="928"/>
                    <a:pt x="2053" y="908"/>
                    <a:pt x="2087" y="901"/>
                  </a:cubicBezTo>
                  <a:cubicBezTo>
                    <a:pt x="2102" y="898"/>
                    <a:pt x="2110" y="898"/>
                    <a:pt x="2124" y="893"/>
                  </a:cubicBezTo>
                  <a:cubicBezTo>
                    <a:pt x="2135" y="887"/>
                    <a:pt x="2143" y="877"/>
                    <a:pt x="2158" y="878"/>
                  </a:cubicBezTo>
                  <a:cubicBezTo>
                    <a:pt x="2190" y="878"/>
                    <a:pt x="2208" y="921"/>
                    <a:pt x="2226" y="943"/>
                  </a:cubicBezTo>
                  <a:cubicBezTo>
                    <a:pt x="2249" y="971"/>
                    <a:pt x="2280" y="989"/>
                    <a:pt x="2310" y="1010"/>
                  </a:cubicBezTo>
                  <a:cubicBezTo>
                    <a:pt x="2361" y="1048"/>
                    <a:pt x="2407" y="1104"/>
                    <a:pt x="2443" y="1157"/>
                  </a:cubicBezTo>
                  <a:cubicBezTo>
                    <a:pt x="2456" y="1173"/>
                    <a:pt x="2468" y="1191"/>
                    <a:pt x="2473" y="1211"/>
                  </a:cubicBezTo>
                  <a:cubicBezTo>
                    <a:pt x="2475" y="1221"/>
                    <a:pt x="2473" y="1228"/>
                    <a:pt x="2473" y="1237"/>
                  </a:cubicBezTo>
                  <a:cubicBezTo>
                    <a:pt x="2473" y="1244"/>
                    <a:pt x="2475" y="1254"/>
                    <a:pt x="2478" y="1262"/>
                  </a:cubicBezTo>
                  <a:cubicBezTo>
                    <a:pt x="2471" y="1265"/>
                    <a:pt x="2465" y="1270"/>
                    <a:pt x="2456" y="1275"/>
                  </a:cubicBezTo>
                  <a:cubicBezTo>
                    <a:pt x="2453" y="1277"/>
                    <a:pt x="2447" y="1280"/>
                    <a:pt x="2442" y="1284"/>
                  </a:cubicBezTo>
                  <a:cubicBezTo>
                    <a:pt x="2422" y="1293"/>
                    <a:pt x="2397" y="1307"/>
                    <a:pt x="2387" y="1328"/>
                  </a:cubicBezTo>
                  <a:cubicBezTo>
                    <a:pt x="2374" y="1361"/>
                    <a:pt x="2397" y="1376"/>
                    <a:pt x="2412" y="1389"/>
                  </a:cubicBezTo>
                  <a:lnTo>
                    <a:pt x="2417" y="1392"/>
                  </a:lnTo>
                  <a:cubicBezTo>
                    <a:pt x="2435" y="1405"/>
                    <a:pt x="2440" y="1417"/>
                    <a:pt x="2442" y="1443"/>
                  </a:cubicBezTo>
                  <a:cubicBezTo>
                    <a:pt x="2443" y="1473"/>
                    <a:pt x="2435" y="1494"/>
                    <a:pt x="2420" y="1516"/>
                  </a:cubicBezTo>
                  <a:cubicBezTo>
                    <a:pt x="2415" y="1514"/>
                    <a:pt x="2412" y="1513"/>
                    <a:pt x="2409" y="1511"/>
                  </a:cubicBezTo>
                  <a:cubicBezTo>
                    <a:pt x="2372" y="1498"/>
                    <a:pt x="2331" y="1481"/>
                    <a:pt x="2292" y="1506"/>
                  </a:cubicBezTo>
                  <a:cubicBezTo>
                    <a:pt x="2282" y="1513"/>
                    <a:pt x="2275" y="1519"/>
                    <a:pt x="2269" y="1526"/>
                  </a:cubicBezTo>
                  <a:cubicBezTo>
                    <a:pt x="2259" y="1536"/>
                    <a:pt x="2251" y="1542"/>
                    <a:pt x="2234" y="1546"/>
                  </a:cubicBezTo>
                  <a:cubicBezTo>
                    <a:pt x="2196" y="1552"/>
                    <a:pt x="2185" y="1555"/>
                    <a:pt x="2165" y="1592"/>
                  </a:cubicBezTo>
                  <a:cubicBezTo>
                    <a:pt x="2153" y="1611"/>
                    <a:pt x="2134" y="1611"/>
                    <a:pt x="2099" y="1610"/>
                  </a:cubicBezTo>
                  <a:cubicBezTo>
                    <a:pt x="2076" y="1608"/>
                    <a:pt x="2050" y="1606"/>
                    <a:pt x="2026" y="1618"/>
                  </a:cubicBezTo>
                  <a:cubicBezTo>
                    <a:pt x="2010" y="1626"/>
                    <a:pt x="1998" y="1638"/>
                    <a:pt x="1990" y="1649"/>
                  </a:cubicBezTo>
                  <a:cubicBezTo>
                    <a:pt x="1982" y="1658"/>
                    <a:pt x="1974" y="1667"/>
                    <a:pt x="1964" y="1672"/>
                  </a:cubicBezTo>
                  <a:cubicBezTo>
                    <a:pt x="1947" y="1681"/>
                    <a:pt x="1928" y="1679"/>
                    <a:pt x="1908" y="1677"/>
                  </a:cubicBezTo>
                  <a:cubicBezTo>
                    <a:pt x="1900" y="1677"/>
                    <a:pt x="1891" y="1677"/>
                    <a:pt x="1883" y="1677"/>
                  </a:cubicBezTo>
                  <a:cubicBezTo>
                    <a:pt x="1863" y="1677"/>
                    <a:pt x="1847" y="1682"/>
                    <a:pt x="1830" y="1689"/>
                  </a:cubicBezTo>
                  <a:cubicBezTo>
                    <a:pt x="1824" y="1690"/>
                    <a:pt x="1816" y="1694"/>
                    <a:pt x="1807" y="1695"/>
                  </a:cubicBezTo>
                  <a:cubicBezTo>
                    <a:pt x="1784" y="1702"/>
                    <a:pt x="1763" y="1687"/>
                    <a:pt x="1740" y="1669"/>
                  </a:cubicBezTo>
                  <a:cubicBezTo>
                    <a:pt x="1735" y="1666"/>
                    <a:pt x="1728" y="1661"/>
                    <a:pt x="1723" y="1658"/>
                  </a:cubicBezTo>
                  <a:cubicBezTo>
                    <a:pt x="1654" y="1613"/>
                    <a:pt x="1587" y="1569"/>
                    <a:pt x="1517" y="1524"/>
                  </a:cubicBezTo>
                  <a:cubicBezTo>
                    <a:pt x="1470" y="1493"/>
                    <a:pt x="1420" y="1462"/>
                    <a:pt x="1372" y="1432"/>
                  </a:cubicBezTo>
                  <a:cubicBezTo>
                    <a:pt x="1292" y="1382"/>
                    <a:pt x="1211" y="1331"/>
                    <a:pt x="1132" y="1277"/>
                  </a:cubicBezTo>
                  <a:cubicBezTo>
                    <a:pt x="1122" y="1270"/>
                    <a:pt x="1112" y="1264"/>
                    <a:pt x="1102" y="1257"/>
                  </a:cubicBezTo>
                  <a:cubicBezTo>
                    <a:pt x="1054" y="1224"/>
                    <a:pt x="1007" y="1191"/>
                    <a:pt x="966" y="1150"/>
                  </a:cubicBezTo>
                  <a:cubicBezTo>
                    <a:pt x="959" y="1144"/>
                    <a:pt x="951" y="1135"/>
                    <a:pt x="944" y="1127"/>
                  </a:cubicBezTo>
                  <a:cubicBezTo>
                    <a:pt x="910" y="1089"/>
                    <a:pt x="872" y="1046"/>
                    <a:pt x="809" y="1050"/>
                  </a:cubicBezTo>
                  <a:cubicBezTo>
                    <a:pt x="789" y="1051"/>
                    <a:pt x="771" y="1058"/>
                    <a:pt x="755" y="1063"/>
                  </a:cubicBezTo>
                  <a:cubicBezTo>
                    <a:pt x="735" y="1071"/>
                    <a:pt x="715" y="1076"/>
                    <a:pt x="694" y="1074"/>
                  </a:cubicBezTo>
                  <a:cubicBezTo>
                    <a:pt x="674" y="1073"/>
                    <a:pt x="656" y="1071"/>
                    <a:pt x="636" y="1069"/>
                  </a:cubicBezTo>
                  <a:lnTo>
                    <a:pt x="606" y="1066"/>
                  </a:lnTo>
                  <a:cubicBezTo>
                    <a:pt x="587" y="1063"/>
                    <a:pt x="565" y="1061"/>
                    <a:pt x="544" y="1058"/>
                  </a:cubicBezTo>
                  <a:cubicBezTo>
                    <a:pt x="503" y="1053"/>
                    <a:pt x="460" y="1048"/>
                    <a:pt x="417" y="1045"/>
                  </a:cubicBezTo>
                  <a:cubicBezTo>
                    <a:pt x="404" y="1045"/>
                    <a:pt x="392" y="1046"/>
                    <a:pt x="381" y="1050"/>
                  </a:cubicBezTo>
                  <a:cubicBezTo>
                    <a:pt x="372" y="1038"/>
                    <a:pt x="364" y="1027"/>
                    <a:pt x="354" y="1017"/>
                  </a:cubicBezTo>
                  <a:cubicBezTo>
                    <a:pt x="328" y="987"/>
                    <a:pt x="280" y="959"/>
                    <a:pt x="232" y="976"/>
                  </a:cubicBezTo>
                  <a:cubicBezTo>
                    <a:pt x="226" y="979"/>
                    <a:pt x="218" y="984"/>
                    <a:pt x="209" y="987"/>
                  </a:cubicBezTo>
                  <a:cubicBezTo>
                    <a:pt x="198" y="994"/>
                    <a:pt x="188" y="1000"/>
                    <a:pt x="176" y="999"/>
                  </a:cubicBezTo>
                  <a:lnTo>
                    <a:pt x="176" y="999"/>
                  </a:lnTo>
                  <a:cubicBezTo>
                    <a:pt x="158" y="997"/>
                    <a:pt x="147" y="976"/>
                    <a:pt x="140" y="959"/>
                  </a:cubicBezTo>
                  <a:cubicBezTo>
                    <a:pt x="134" y="943"/>
                    <a:pt x="127" y="926"/>
                    <a:pt x="122" y="910"/>
                  </a:cubicBezTo>
                  <a:cubicBezTo>
                    <a:pt x="114" y="887"/>
                    <a:pt x="106" y="862"/>
                    <a:pt x="94" y="837"/>
                  </a:cubicBezTo>
                  <a:cubicBezTo>
                    <a:pt x="92" y="834"/>
                    <a:pt x="89" y="829"/>
                    <a:pt x="87" y="824"/>
                  </a:cubicBezTo>
                  <a:cubicBezTo>
                    <a:pt x="81" y="812"/>
                    <a:pt x="74" y="803"/>
                    <a:pt x="71" y="791"/>
                  </a:cubicBezTo>
                  <a:cubicBezTo>
                    <a:pt x="69" y="786"/>
                    <a:pt x="68" y="779"/>
                    <a:pt x="66" y="775"/>
                  </a:cubicBezTo>
                  <a:cubicBezTo>
                    <a:pt x="64" y="765"/>
                    <a:pt x="63" y="756"/>
                    <a:pt x="59" y="748"/>
                  </a:cubicBezTo>
                  <a:cubicBezTo>
                    <a:pt x="53" y="732"/>
                    <a:pt x="41" y="719"/>
                    <a:pt x="31" y="707"/>
                  </a:cubicBezTo>
                  <a:cubicBezTo>
                    <a:pt x="20" y="692"/>
                    <a:pt x="8" y="677"/>
                    <a:pt x="5" y="661"/>
                  </a:cubicBezTo>
                  <a:cubicBezTo>
                    <a:pt x="3" y="651"/>
                    <a:pt x="5" y="641"/>
                    <a:pt x="5" y="631"/>
                  </a:cubicBezTo>
                  <a:cubicBezTo>
                    <a:pt x="5" y="626"/>
                    <a:pt x="7" y="623"/>
                    <a:pt x="7" y="61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25" name="Freeform 61">
              <a:extLst>
                <a:ext uri="{FF2B5EF4-FFF2-40B4-BE49-F238E27FC236}">
                  <a16:creationId xmlns:a16="http://schemas.microsoft.com/office/drawing/2014/main" id="{DBD362FB-EB9D-F846-BBAC-B912FBA083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3788" y="3713163"/>
              <a:ext cx="631825" cy="488950"/>
            </a:xfrm>
            <a:custGeom>
              <a:avLst/>
              <a:gdLst>
                <a:gd name="T0" fmla="*/ 727 w 1754"/>
                <a:gd name="T1" fmla="*/ 1303 h 1356"/>
                <a:gd name="T2" fmla="*/ 689 w 1754"/>
                <a:gd name="T3" fmla="*/ 1342 h 1356"/>
                <a:gd name="T4" fmla="*/ 615 w 1754"/>
                <a:gd name="T5" fmla="*/ 1309 h 1356"/>
                <a:gd name="T6" fmla="*/ 422 w 1754"/>
                <a:gd name="T7" fmla="*/ 1209 h 1356"/>
                <a:gd name="T8" fmla="*/ 397 w 1754"/>
                <a:gd name="T9" fmla="*/ 1156 h 1356"/>
                <a:gd name="T10" fmla="*/ 326 w 1754"/>
                <a:gd name="T11" fmla="*/ 1059 h 1356"/>
                <a:gd name="T12" fmla="*/ 280 w 1754"/>
                <a:gd name="T13" fmla="*/ 995 h 1356"/>
                <a:gd name="T14" fmla="*/ 211 w 1754"/>
                <a:gd name="T15" fmla="*/ 896 h 1356"/>
                <a:gd name="T16" fmla="*/ 87 w 1754"/>
                <a:gd name="T17" fmla="*/ 823 h 1356"/>
                <a:gd name="T18" fmla="*/ 66 w 1754"/>
                <a:gd name="T19" fmla="*/ 764 h 1356"/>
                <a:gd name="T20" fmla="*/ 23 w 1754"/>
                <a:gd name="T21" fmla="*/ 698 h 1356"/>
                <a:gd name="T22" fmla="*/ 36 w 1754"/>
                <a:gd name="T23" fmla="*/ 601 h 1356"/>
                <a:gd name="T24" fmla="*/ 58 w 1754"/>
                <a:gd name="T25" fmla="*/ 588 h 1356"/>
                <a:gd name="T26" fmla="*/ 86 w 1754"/>
                <a:gd name="T27" fmla="*/ 528 h 1356"/>
                <a:gd name="T28" fmla="*/ 102 w 1754"/>
                <a:gd name="T29" fmla="*/ 456 h 1356"/>
                <a:gd name="T30" fmla="*/ 110 w 1754"/>
                <a:gd name="T31" fmla="*/ 433 h 1356"/>
                <a:gd name="T32" fmla="*/ 259 w 1754"/>
                <a:gd name="T33" fmla="*/ 326 h 1356"/>
                <a:gd name="T34" fmla="*/ 420 w 1754"/>
                <a:gd name="T35" fmla="*/ 177 h 1356"/>
                <a:gd name="T36" fmla="*/ 445 w 1754"/>
                <a:gd name="T37" fmla="*/ 179 h 1356"/>
                <a:gd name="T38" fmla="*/ 542 w 1754"/>
                <a:gd name="T39" fmla="*/ 161 h 1356"/>
                <a:gd name="T40" fmla="*/ 611 w 1754"/>
                <a:gd name="T41" fmla="*/ 130 h 1356"/>
                <a:gd name="T42" fmla="*/ 715 w 1754"/>
                <a:gd name="T43" fmla="*/ 115 h 1356"/>
                <a:gd name="T44" fmla="*/ 817 w 1754"/>
                <a:gd name="T45" fmla="*/ 123 h 1356"/>
                <a:gd name="T46" fmla="*/ 904 w 1754"/>
                <a:gd name="T47" fmla="*/ 84 h 1356"/>
                <a:gd name="T48" fmla="*/ 992 w 1754"/>
                <a:gd name="T49" fmla="*/ 62 h 1356"/>
                <a:gd name="T50" fmla="*/ 1035 w 1754"/>
                <a:gd name="T51" fmla="*/ 13 h 1356"/>
                <a:gd name="T52" fmla="*/ 1124 w 1754"/>
                <a:gd name="T53" fmla="*/ 32 h 1356"/>
                <a:gd name="T54" fmla="*/ 1204 w 1754"/>
                <a:gd name="T55" fmla="*/ 87 h 1356"/>
                <a:gd name="T56" fmla="*/ 1287 w 1754"/>
                <a:gd name="T57" fmla="*/ 117 h 1356"/>
                <a:gd name="T58" fmla="*/ 1339 w 1754"/>
                <a:gd name="T59" fmla="*/ 179 h 1356"/>
                <a:gd name="T60" fmla="*/ 1392 w 1754"/>
                <a:gd name="T61" fmla="*/ 257 h 1356"/>
                <a:gd name="T62" fmla="*/ 1422 w 1754"/>
                <a:gd name="T63" fmla="*/ 360 h 1356"/>
                <a:gd name="T64" fmla="*/ 1473 w 1754"/>
                <a:gd name="T65" fmla="*/ 439 h 1356"/>
                <a:gd name="T66" fmla="*/ 1567 w 1754"/>
                <a:gd name="T67" fmla="*/ 561 h 1356"/>
                <a:gd name="T68" fmla="*/ 1649 w 1754"/>
                <a:gd name="T69" fmla="*/ 611 h 1356"/>
                <a:gd name="T70" fmla="*/ 1727 w 1754"/>
                <a:gd name="T71" fmla="*/ 647 h 1356"/>
                <a:gd name="T72" fmla="*/ 1723 w 1754"/>
                <a:gd name="T73" fmla="*/ 695 h 1356"/>
                <a:gd name="T74" fmla="*/ 1502 w 1754"/>
                <a:gd name="T75" fmla="*/ 728 h 1356"/>
                <a:gd name="T76" fmla="*/ 1394 w 1754"/>
                <a:gd name="T77" fmla="*/ 711 h 1356"/>
                <a:gd name="T78" fmla="*/ 1264 w 1754"/>
                <a:gd name="T79" fmla="*/ 662 h 1356"/>
                <a:gd name="T80" fmla="*/ 1183 w 1754"/>
                <a:gd name="T81" fmla="*/ 622 h 1356"/>
                <a:gd name="T82" fmla="*/ 1150 w 1754"/>
                <a:gd name="T83" fmla="*/ 581 h 1356"/>
                <a:gd name="T84" fmla="*/ 1145 w 1754"/>
                <a:gd name="T85" fmla="*/ 482 h 1356"/>
                <a:gd name="T86" fmla="*/ 1028 w 1754"/>
                <a:gd name="T87" fmla="*/ 548 h 1356"/>
                <a:gd name="T88" fmla="*/ 965 w 1754"/>
                <a:gd name="T89" fmla="*/ 647 h 1356"/>
                <a:gd name="T90" fmla="*/ 934 w 1754"/>
                <a:gd name="T91" fmla="*/ 751 h 1356"/>
                <a:gd name="T92" fmla="*/ 1028 w 1754"/>
                <a:gd name="T93" fmla="*/ 930 h 1356"/>
                <a:gd name="T94" fmla="*/ 1010 w 1754"/>
                <a:gd name="T95" fmla="*/ 998 h 1356"/>
                <a:gd name="T96" fmla="*/ 898 w 1754"/>
                <a:gd name="T97" fmla="*/ 1049 h 1356"/>
                <a:gd name="T98" fmla="*/ 832 w 1754"/>
                <a:gd name="T99" fmla="*/ 1151 h 1356"/>
                <a:gd name="T100" fmla="*/ 761 w 1754"/>
                <a:gd name="T101" fmla="*/ 1229 h 1356"/>
                <a:gd name="T102" fmla="*/ 746 w 1754"/>
                <a:gd name="T103" fmla="*/ 1281 h 1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54" h="1356">
                  <a:moveTo>
                    <a:pt x="746" y="1281"/>
                  </a:moveTo>
                  <a:cubicBezTo>
                    <a:pt x="741" y="1289"/>
                    <a:pt x="735" y="1296"/>
                    <a:pt x="727" y="1303"/>
                  </a:cubicBezTo>
                  <a:cubicBezTo>
                    <a:pt x="720" y="1308"/>
                    <a:pt x="715" y="1311"/>
                    <a:pt x="710" y="1316"/>
                  </a:cubicBezTo>
                  <a:cubicBezTo>
                    <a:pt x="702" y="1324"/>
                    <a:pt x="695" y="1334"/>
                    <a:pt x="689" y="1342"/>
                  </a:cubicBezTo>
                  <a:lnTo>
                    <a:pt x="689" y="1344"/>
                  </a:lnTo>
                  <a:cubicBezTo>
                    <a:pt x="641" y="1355"/>
                    <a:pt x="634" y="1344"/>
                    <a:pt x="615" y="1309"/>
                  </a:cubicBezTo>
                  <a:cubicBezTo>
                    <a:pt x="610" y="1301"/>
                    <a:pt x="603" y="1291"/>
                    <a:pt x="596" y="1281"/>
                  </a:cubicBezTo>
                  <a:cubicBezTo>
                    <a:pt x="558" y="1224"/>
                    <a:pt x="491" y="1196"/>
                    <a:pt x="422" y="1209"/>
                  </a:cubicBezTo>
                  <a:cubicBezTo>
                    <a:pt x="418" y="1209"/>
                    <a:pt x="415" y="1209"/>
                    <a:pt x="412" y="1210"/>
                  </a:cubicBezTo>
                  <a:cubicBezTo>
                    <a:pt x="407" y="1191"/>
                    <a:pt x="402" y="1173"/>
                    <a:pt x="397" y="1156"/>
                  </a:cubicBezTo>
                  <a:cubicBezTo>
                    <a:pt x="390" y="1131"/>
                    <a:pt x="384" y="1103"/>
                    <a:pt x="361" y="1082"/>
                  </a:cubicBezTo>
                  <a:cubicBezTo>
                    <a:pt x="351" y="1072"/>
                    <a:pt x="338" y="1065"/>
                    <a:pt x="326" y="1059"/>
                  </a:cubicBezTo>
                  <a:cubicBezTo>
                    <a:pt x="311" y="1051"/>
                    <a:pt x="297" y="1042"/>
                    <a:pt x="290" y="1028"/>
                  </a:cubicBezTo>
                  <a:cubicBezTo>
                    <a:pt x="283" y="1018"/>
                    <a:pt x="282" y="1006"/>
                    <a:pt x="280" y="995"/>
                  </a:cubicBezTo>
                  <a:cubicBezTo>
                    <a:pt x="278" y="981"/>
                    <a:pt x="277" y="968"/>
                    <a:pt x="272" y="955"/>
                  </a:cubicBezTo>
                  <a:cubicBezTo>
                    <a:pt x="259" y="927"/>
                    <a:pt x="234" y="909"/>
                    <a:pt x="211" y="896"/>
                  </a:cubicBezTo>
                  <a:cubicBezTo>
                    <a:pt x="196" y="886"/>
                    <a:pt x="180" y="878"/>
                    <a:pt x="163" y="871"/>
                  </a:cubicBezTo>
                  <a:cubicBezTo>
                    <a:pt x="133" y="858"/>
                    <a:pt x="105" y="845"/>
                    <a:pt x="87" y="823"/>
                  </a:cubicBezTo>
                  <a:cubicBezTo>
                    <a:pt x="77" y="810"/>
                    <a:pt x="74" y="799"/>
                    <a:pt x="69" y="780"/>
                  </a:cubicBezTo>
                  <a:cubicBezTo>
                    <a:pt x="69" y="775"/>
                    <a:pt x="68" y="769"/>
                    <a:pt x="66" y="764"/>
                  </a:cubicBezTo>
                  <a:cubicBezTo>
                    <a:pt x="59" y="741"/>
                    <a:pt x="48" y="728"/>
                    <a:pt x="35" y="711"/>
                  </a:cubicBezTo>
                  <a:cubicBezTo>
                    <a:pt x="31" y="708"/>
                    <a:pt x="28" y="703"/>
                    <a:pt x="23" y="698"/>
                  </a:cubicBezTo>
                  <a:cubicBezTo>
                    <a:pt x="15" y="685"/>
                    <a:pt x="0" y="662"/>
                    <a:pt x="7" y="635"/>
                  </a:cubicBezTo>
                  <a:cubicBezTo>
                    <a:pt x="10" y="616"/>
                    <a:pt x="20" y="609"/>
                    <a:pt x="36" y="601"/>
                  </a:cubicBezTo>
                  <a:cubicBezTo>
                    <a:pt x="38" y="599"/>
                    <a:pt x="38" y="599"/>
                    <a:pt x="38" y="599"/>
                  </a:cubicBezTo>
                  <a:cubicBezTo>
                    <a:pt x="44" y="596"/>
                    <a:pt x="51" y="593"/>
                    <a:pt x="58" y="588"/>
                  </a:cubicBezTo>
                  <a:cubicBezTo>
                    <a:pt x="59" y="588"/>
                    <a:pt x="59" y="588"/>
                    <a:pt x="59" y="586"/>
                  </a:cubicBezTo>
                  <a:cubicBezTo>
                    <a:pt x="86" y="568"/>
                    <a:pt x="86" y="550"/>
                    <a:pt x="86" y="528"/>
                  </a:cubicBezTo>
                  <a:lnTo>
                    <a:pt x="86" y="518"/>
                  </a:lnTo>
                  <a:cubicBezTo>
                    <a:pt x="86" y="495"/>
                    <a:pt x="92" y="477"/>
                    <a:pt x="102" y="456"/>
                  </a:cubicBezTo>
                  <a:lnTo>
                    <a:pt x="102" y="453"/>
                  </a:lnTo>
                  <a:cubicBezTo>
                    <a:pt x="105" y="446"/>
                    <a:pt x="109" y="439"/>
                    <a:pt x="110" y="433"/>
                  </a:cubicBezTo>
                  <a:cubicBezTo>
                    <a:pt x="127" y="393"/>
                    <a:pt x="140" y="357"/>
                    <a:pt x="180" y="341"/>
                  </a:cubicBezTo>
                  <a:cubicBezTo>
                    <a:pt x="203" y="331"/>
                    <a:pt x="231" y="329"/>
                    <a:pt x="259" y="326"/>
                  </a:cubicBezTo>
                  <a:cubicBezTo>
                    <a:pt x="315" y="321"/>
                    <a:pt x="377" y="314"/>
                    <a:pt x="407" y="250"/>
                  </a:cubicBezTo>
                  <a:cubicBezTo>
                    <a:pt x="417" y="225"/>
                    <a:pt x="420" y="202"/>
                    <a:pt x="420" y="177"/>
                  </a:cubicBezTo>
                  <a:cubicBezTo>
                    <a:pt x="427" y="177"/>
                    <a:pt x="433" y="179"/>
                    <a:pt x="440" y="179"/>
                  </a:cubicBezTo>
                  <a:lnTo>
                    <a:pt x="445" y="179"/>
                  </a:lnTo>
                  <a:lnTo>
                    <a:pt x="445" y="179"/>
                  </a:lnTo>
                  <a:cubicBezTo>
                    <a:pt x="479" y="184"/>
                    <a:pt x="511" y="187"/>
                    <a:pt x="542" y="161"/>
                  </a:cubicBezTo>
                  <a:cubicBezTo>
                    <a:pt x="547" y="158"/>
                    <a:pt x="550" y="154"/>
                    <a:pt x="554" y="149"/>
                  </a:cubicBezTo>
                  <a:cubicBezTo>
                    <a:pt x="573" y="133"/>
                    <a:pt x="582" y="125"/>
                    <a:pt x="611" y="130"/>
                  </a:cubicBezTo>
                  <a:cubicBezTo>
                    <a:pt x="643" y="136"/>
                    <a:pt x="664" y="130"/>
                    <a:pt x="687" y="123"/>
                  </a:cubicBezTo>
                  <a:cubicBezTo>
                    <a:pt x="695" y="120"/>
                    <a:pt x="705" y="118"/>
                    <a:pt x="715" y="115"/>
                  </a:cubicBezTo>
                  <a:cubicBezTo>
                    <a:pt x="736" y="110"/>
                    <a:pt x="758" y="113"/>
                    <a:pt x="779" y="118"/>
                  </a:cubicBezTo>
                  <a:cubicBezTo>
                    <a:pt x="792" y="120"/>
                    <a:pt x="804" y="121"/>
                    <a:pt x="817" y="123"/>
                  </a:cubicBezTo>
                  <a:cubicBezTo>
                    <a:pt x="852" y="125"/>
                    <a:pt x="870" y="110"/>
                    <a:pt x="890" y="95"/>
                  </a:cubicBezTo>
                  <a:cubicBezTo>
                    <a:pt x="895" y="92"/>
                    <a:pt x="900" y="87"/>
                    <a:pt x="904" y="84"/>
                  </a:cubicBezTo>
                  <a:cubicBezTo>
                    <a:pt x="928" y="67"/>
                    <a:pt x="946" y="65"/>
                    <a:pt x="970" y="64"/>
                  </a:cubicBezTo>
                  <a:cubicBezTo>
                    <a:pt x="977" y="64"/>
                    <a:pt x="984" y="62"/>
                    <a:pt x="992" y="62"/>
                  </a:cubicBezTo>
                  <a:cubicBezTo>
                    <a:pt x="1020" y="59"/>
                    <a:pt x="1028" y="47"/>
                    <a:pt x="1030" y="31"/>
                  </a:cubicBezTo>
                  <a:cubicBezTo>
                    <a:pt x="1030" y="24"/>
                    <a:pt x="1030" y="19"/>
                    <a:pt x="1035" y="13"/>
                  </a:cubicBezTo>
                  <a:cubicBezTo>
                    <a:pt x="1038" y="6"/>
                    <a:pt x="1043" y="3"/>
                    <a:pt x="1049" y="1"/>
                  </a:cubicBezTo>
                  <a:cubicBezTo>
                    <a:pt x="1066" y="0"/>
                    <a:pt x="1092" y="9"/>
                    <a:pt x="1124" y="32"/>
                  </a:cubicBezTo>
                  <a:lnTo>
                    <a:pt x="1137" y="42"/>
                  </a:lnTo>
                  <a:cubicBezTo>
                    <a:pt x="1158" y="59"/>
                    <a:pt x="1180" y="75"/>
                    <a:pt x="1204" y="87"/>
                  </a:cubicBezTo>
                  <a:cubicBezTo>
                    <a:pt x="1219" y="95"/>
                    <a:pt x="1234" y="98"/>
                    <a:pt x="1249" y="103"/>
                  </a:cubicBezTo>
                  <a:cubicBezTo>
                    <a:pt x="1262" y="107"/>
                    <a:pt x="1275" y="110"/>
                    <a:pt x="1287" y="117"/>
                  </a:cubicBezTo>
                  <a:cubicBezTo>
                    <a:pt x="1308" y="126"/>
                    <a:pt x="1318" y="143"/>
                    <a:pt x="1329" y="163"/>
                  </a:cubicBezTo>
                  <a:cubicBezTo>
                    <a:pt x="1333" y="168"/>
                    <a:pt x="1336" y="174"/>
                    <a:pt x="1339" y="179"/>
                  </a:cubicBezTo>
                  <a:cubicBezTo>
                    <a:pt x="1346" y="189"/>
                    <a:pt x="1353" y="199"/>
                    <a:pt x="1359" y="209"/>
                  </a:cubicBezTo>
                  <a:cubicBezTo>
                    <a:pt x="1372" y="224"/>
                    <a:pt x="1384" y="240"/>
                    <a:pt x="1392" y="257"/>
                  </a:cubicBezTo>
                  <a:cubicBezTo>
                    <a:pt x="1400" y="275"/>
                    <a:pt x="1405" y="294"/>
                    <a:pt x="1409" y="314"/>
                  </a:cubicBezTo>
                  <a:cubicBezTo>
                    <a:pt x="1412" y="329"/>
                    <a:pt x="1415" y="346"/>
                    <a:pt x="1422" y="360"/>
                  </a:cubicBezTo>
                  <a:cubicBezTo>
                    <a:pt x="1428" y="380"/>
                    <a:pt x="1440" y="395"/>
                    <a:pt x="1451" y="408"/>
                  </a:cubicBezTo>
                  <a:cubicBezTo>
                    <a:pt x="1460" y="418"/>
                    <a:pt x="1468" y="428"/>
                    <a:pt x="1473" y="439"/>
                  </a:cubicBezTo>
                  <a:cubicBezTo>
                    <a:pt x="1479" y="453"/>
                    <a:pt x="1484" y="464"/>
                    <a:pt x="1489" y="476"/>
                  </a:cubicBezTo>
                  <a:cubicBezTo>
                    <a:pt x="1502" y="510"/>
                    <a:pt x="1514" y="538"/>
                    <a:pt x="1567" y="561"/>
                  </a:cubicBezTo>
                  <a:cubicBezTo>
                    <a:pt x="1583" y="570"/>
                    <a:pt x="1600" y="579"/>
                    <a:pt x="1614" y="589"/>
                  </a:cubicBezTo>
                  <a:cubicBezTo>
                    <a:pt x="1626" y="598"/>
                    <a:pt x="1638" y="604"/>
                    <a:pt x="1649" y="611"/>
                  </a:cubicBezTo>
                  <a:cubicBezTo>
                    <a:pt x="1662" y="619"/>
                    <a:pt x="1675" y="624"/>
                    <a:pt x="1689" y="629"/>
                  </a:cubicBezTo>
                  <a:cubicBezTo>
                    <a:pt x="1702" y="635"/>
                    <a:pt x="1715" y="640"/>
                    <a:pt x="1727" y="647"/>
                  </a:cubicBezTo>
                  <a:cubicBezTo>
                    <a:pt x="1740" y="655"/>
                    <a:pt x="1748" y="663"/>
                    <a:pt x="1753" y="673"/>
                  </a:cubicBezTo>
                  <a:cubicBezTo>
                    <a:pt x="1743" y="682"/>
                    <a:pt x="1735" y="690"/>
                    <a:pt x="1723" y="695"/>
                  </a:cubicBezTo>
                  <a:cubicBezTo>
                    <a:pt x="1675" y="723"/>
                    <a:pt x="1633" y="741"/>
                    <a:pt x="1598" y="747"/>
                  </a:cubicBezTo>
                  <a:cubicBezTo>
                    <a:pt x="1560" y="756"/>
                    <a:pt x="1534" y="743"/>
                    <a:pt x="1502" y="728"/>
                  </a:cubicBezTo>
                  <a:cubicBezTo>
                    <a:pt x="1491" y="723"/>
                    <a:pt x="1479" y="716"/>
                    <a:pt x="1466" y="711"/>
                  </a:cubicBezTo>
                  <a:cubicBezTo>
                    <a:pt x="1440" y="701"/>
                    <a:pt x="1415" y="706"/>
                    <a:pt x="1394" y="711"/>
                  </a:cubicBezTo>
                  <a:cubicBezTo>
                    <a:pt x="1377" y="715"/>
                    <a:pt x="1361" y="718"/>
                    <a:pt x="1344" y="715"/>
                  </a:cubicBezTo>
                  <a:cubicBezTo>
                    <a:pt x="1311" y="706"/>
                    <a:pt x="1280" y="685"/>
                    <a:pt x="1264" y="662"/>
                  </a:cubicBezTo>
                  <a:cubicBezTo>
                    <a:pt x="1242" y="634"/>
                    <a:pt x="1222" y="629"/>
                    <a:pt x="1196" y="626"/>
                  </a:cubicBezTo>
                  <a:cubicBezTo>
                    <a:pt x="1193" y="624"/>
                    <a:pt x="1188" y="624"/>
                    <a:pt x="1183" y="622"/>
                  </a:cubicBezTo>
                  <a:cubicBezTo>
                    <a:pt x="1163" y="617"/>
                    <a:pt x="1152" y="612"/>
                    <a:pt x="1148" y="606"/>
                  </a:cubicBezTo>
                  <a:cubicBezTo>
                    <a:pt x="1145" y="601"/>
                    <a:pt x="1145" y="593"/>
                    <a:pt x="1150" y="581"/>
                  </a:cubicBezTo>
                  <a:cubicBezTo>
                    <a:pt x="1152" y="576"/>
                    <a:pt x="1155" y="570"/>
                    <a:pt x="1158" y="565"/>
                  </a:cubicBezTo>
                  <a:cubicBezTo>
                    <a:pt x="1170" y="543"/>
                    <a:pt x="1189" y="507"/>
                    <a:pt x="1145" y="482"/>
                  </a:cubicBezTo>
                  <a:cubicBezTo>
                    <a:pt x="1097" y="453"/>
                    <a:pt x="1061" y="504"/>
                    <a:pt x="1038" y="533"/>
                  </a:cubicBezTo>
                  <a:cubicBezTo>
                    <a:pt x="1035" y="538"/>
                    <a:pt x="1031" y="545"/>
                    <a:pt x="1028" y="548"/>
                  </a:cubicBezTo>
                  <a:cubicBezTo>
                    <a:pt x="1021" y="556"/>
                    <a:pt x="1013" y="565"/>
                    <a:pt x="1008" y="571"/>
                  </a:cubicBezTo>
                  <a:cubicBezTo>
                    <a:pt x="988" y="591"/>
                    <a:pt x="969" y="611"/>
                    <a:pt x="965" y="647"/>
                  </a:cubicBezTo>
                  <a:lnTo>
                    <a:pt x="964" y="659"/>
                  </a:lnTo>
                  <a:cubicBezTo>
                    <a:pt x="960" y="698"/>
                    <a:pt x="959" y="718"/>
                    <a:pt x="934" y="751"/>
                  </a:cubicBezTo>
                  <a:cubicBezTo>
                    <a:pt x="901" y="795"/>
                    <a:pt x="926" y="825"/>
                    <a:pt x="954" y="845"/>
                  </a:cubicBezTo>
                  <a:cubicBezTo>
                    <a:pt x="987" y="871"/>
                    <a:pt x="1013" y="892"/>
                    <a:pt x="1028" y="930"/>
                  </a:cubicBezTo>
                  <a:cubicBezTo>
                    <a:pt x="1033" y="944"/>
                    <a:pt x="1040" y="963"/>
                    <a:pt x="1033" y="978"/>
                  </a:cubicBezTo>
                  <a:cubicBezTo>
                    <a:pt x="1028" y="988"/>
                    <a:pt x="1021" y="994"/>
                    <a:pt x="1010" y="998"/>
                  </a:cubicBezTo>
                  <a:cubicBezTo>
                    <a:pt x="998" y="1002"/>
                    <a:pt x="987" y="1006"/>
                    <a:pt x="977" y="1008"/>
                  </a:cubicBezTo>
                  <a:cubicBezTo>
                    <a:pt x="951" y="1016"/>
                    <a:pt x="924" y="1024"/>
                    <a:pt x="898" y="1049"/>
                  </a:cubicBezTo>
                  <a:cubicBezTo>
                    <a:pt x="862" y="1080"/>
                    <a:pt x="852" y="1107"/>
                    <a:pt x="835" y="1144"/>
                  </a:cubicBezTo>
                  <a:lnTo>
                    <a:pt x="832" y="1151"/>
                  </a:lnTo>
                  <a:cubicBezTo>
                    <a:pt x="825" y="1168"/>
                    <a:pt x="812" y="1179"/>
                    <a:pt x="797" y="1189"/>
                  </a:cubicBezTo>
                  <a:cubicBezTo>
                    <a:pt x="784" y="1201"/>
                    <a:pt x="769" y="1210"/>
                    <a:pt x="761" y="1229"/>
                  </a:cubicBezTo>
                  <a:cubicBezTo>
                    <a:pt x="755" y="1240"/>
                    <a:pt x="753" y="1250"/>
                    <a:pt x="751" y="1260"/>
                  </a:cubicBezTo>
                  <a:cubicBezTo>
                    <a:pt x="750" y="1268"/>
                    <a:pt x="750" y="1276"/>
                    <a:pt x="746" y="128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26" name="Freeform 62">
              <a:extLst>
                <a:ext uri="{FF2B5EF4-FFF2-40B4-BE49-F238E27FC236}">
                  <a16:creationId xmlns:a16="http://schemas.microsoft.com/office/drawing/2014/main" id="{70CC7F60-6D4B-E643-920E-BC778758AC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613" y="3889375"/>
              <a:ext cx="390525" cy="565150"/>
            </a:xfrm>
            <a:custGeom>
              <a:avLst/>
              <a:gdLst>
                <a:gd name="T0" fmla="*/ 751 w 1086"/>
                <a:gd name="T1" fmla="*/ 1436 h 1572"/>
                <a:gd name="T2" fmla="*/ 687 w 1086"/>
                <a:gd name="T3" fmla="*/ 1511 h 1572"/>
                <a:gd name="T4" fmla="*/ 601 w 1086"/>
                <a:gd name="T5" fmla="*/ 1532 h 1572"/>
                <a:gd name="T6" fmla="*/ 512 w 1086"/>
                <a:gd name="T7" fmla="*/ 1555 h 1572"/>
                <a:gd name="T8" fmla="*/ 418 w 1086"/>
                <a:gd name="T9" fmla="*/ 1558 h 1572"/>
                <a:gd name="T10" fmla="*/ 349 w 1086"/>
                <a:gd name="T11" fmla="*/ 1540 h 1572"/>
                <a:gd name="T12" fmla="*/ 311 w 1086"/>
                <a:gd name="T13" fmla="*/ 1474 h 1572"/>
                <a:gd name="T14" fmla="*/ 393 w 1086"/>
                <a:gd name="T15" fmla="*/ 1453 h 1572"/>
                <a:gd name="T16" fmla="*/ 375 w 1086"/>
                <a:gd name="T17" fmla="*/ 1385 h 1572"/>
                <a:gd name="T18" fmla="*/ 303 w 1086"/>
                <a:gd name="T19" fmla="*/ 1351 h 1572"/>
                <a:gd name="T20" fmla="*/ 202 w 1086"/>
                <a:gd name="T21" fmla="*/ 1349 h 1572"/>
                <a:gd name="T22" fmla="*/ 201 w 1086"/>
                <a:gd name="T23" fmla="*/ 1283 h 1572"/>
                <a:gd name="T24" fmla="*/ 110 w 1086"/>
                <a:gd name="T25" fmla="*/ 1230 h 1572"/>
                <a:gd name="T26" fmla="*/ 9 w 1086"/>
                <a:gd name="T27" fmla="*/ 1217 h 1572"/>
                <a:gd name="T28" fmla="*/ 21 w 1086"/>
                <a:gd name="T29" fmla="*/ 1155 h 1572"/>
                <a:gd name="T30" fmla="*/ 70 w 1086"/>
                <a:gd name="T31" fmla="*/ 1015 h 1572"/>
                <a:gd name="T32" fmla="*/ 61 w 1086"/>
                <a:gd name="T33" fmla="*/ 866 h 1572"/>
                <a:gd name="T34" fmla="*/ 34 w 1086"/>
                <a:gd name="T35" fmla="*/ 845 h 1572"/>
                <a:gd name="T36" fmla="*/ 75 w 1086"/>
                <a:gd name="T37" fmla="*/ 804 h 1572"/>
                <a:gd name="T38" fmla="*/ 89 w 1086"/>
                <a:gd name="T39" fmla="*/ 753 h 1572"/>
                <a:gd name="T40" fmla="*/ 163 w 1086"/>
                <a:gd name="T41" fmla="*/ 672 h 1572"/>
                <a:gd name="T42" fmla="*/ 220 w 1086"/>
                <a:gd name="T43" fmla="*/ 580 h 1572"/>
                <a:gd name="T44" fmla="*/ 324 w 1086"/>
                <a:gd name="T45" fmla="*/ 534 h 1572"/>
                <a:gd name="T46" fmla="*/ 357 w 1086"/>
                <a:gd name="T47" fmla="*/ 430 h 1572"/>
                <a:gd name="T48" fmla="*/ 262 w 1086"/>
                <a:gd name="T49" fmla="*/ 278 h 1572"/>
                <a:gd name="T50" fmla="*/ 298 w 1086"/>
                <a:gd name="T51" fmla="*/ 160 h 1572"/>
                <a:gd name="T52" fmla="*/ 354 w 1086"/>
                <a:gd name="T53" fmla="*/ 76 h 1572"/>
                <a:gd name="T54" fmla="*/ 438 w 1086"/>
                <a:gd name="T55" fmla="*/ 15 h 1572"/>
                <a:gd name="T56" fmla="*/ 431 w 1086"/>
                <a:gd name="T57" fmla="*/ 82 h 1572"/>
                <a:gd name="T58" fmla="*/ 484 w 1086"/>
                <a:gd name="T59" fmla="*/ 160 h 1572"/>
                <a:gd name="T60" fmla="*/ 547 w 1086"/>
                <a:gd name="T61" fmla="*/ 188 h 1572"/>
                <a:gd name="T62" fmla="*/ 706 w 1086"/>
                <a:gd name="T63" fmla="*/ 249 h 1572"/>
                <a:gd name="T64" fmla="*/ 797 w 1086"/>
                <a:gd name="T65" fmla="*/ 262 h 1572"/>
                <a:gd name="T66" fmla="*/ 1042 w 1086"/>
                <a:gd name="T67" fmla="*/ 229 h 1572"/>
                <a:gd name="T68" fmla="*/ 1039 w 1086"/>
                <a:gd name="T69" fmla="*/ 265 h 1572"/>
                <a:gd name="T70" fmla="*/ 1019 w 1086"/>
                <a:gd name="T71" fmla="*/ 346 h 1572"/>
                <a:gd name="T72" fmla="*/ 1061 w 1086"/>
                <a:gd name="T73" fmla="*/ 402 h 1572"/>
                <a:gd name="T74" fmla="*/ 1046 w 1086"/>
                <a:gd name="T75" fmla="*/ 497 h 1572"/>
                <a:gd name="T76" fmla="*/ 1070 w 1086"/>
                <a:gd name="T77" fmla="*/ 599 h 1572"/>
                <a:gd name="T78" fmla="*/ 1079 w 1086"/>
                <a:gd name="T79" fmla="*/ 649 h 1572"/>
                <a:gd name="T80" fmla="*/ 1041 w 1086"/>
                <a:gd name="T81" fmla="*/ 792 h 1572"/>
                <a:gd name="T82" fmla="*/ 1009 w 1086"/>
                <a:gd name="T83" fmla="*/ 893 h 1572"/>
                <a:gd name="T84" fmla="*/ 965 w 1086"/>
                <a:gd name="T85" fmla="*/ 937 h 1572"/>
                <a:gd name="T86" fmla="*/ 800 w 1086"/>
                <a:gd name="T87" fmla="*/ 1021 h 1572"/>
                <a:gd name="T88" fmla="*/ 766 w 1086"/>
                <a:gd name="T89" fmla="*/ 1113 h 1572"/>
                <a:gd name="T90" fmla="*/ 759 w 1086"/>
                <a:gd name="T91" fmla="*/ 1286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86" h="1572">
                  <a:moveTo>
                    <a:pt x="774" y="1375"/>
                  </a:moveTo>
                  <a:cubicBezTo>
                    <a:pt x="769" y="1397"/>
                    <a:pt x="759" y="1417"/>
                    <a:pt x="751" y="1436"/>
                  </a:cubicBezTo>
                  <a:cubicBezTo>
                    <a:pt x="743" y="1454"/>
                    <a:pt x="734" y="1473"/>
                    <a:pt x="729" y="1492"/>
                  </a:cubicBezTo>
                  <a:cubicBezTo>
                    <a:pt x="715" y="1496"/>
                    <a:pt x="700" y="1504"/>
                    <a:pt x="687" y="1511"/>
                  </a:cubicBezTo>
                  <a:cubicBezTo>
                    <a:pt x="672" y="1517"/>
                    <a:pt x="657" y="1524"/>
                    <a:pt x="642" y="1527"/>
                  </a:cubicBezTo>
                  <a:cubicBezTo>
                    <a:pt x="629" y="1530"/>
                    <a:pt x="616" y="1532"/>
                    <a:pt x="601" y="1532"/>
                  </a:cubicBezTo>
                  <a:cubicBezTo>
                    <a:pt x="581" y="1532"/>
                    <a:pt x="560" y="1534"/>
                    <a:pt x="540" y="1540"/>
                  </a:cubicBezTo>
                  <a:cubicBezTo>
                    <a:pt x="528" y="1545"/>
                    <a:pt x="520" y="1550"/>
                    <a:pt x="512" y="1555"/>
                  </a:cubicBezTo>
                  <a:cubicBezTo>
                    <a:pt x="497" y="1565"/>
                    <a:pt x="484" y="1571"/>
                    <a:pt x="469" y="1571"/>
                  </a:cubicBezTo>
                  <a:cubicBezTo>
                    <a:pt x="453" y="1571"/>
                    <a:pt x="436" y="1565"/>
                    <a:pt x="418" y="1558"/>
                  </a:cubicBezTo>
                  <a:cubicBezTo>
                    <a:pt x="403" y="1552"/>
                    <a:pt x="387" y="1545"/>
                    <a:pt x="369" y="1542"/>
                  </a:cubicBezTo>
                  <a:cubicBezTo>
                    <a:pt x="362" y="1542"/>
                    <a:pt x="355" y="1540"/>
                    <a:pt x="349" y="1540"/>
                  </a:cubicBezTo>
                  <a:cubicBezTo>
                    <a:pt x="321" y="1539"/>
                    <a:pt x="304" y="1537"/>
                    <a:pt x="296" y="1517"/>
                  </a:cubicBezTo>
                  <a:cubicBezTo>
                    <a:pt x="288" y="1499"/>
                    <a:pt x="293" y="1482"/>
                    <a:pt x="311" y="1474"/>
                  </a:cubicBezTo>
                  <a:cubicBezTo>
                    <a:pt x="319" y="1471"/>
                    <a:pt x="329" y="1471"/>
                    <a:pt x="339" y="1469"/>
                  </a:cubicBezTo>
                  <a:cubicBezTo>
                    <a:pt x="357" y="1469"/>
                    <a:pt x="377" y="1468"/>
                    <a:pt x="393" y="1453"/>
                  </a:cubicBezTo>
                  <a:cubicBezTo>
                    <a:pt x="408" y="1438"/>
                    <a:pt x="410" y="1425"/>
                    <a:pt x="406" y="1417"/>
                  </a:cubicBezTo>
                  <a:cubicBezTo>
                    <a:pt x="405" y="1403"/>
                    <a:pt x="393" y="1392"/>
                    <a:pt x="375" y="1385"/>
                  </a:cubicBezTo>
                  <a:cubicBezTo>
                    <a:pt x="362" y="1380"/>
                    <a:pt x="354" y="1379"/>
                    <a:pt x="346" y="1377"/>
                  </a:cubicBezTo>
                  <a:cubicBezTo>
                    <a:pt x="327" y="1372"/>
                    <a:pt x="318" y="1369"/>
                    <a:pt x="303" y="1351"/>
                  </a:cubicBezTo>
                  <a:cubicBezTo>
                    <a:pt x="276" y="1321"/>
                    <a:pt x="257" y="1328"/>
                    <a:pt x="230" y="1341"/>
                  </a:cubicBezTo>
                  <a:cubicBezTo>
                    <a:pt x="214" y="1349"/>
                    <a:pt x="204" y="1351"/>
                    <a:pt x="202" y="1349"/>
                  </a:cubicBezTo>
                  <a:cubicBezTo>
                    <a:pt x="194" y="1342"/>
                    <a:pt x="197" y="1310"/>
                    <a:pt x="199" y="1291"/>
                  </a:cubicBezTo>
                  <a:lnTo>
                    <a:pt x="201" y="1283"/>
                  </a:lnTo>
                  <a:cubicBezTo>
                    <a:pt x="202" y="1265"/>
                    <a:pt x="206" y="1235"/>
                    <a:pt x="177" y="1221"/>
                  </a:cubicBezTo>
                  <a:cubicBezTo>
                    <a:pt x="153" y="1206"/>
                    <a:pt x="128" y="1219"/>
                    <a:pt x="110" y="1230"/>
                  </a:cubicBezTo>
                  <a:cubicBezTo>
                    <a:pt x="102" y="1235"/>
                    <a:pt x="95" y="1239"/>
                    <a:pt x="89" y="1240"/>
                  </a:cubicBezTo>
                  <a:cubicBezTo>
                    <a:pt x="62" y="1249"/>
                    <a:pt x="26" y="1239"/>
                    <a:pt x="9" y="1217"/>
                  </a:cubicBezTo>
                  <a:cubicBezTo>
                    <a:pt x="0" y="1204"/>
                    <a:pt x="0" y="1189"/>
                    <a:pt x="9" y="1174"/>
                  </a:cubicBezTo>
                  <a:cubicBezTo>
                    <a:pt x="13" y="1168"/>
                    <a:pt x="18" y="1161"/>
                    <a:pt x="21" y="1155"/>
                  </a:cubicBezTo>
                  <a:cubicBezTo>
                    <a:pt x="37" y="1132"/>
                    <a:pt x="51" y="1113"/>
                    <a:pt x="57" y="1074"/>
                  </a:cubicBezTo>
                  <a:cubicBezTo>
                    <a:pt x="61" y="1054"/>
                    <a:pt x="65" y="1034"/>
                    <a:pt x="70" y="1015"/>
                  </a:cubicBezTo>
                  <a:cubicBezTo>
                    <a:pt x="74" y="1000"/>
                    <a:pt x="77" y="983"/>
                    <a:pt x="80" y="967"/>
                  </a:cubicBezTo>
                  <a:cubicBezTo>
                    <a:pt x="89" y="924"/>
                    <a:pt x="82" y="886"/>
                    <a:pt x="61" y="866"/>
                  </a:cubicBezTo>
                  <a:cubicBezTo>
                    <a:pt x="54" y="860"/>
                    <a:pt x="44" y="853"/>
                    <a:pt x="29" y="852"/>
                  </a:cubicBezTo>
                  <a:cubicBezTo>
                    <a:pt x="31" y="850"/>
                    <a:pt x="33" y="848"/>
                    <a:pt x="34" y="845"/>
                  </a:cubicBezTo>
                  <a:cubicBezTo>
                    <a:pt x="39" y="842"/>
                    <a:pt x="44" y="838"/>
                    <a:pt x="49" y="833"/>
                  </a:cubicBezTo>
                  <a:cubicBezTo>
                    <a:pt x="57" y="827"/>
                    <a:pt x="69" y="819"/>
                    <a:pt x="75" y="804"/>
                  </a:cubicBezTo>
                  <a:cubicBezTo>
                    <a:pt x="80" y="794"/>
                    <a:pt x="82" y="784"/>
                    <a:pt x="84" y="774"/>
                  </a:cubicBezTo>
                  <a:cubicBezTo>
                    <a:pt x="85" y="766"/>
                    <a:pt x="85" y="759"/>
                    <a:pt x="89" y="753"/>
                  </a:cubicBezTo>
                  <a:cubicBezTo>
                    <a:pt x="97" y="740"/>
                    <a:pt x="108" y="730"/>
                    <a:pt x="120" y="721"/>
                  </a:cubicBezTo>
                  <a:cubicBezTo>
                    <a:pt x="135" y="708"/>
                    <a:pt x="153" y="695"/>
                    <a:pt x="163" y="672"/>
                  </a:cubicBezTo>
                  <a:lnTo>
                    <a:pt x="166" y="665"/>
                  </a:lnTo>
                  <a:cubicBezTo>
                    <a:pt x="181" y="629"/>
                    <a:pt x="189" y="606"/>
                    <a:pt x="220" y="580"/>
                  </a:cubicBezTo>
                  <a:cubicBezTo>
                    <a:pt x="243" y="558"/>
                    <a:pt x="265" y="552"/>
                    <a:pt x="290" y="545"/>
                  </a:cubicBezTo>
                  <a:cubicBezTo>
                    <a:pt x="301" y="542"/>
                    <a:pt x="313" y="539"/>
                    <a:pt x="324" y="534"/>
                  </a:cubicBezTo>
                  <a:cubicBezTo>
                    <a:pt x="342" y="527"/>
                    <a:pt x="355" y="515"/>
                    <a:pt x="362" y="501"/>
                  </a:cubicBezTo>
                  <a:cubicBezTo>
                    <a:pt x="370" y="481"/>
                    <a:pt x="369" y="458"/>
                    <a:pt x="357" y="430"/>
                  </a:cubicBezTo>
                  <a:cubicBezTo>
                    <a:pt x="341" y="389"/>
                    <a:pt x="311" y="364"/>
                    <a:pt x="275" y="336"/>
                  </a:cubicBezTo>
                  <a:cubicBezTo>
                    <a:pt x="247" y="314"/>
                    <a:pt x="245" y="301"/>
                    <a:pt x="262" y="278"/>
                  </a:cubicBezTo>
                  <a:cubicBezTo>
                    <a:pt x="290" y="239"/>
                    <a:pt x="293" y="214"/>
                    <a:pt x="296" y="171"/>
                  </a:cubicBezTo>
                  <a:lnTo>
                    <a:pt x="298" y="160"/>
                  </a:lnTo>
                  <a:cubicBezTo>
                    <a:pt x="299" y="133"/>
                    <a:pt x="314" y="118"/>
                    <a:pt x="332" y="100"/>
                  </a:cubicBezTo>
                  <a:cubicBezTo>
                    <a:pt x="339" y="92"/>
                    <a:pt x="347" y="85"/>
                    <a:pt x="354" y="76"/>
                  </a:cubicBezTo>
                  <a:cubicBezTo>
                    <a:pt x="357" y="71"/>
                    <a:pt x="362" y="66"/>
                    <a:pt x="365" y="61"/>
                  </a:cubicBezTo>
                  <a:cubicBezTo>
                    <a:pt x="392" y="25"/>
                    <a:pt x="413" y="0"/>
                    <a:pt x="438" y="15"/>
                  </a:cubicBezTo>
                  <a:cubicBezTo>
                    <a:pt x="458" y="26"/>
                    <a:pt x="454" y="36"/>
                    <a:pt x="441" y="62"/>
                  </a:cubicBezTo>
                  <a:cubicBezTo>
                    <a:pt x="438" y="69"/>
                    <a:pt x="433" y="76"/>
                    <a:pt x="431" y="82"/>
                  </a:cubicBezTo>
                  <a:cubicBezTo>
                    <a:pt x="425" y="100"/>
                    <a:pt x="423" y="117"/>
                    <a:pt x="430" y="128"/>
                  </a:cubicBezTo>
                  <a:cubicBezTo>
                    <a:pt x="441" y="148"/>
                    <a:pt x="464" y="155"/>
                    <a:pt x="484" y="160"/>
                  </a:cubicBezTo>
                  <a:cubicBezTo>
                    <a:pt x="489" y="160"/>
                    <a:pt x="494" y="161"/>
                    <a:pt x="497" y="161"/>
                  </a:cubicBezTo>
                  <a:cubicBezTo>
                    <a:pt x="520" y="166"/>
                    <a:pt x="533" y="168"/>
                    <a:pt x="547" y="188"/>
                  </a:cubicBezTo>
                  <a:cubicBezTo>
                    <a:pt x="568" y="217"/>
                    <a:pt x="604" y="240"/>
                    <a:pt x="644" y="250"/>
                  </a:cubicBezTo>
                  <a:cubicBezTo>
                    <a:pt x="667" y="257"/>
                    <a:pt x="687" y="252"/>
                    <a:pt x="706" y="249"/>
                  </a:cubicBezTo>
                  <a:cubicBezTo>
                    <a:pt x="726" y="244"/>
                    <a:pt x="743" y="240"/>
                    <a:pt x="762" y="247"/>
                  </a:cubicBezTo>
                  <a:cubicBezTo>
                    <a:pt x="774" y="252"/>
                    <a:pt x="785" y="257"/>
                    <a:pt x="797" y="262"/>
                  </a:cubicBezTo>
                  <a:cubicBezTo>
                    <a:pt x="830" y="278"/>
                    <a:pt x="863" y="295"/>
                    <a:pt x="909" y="285"/>
                  </a:cubicBezTo>
                  <a:cubicBezTo>
                    <a:pt x="947" y="277"/>
                    <a:pt x="991" y="258"/>
                    <a:pt x="1042" y="229"/>
                  </a:cubicBezTo>
                  <a:cubicBezTo>
                    <a:pt x="1049" y="226"/>
                    <a:pt x="1054" y="222"/>
                    <a:pt x="1059" y="219"/>
                  </a:cubicBezTo>
                  <a:cubicBezTo>
                    <a:pt x="1056" y="232"/>
                    <a:pt x="1047" y="247"/>
                    <a:pt x="1039" y="265"/>
                  </a:cubicBezTo>
                  <a:lnTo>
                    <a:pt x="1037" y="268"/>
                  </a:lnTo>
                  <a:cubicBezTo>
                    <a:pt x="1024" y="293"/>
                    <a:pt x="1011" y="321"/>
                    <a:pt x="1019" y="346"/>
                  </a:cubicBezTo>
                  <a:cubicBezTo>
                    <a:pt x="1024" y="361"/>
                    <a:pt x="1034" y="370"/>
                    <a:pt x="1042" y="379"/>
                  </a:cubicBezTo>
                  <a:cubicBezTo>
                    <a:pt x="1051" y="387"/>
                    <a:pt x="1057" y="394"/>
                    <a:pt x="1061" y="402"/>
                  </a:cubicBezTo>
                  <a:cubicBezTo>
                    <a:pt x="1065" y="417"/>
                    <a:pt x="1061" y="433"/>
                    <a:pt x="1054" y="451"/>
                  </a:cubicBezTo>
                  <a:cubicBezTo>
                    <a:pt x="1051" y="466"/>
                    <a:pt x="1046" y="481"/>
                    <a:pt x="1046" y="497"/>
                  </a:cubicBezTo>
                  <a:cubicBezTo>
                    <a:pt x="1046" y="522"/>
                    <a:pt x="1054" y="547"/>
                    <a:pt x="1061" y="570"/>
                  </a:cubicBezTo>
                  <a:cubicBezTo>
                    <a:pt x="1064" y="580"/>
                    <a:pt x="1067" y="590"/>
                    <a:pt x="1070" y="599"/>
                  </a:cubicBezTo>
                  <a:cubicBezTo>
                    <a:pt x="1072" y="604"/>
                    <a:pt x="1074" y="613"/>
                    <a:pt x="1075" y="621"/>
                  </a:cubicBezTo>
                  <a:cubicBezTo>
                    <a:pt x="1077" y="629"/>
                    <a:pt x="1079" y="639"/>
                    <a:pt x="1079" y="649"/>
                  </a:cubicBezTo>
                  <a:cubicBezTo>
                    <a:pt x="1084" y="687"/>
                    <a:pt x="1085" y="736"/>
                    <a:pt x="1064" y="768"/>
                  </a:cubicBezTo>
                  <a:cubicBezTo>
                    <a:pt x="1057" y="777"/>
                    <a:pt x="1049" y="786"/>
                    <a:pt x="1041" y="792"/>
                  </a:cubicBezTo>
                  <a:cubicBezTo>
                    <a:pt x="1028" y="807"/>
                    <a:pt x="1013" y="820"/>
                    <a:pt x="1006" y="842"/>
                  </a:cubicBezTo>
                  <a:cubicBezTo>
                    <a:pt x="998" y="865"/>
                    <a:pt x="1004" y="880"/>
                    <a:pt x="1009" y="893"/>
                  </a:cubicBezTo>
                  <a:cubicBezTo>
                    <a:pt x="1014" y="901"/>
                    <a:pt x="1018" y="909"/>
                    <a:pt x="1016" y="919"/>
                  </a:cubicBezTo>
                  <a:cubicBezTo>
                    <a:pt x="1014" y="936"/>
                    <a:pt x="1000" y="939"/>
                    <a:pt x="965" y="937"/>
                  </a:cubicBezTo>
                  <a:cubicBezTo>
                    <a:pt x="957" y="936"/>
                    <a:pt x="950" y="936"/>
                    <a:pt x="944" y="936"/>
                  </a:cubicBezTo>
                  <a:cubicBezTo>
                    <a:pt x="884" y="939"/>
                    <a:pt x="828" y="972"/>
                    <a:pt x="800" y="1021"/>
                  </a:cubicBezTo>
                  <a:cubicBezTo>
                    <a:pt x="790" y="1039"/>
                    <a:pt x="784" y="1059"/>
                    <a:pt x="777" y="1079"/>
                  </a:cubicBezTo>
                  <a:cubicBezTo>
                    <a:pt x="774" y="1090"/>
                    <a:pt x="771" y="1102"/>
                    <a:pt x="766" y="1113"/>
                  </a:cubicBezTo>
                  <a:cubicBezTo>
                    <a:pt x="752" y="1143"/>
                    <a:pt x="739" y="1176"/>
                    <a:pt x="741" y="1211"/>
                  </a:cubicBezTo>
                  <a:cubicBezTo>
                    <a:pt x="741" y="1239"/>
                    <a:pt x="751" y="1263"/>
                    <a:pt x="759" y="1286"/>
                  </a:cubicBezTo>
                  <a:cubicBezTo>
                    <a:pt x="771" y="1316"/>
                    <a:pt x="780" y="1346"/>
                    <a:pt x="774" y="1375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27" name="Freeform 63">
              <a:extLst>
                <a:ext uri="{FF2B5EF4-FFF2-40B4-BE49-F238E27FC236}">
                  <a16:creationId xmlns:a16="http://schemas.microsoft.com/office/drawing/2014/main" id="{A2648C77-4B34-8F4E-8341-81DC82AF99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7663" y="4124325"/>
              <a:ext cx="582612" cy="484188"/>
            </a:xfrm>
            <a:custGeom>
              <a:avLst/>
              <a:gdLst>
                <a:gd name="T0" fmla="*/ 208 w 1619"/>
                <a:gd name="T1" fmla="*/ 1051 h 1343"/>
                <a:gd name="T2" fmla="*/ 229 w 1619"/>
                <a:gd name="T3" fmla="*/ 815 h 1343"/>
                <a:gd name="T4" fmla="*/ 63 w 1619"/>
                <a:gd name="T5" fmla="*/ 812 h 1343"/>
                <a:gd name="T6" fmla="*/ 17 w 1619"/>
                <a:gd name="T7" fmla="*/ 792 h 1343"/>
                <a:gd name="T8" fmla="*/ 8 w 1619"/>
                <a:gd name="T9" fmla="*/ 557 h 1343"/>
                <a:gd name="T10" fmla="*/ 64 w 1619"/>
                <a:gd name="T11" fmla="*/ 380 h 1343"/>
                <a:gd name="T12" fmla="*/ 283 w 1619"/>
                <a:gd name="T13" fmla="*/ 267 h 1343"/>
                <a:gd name="T14" fmla="*/ 300 w 1619"/>
                <a:gd name="T15" fmla="*/ 158 h 1343"/>
                <a:gd name="T16" fmla="*/ 366 w 1619"/>
                <a:gd name="T17" fmla="*/ 5 h 1343"/>
                <a:gd name="T18" fmla="*/ 580 w 1619"/>
                <a:gd name="T19" fmla="*/ 92 h 1343"/>
                <a:gd name="T20" fmla="*/ 898 w 1619"/>
                <a:gd name="T21" fmla="*/ 369 h 1343"/>
                <a:gd name="T22" fmla="*/ 1084 w 1619"/>
                <a:gd name="T23" fmla="*/ 463 h 1343"/>
                <a:gd name="T24" fmla="*/ 1262 w 1619"/>
                <a:gd name="T25" fmla="*/ 515 h 1343"/>
                <a:gd name="T26" fmla="*/ 1387 w 1619"/>
                <a:gd name="T27" fmla="*/ 489 h 1343"/>
                <a:gd name="T28" fmla="*/ 1386 w 1619"/>
                <a:gd name="T29" fmla="*/ 570 h 1343"/>
                <a:gd name="T30" fmla="*/ 1392 w 1619"/>
                <a:gd name="T31" fmla="*/ 659 h 1343"/>
                <a:gd name="T32" fmla="*/ 1418 w 1619"/>
                <a:gd name="T33" fmla="*/ 758 h 1343"/>
                <a:gd name="T34" fmla="*/ 1544 w 1619"/>
                <a:gd name="T35" fmla="*/ 688 h 1343"/>
                <a:gd name="T36" fmla="*/ 1588 w 1619"/>
                <a:gd name="T37" fmla="*/ 695 h 1343"/>
                <a:gd name="T38" fmla="*/ 1608 w 1619"/>
                <a:gd name="T39" fmla="*/ 824 h 1343"/>
                <a:gd name="T40" fmla="*/ 1606 w 1619"/>
                <a:gd name="T41" fmla="*/ 880 h 1343"/>
                <a:gd name="T42" fmla="*/ 1605 w 1619"/>
                <a:gd name="T43" fmla="*/ 904 h 1343"/>
                <a:gd name="T44" fmla="*/ 1613 w 1619"/>
                <a:gd name="T45" fmla="*/ 955 h 1343"/>
                <a:gd name="T46" fmla="*/ 1611 w 1619"/>
                <a:gd name="T47" fmla="*/ 1011 h 1343"/>
                <a:gd name="T48" fmla="*/ 1606 w 1619"/>
                <a:gd name="T49" fmla="*/ 1067 h 1343"/>
                <a:gd name="T50" fmla="*/ 1591 w 1619"/>
                <a:gd name="T51" fmla="*/ 1153 h 1343"/>
                <a:gd name="T52" fmla="*/ 1509 w 1619"/>
                <a:gd name="T53" fmla="*/ 1207 h 1343"/>
                <a:gd name="T54" fmla="*/ 1458 w 1619"/>
                <a:gd name="T55" fmla="*/ 1204 h 1343"/>
                <a:gd name="T56" fmla="*/ 1372 w 1619"/>
                <a:gd name="T57" fmla="*/ 1216 h 1343"/>
                <a:gd name="T58" fmla="*/ 1305 w 1619"/>
                <a:gd name="T59" fmla="*/ 1230 h 1343"/>
                <a:gd name="T60" fmla="*/ 1292 w 1619"/>
                <a:gd name="T61" fmla="*/ 1235 h 1343"/>
                <a:gd name="T62" fmla="*/ 1224 w 1619"/>
                <a:gd name="T63" fmla="*/ 1227 h 1343"/>
                <a:gd name="T64" fmla="*/ 1129 w 1619"/>
                <a:gd name="T65" fmla="*/ 1323 h 1343"/>
                <a:gd name="T66" fmla="*/ 1077 w 1619"/>
                <a:gd name="T67" fmla="*/ 1313 h 1343"/>
                <a:gd name="T68" fmla="*/ 1036 w 1619"/>
                <a:gd name="T69" fmla="*/ 1270 h 1343"/>
                <a:gd name="T70" fmla="*/ 1025 w 1619"/>
                <a:gd name="T71" fmla="*/ 1239 h 1343"/>
                <a:gd name="T72" fmla="*/ 929 w 1619"/>
                <a:gd name="T73" fmla="*/ 1100 h 1343"/>
                <a:gd name="T74" fmla="*/ 844 w 1619"/>
                <a:gd name="T75" fmla="*/ 1049 h 1343"/>
                <a:gd name="T76" fmla="*/ 759 w 1619"/>
                <a:gd name="T77" fmla="*/ 1084 h 1343"/>
                <a:gd name="T78" fmla="*/ 679 w 1619"/>
                <a:gd name="T79" fmla="*/ 1115 h 1343"/>
                <a:gd name="T80" fmla="*/ 418 w 1619"/>
                <a:gd name="T81" fmla="*/ 1161 h 1343"/>
                <a:gd name="T82" fmla="*/ 377 w 1619"/>
                <a:gd name="T83" fmla="*/ 1165 h 1343"/>
                <a:gd name="T84" fmla="*/ 328 w 1619"/>
                <a:gd name="T85" fmla="*/ 1130 h 1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19" h="1343">
                  <a:moveTo>
                    <a:pt x="293" y="1174"/>
                  </a:moveTo>
                  <a:cubicBezTo>
                    <a:pt x="283" y="1153"/>
                    <a:pt x="274" y="1133"/>
                    <a:pt x="260" y="1113"/>
                  </a:cubicBezTo>
                  <a:cubicBezTo>
                    <a:pt x="245" y="1090"/>
                    <a:pt x="226" y="1071"/>
                    <a:pt x="208" y="1051"/>
                  </a:cubicBezTo>
                  <a:cubicBezTo>
                    <a:pt x="186" y="1031"/>
                    <a:pt x="166" y="1011"/>
                    <a:pt x="153" y="987"/>
                  </a:cubicBezTo>
                  <a:cubicBezTo>
                    <a:pt x="129" y="944"/>
                    <a:pt x="145" y="922"/>
                    <a:pt x="191" y="891"/>
                  </a:cubicBezTo>
                  <a:cubicBezTo>
                    <a:pt x="217" y="873"/>
                    <a:pt x="239" y="840"/>
                    <a:pt x="229" y="815"/>
                  </a:cubicBezTo>
                  <a:cubicBezTo>
                    <a:pt x="224" y="805"/>
                    <a:pt x="211" y="792"/>
                    <a:pt x="175" y="800"/>
                  </a:cubicBezTo>
                  <a:cubicBezTo>
                    <a:pt x="160" y="804"/>
                    <a:pt x="145" y="804"/>
                    <a:pt x="129" y="804"/>
                  </a:cubicBezTo>
                  <a:cubicBezTo>
                    <a:pt x="107" y="804"/>
                    <a:pt x="86" y="805"/>
                    <a:pt x="63" y="812"/>
                  </a:cubicBezTo>
                  <a:cubicBezTo>
                    <a:pt x="45" y="820"/>
                    <a:pt x="26" y="824"/>
                    <a:pt x="7" y="828"/>
                  </a:cubicBezTo>
                  <a:cubicBezTo>
                    <a:pt x="5" y="828"/>
                    <a:pt x="3" y="828"/>
                    <a:pt x="0" y="830"/>
                  </a:cubicBezTo>
                  <a:cubicBezTo>
                    <a:pt x="5" y="817"/>
                    <a:pt x="10" y="805"/>
                    <a:pt x="17" y="792"/>
                  </a:cubicBezTo>
                  <a:cubicBezTo>
                    <a:pt x="25" y="772"/>
                    <a:pt x="35" y="751"/>
                    <a:pt x="41" y="726"/>
                  </a:cubicBezTo>
                  <a:cubicBezTo>
                    <a:pt x="49" y="690"/>
                    <a:pt x="38" y="656"/>
                    <a:pt x="25" y="624"/>
                  </a:cubicBezTo>
                  <a:cubicBezTo>
                    <a:pt x="17" y="601"/>
                    <a:pt x="8" y="580"/>
                    <a:pt x="8" y="557"/>
                  </a:cubicBezTo>
                  <a:cubicBezTo>
                    <a:pt x="7" y="527"/>
                    <a:pt x="18" y="499"/>
                    <a:pt x="31" y="468"/>
                  </a:cubicBezTo>
                  <a:cubicBezTo>
                    <a:pt x="36" y="458"/>
                    <a:pt x="40" y="445"/>
                    <a:pt x="43" y="433"/>
                  </a:cubicBezTo>
                  <a:cubicBezTo>
                    <a:pt x="49" y="413"/>
                    <a:pt x="56" y="397"/>
                    <a:pt x="64" y="380"/>
                  </a:cubicBezTo>
                  <a:cubicBezTo>
                    <a:pt x="89" y="339"/>
                    <a:pt x="135" y="311"/>
                    <a:pt x="186" y="308"/>
                  </a:cubicBezTo>
                  <a:cubicBezTo>
                    <a:pt x="191" y="308"/>
                    <a:pt x="198" y="308"/>
                    <a:pt x="204" y="310"/>
                  </a:cubicBezTo>
                  <a:cubicBezTo>
                    <a:pt x="232" y="310"/>
                    <a:pt x="280" y="313"/>
                    <a:pt x="283" y="267"/>
                  </a:cubicBezTo>
                  <a:cubicBezTo>
                    <a:pt x="285" y="250"/>
                    <a:pt x="280" y="239"/>
                    <a:pt x="275" y="229"/>
                  </a:cubicBezTo>
                  <a:cubicBezTo>
                    <a:pt x="270" y="217"/>
                    <a:pt x="267" y="209"/>
                    <a:pt x="272" y="196"/>
                  </a:cubicBezTo>
                  <a:cubicBezTo>
                    <a:pt x="277" y="181"/>
                    <a:pt x="288" y="170"/>
                    <a:pt x="300" y="158"/>
                  </a:cubicBezTo>
                  <a:cubicBezTo>
                    <a:pt x="310" y="150"/>
                    <a:pt x="320" y="140"/>
                    <a:pt x="326" y="128"/>
                  </a:cubicBezTo>
                  <a:cubicBezTo>
                    <a:pt x="351" y="92"/>
                    <a:pt x="353" y="41"/>
                    <a:pt x="348" y="0"/>
                  </a:cubicBezTo>
                  <a:cubicBezTo>
                    <a:pt x="354" y="1"/>
                    <a:pt x="361" y="3"/>
                    <a:pt x="366" y="5"/>
                  </a:cubicBezTo>
                  <a:cubicBezTo>
                    <a:pt x="404" y="18"/>
                    <a:pt x="440" y="34"/>
                    <a:pt x="476" y="49"/>
                  </a:cubicBezTo>
                  <a:cubicBezTo>
                    <a:pt x="499" y="59"/>
                    <a:pt x="522" y="69"/>
                    <a:pt x="545" y="77"/>
                  </a:cubicBezTo>
                  <a:lnTo>
                    <a:pt x="580" y="92"/>
                  </a:lnTo>
                  <a:cubicBezTo>
                    <a:pt x="674" y="128"/>
                    <a:pt x="769" y="166"/>
                    <a:pt x="837" y="237"/>
                  </a:cubicBezTo>
                  <a:cubicBezTo>
                    <a:pt x="855" y="257"/>
                    <a:pt x="863" y="282"/>
                    <a:pt x="872" y="308"/>
                  </a:cubicBezTo>
                  <a:cubicBezTo>
                    <a:pt x="878" y="329"/>
                    <a:pt x="885" y="349"/>
                    <a:pt x="898" y="369"/>
                  </a:cubicBezTo>
                  <a:cubicBezTo>
                    <a:pt x="924" y="412"/>
                    <a:pt x="965" y="417"/>
                    <a:pt x="1005" y="423"/>
                  </a:cubicBezTo>
                  <a:cubicBezTo>
                    <a:pt x="1012" y="425"/>
                    <a:pt x="1018" y="427"/>
                    <a:pt x="1025" y="428"/>
                  </a:cubicBezTo>
                  <a:cubicBezTo>
                    <a:pt x="1054" y="433"/>
                    <a:pt x="1066" y="440"/>
                    <a:pt x="1084" y="463"/>
                  </a:cubicBezTo>
                  <a:cubicBezTo>
                    <a:pt x="1101" y="483"/>
                    <a:pt x="1114" y="494"/>
                    <a:pt x="1137" y="502"/>
                  </a:cubicBezTo>
                  <a:cubicBezTo>
                    <a:pt x="1166" y="512"/>
                    <a:pt x="1198" y="512"/>
                    <a:pt x="1227" y="514"/>
                  </a:cubicBezTo>
                  <a:cubicBezTo>
                    <a:pt x="1239" y="514"/>
                    <a:pt x="1250" y="514"/>
                    <a:pt x="1262" y="515"/>
                  </a:cubicBezTo>
                  <a:cubicBezTo>
                    <a:pt x="1287" y="517"/>
                    <a:pt x="1310" y="519"/>
                    <a:pt x="1336" y="509"/>
                  </a:cubicBezTo>
                  <a:cubicBezTo>
                    <a:pt x="1343" y="507"/>
                    <a:pt x="1349" y="502"/>
                    <a:pt x="1356" y="499"/>
                  </a:cubicBezTo>
                  <a:cubicBezTo>
                    <a:pt x="1367" y="494"/>
                    <a:pt x="1379" y="486"/>
                    <a:pt x="1387" y="489"/>
                  </a:cubicBezTo>
                  <a:cubicBezTo>
                    <a:pt x="1392" y="489"/>
                    <a:pt x="1394" y="492"/>
                    <a:pt x="1395" y="494"/>
                  </a:cubicBezTo>
                  <a:cubicBezTo>
                    <a:pt x="1402" y="507"/>
                    <a:pt x="1394" y="539"/>
                    <a:pt x="1390" y="555"/>
                  </a:cubicBezTo>
                  <a:cubicBezTo>
                    <a:pt x="1389" y="558"/>
                    <a:pt x="1387" y="565"/>
                    <a:pt x="1386" y="570"/>
                  </a:cubicBezTo>
                  <a:cubicBezTo>
                    <a:pt x="1381" y="581"/>
                    <a:pt x="1374" y="596"/>
                    <a:pt x="1376" y="609"/>
                  </a:cubicBezTo>
                  <a:cubicBezTo>
                    <a:pt x="1377" y="621"/>
                    <a:pt x="1381" y="631"/>
                    <a:pt x="1386" y="639"/>
                  </a:cubicBezTo>
                  <a:cubicBezTo>
                    <a:pt x="1389" y="647"/>
                    <a:pt x="1392" y="652"/>
                    <a:pt x="1392" y="659"/>
                  </a:cubicBezTo>
                  <a:cubicBezTo>
                    <a:pt x="1394" y="665"/>
                    <a:pt x="1390" y="674"/>
                    <a:pt x="1387" y="684"/>
                  </a:cubicBezTo>
                  <a:cubicBezTo>
                    <a:pt x="1381" y="702"/>
                    <a:pt x="1374" y="723"/>
                    <a:pt x="1386" y="740"/>
                  </a:cubicBezTo>
                  <a:cubicBezTo>
                    <a:pt x="1390" y="749"/>
                    <a:pt x="1402" y="754"/>
                    <a:pt x="1418" y="758"/>
                  </a:cubicBezTo>
                  <a:lnTo>
                    <a:pt x="1422" y="758"/>
                  </a:lnTo>
                  <a:cubicBezTo>
                    <a:pt x="1453" y="761"/>
                    <a:pt x="1474" y="740"/>
                    <a:pt x="1493" y="720"/>
                  </a:cubicBezTo>
                  <a:cubicBezTo>
                    <a:pt x="1509" y="705"/>
                    <a:pt x="1524" y="690"/>
                    <a:pt x="1544" y="688"/>
                  </a:cubicBezTo>
                  <a:cubicBezTo>
                    <a:pt x="1552" y="688"/>
                    <a:pt x="1560" y="688"/>
                    <a:pt x="1567" y="688"/>
                  </a:cubicBezTo>
                  <a:cubicBezTo>
                    <a:pt x="1575" y="688"/>
                    <a:pt x="1582" y="688"/>
                    <a:pt x="1588" y="687"/>
                  </a:cubicBezTo>
                  <a:cubicBezTo>
                    <a:pt x="1588" y="690"/>
                    <a:pt x="1588" y="692"/>
                    <a:pt x="1588" y="695"/>
                  </a:cubicBezTo>
                  <a:cubicBezTo>
                    <a:pt x="1588" y="730"/>
                    <a:pt x="1595" y="764"/>
                    <a:pt x="1608" y="797"/>
                  </a:cubicBezTo>
                  <a:cubicBezTo>
                    <a:pt x="1611" y="805"/>
                    <a:pt x="1613" y="812"/>
                    <a:pt x="1611" y="817"/>
                  </a:cubicBezTo>
                  <a:cubicBezTo>
                    <a:pt x="1611" y="819"/>
                    <a:pt x="1610" y="820"/>
                    <a:pt x="1608" y="824"/>
                  </a:cubicBezTo>
                  <a:cubicBezTo>
                    <a:pt x="1608" y="825"/>
                    <a:pt x="1606" y="827"/>
                    <a:pt x="1606" y="828"/>
                  </a:cubicBezTo>
                  <a:cubicBezTo>
                    <a:pt x="1598" y="842"/>
                    <a:pt x="1598" y="860"/>
                    <a:pt x="1603" y="873"/>
                  </a:cubicBezTo>
                  <a:cubicBezTo>
                    <a:pt x="1605" y="876"/>
                    <a:pt x="1606" y="878"/>
                    <a:pt x="1606" y="880"/>
                  </a:cubicBezTo>
                  <a:cubicBezTo>
                    <a:pt x="1608" y="883"/>
                    <a:pt x="1610" y="886"/>
                    <a:pt x="1610" y="889"/>
                  </a:cubicBezTo>
                  <a:cubicBezTo>
                    <a:pt x="1610" y="891"/>
                    <a:pt x="1608" y="894"/>
                    <a:pt x="1608" y="898"/>
                  </a:cubicBezTo>
                  <a:cubicBezTo>
                    <a:pt x="1606" y="899"/>
                    <a:pt x="1605" y="903"/>
                    <a:pt x="1605" y="904"/>
                  </a:cubicBezTo>
                  <a:cubicBezTo>
                    <a:pt x="1598" y="919"/>
                    <a:pt x="1600" y="936"/>
                    <a:pt x="1608" y="949"/>
                  </a:cubicBezTo>
                  <a:lnTo>
                    <a:pt x="1610" y="952"/>
                  </a:lnTo>
                  <a:cubicBezTo>
                    <a:pt x="1611" y="954"/>
                    <a:pt x="1613" y="955"/>
                    <a:pt x="1613" y="955"/>
                  </a:cubicBezTo>
                  <a:cubicBezTo>
                    <a:pt x="1613" y="957"/>
                    <a:pt x="1611" y="960"/>
                    <a:pt x="1610" y="964"/>
                  </a:cubicBezTo>
                  <a:cubicBezTo>
                    <a:pt x="1608" y="967"/>
                    <a:pt x="1606" y="970"/>
                    <a:pt x="1605" y="975"/>
                  </a:cubicBezTo>
                  <a:cubicBezTo>
                    <a:pt x="1601" y="988"/>
                    <a:pt x="1606" y="1000"/>
                    <a:pt x="1611" y="1011"/>
                  </a:cubicBezTo>
                  <a:cubicBezTo>
                    <a:pt x="1613" y="1016"/>
                    <a:pt x="1614" y="1021"/>
                    <a:pt x="1616" y="1025"/>
                  </a:cubicBezTo>
                  <a:cubicBezTo>
                    <a:pt x="1618" y="1034"/>
                    <a:pt x="1614" y="1046"/>
                    <a:pt x="1610" y="1057"/>
                  </a:cubicBezTo>
                  <a:cubicBezTo>
                    <a:pt x="1610" y="1061"/>
                    <a:pt x="1608" y="1064"/>
                    <a:pt x="1606" y="1067"/>
                  </a:cubicBezTo>
                  <a:cubicBezTo>
                    <a:pt x="1603" y="1082"/>
                    <a:pt x="1603" y="1095"/>
                    <a:pt x="1603" y="1109"/>
                  </a:cubicBezTo>
                  <a:cubicBezTo>
                    <a:pt x="1603" y="1115"/>
                    <a:pt x="1603" y="1123"/>
                    <a:pt x="1601" y="1130"/>
                  </a:cubicBezTo>
                  <a:cubicBezTo>
                    <a:pt x="1601" y="1138"/>
                    <a:pt x="1598" y="1146"/>
                    <a:pt x="1591" y="1153"/>
                  </a:cubicBezTo>
                  <a:cubicBezTo>
                    <a:pt x="1591" y="1153"/>
                    <a:pt x="1591" y="1153"/>
                    <a:pt x="1591" y="1155"/>
                  </a:cubicBezTo>
                  <a:cubicBezTo>
                    <a:pt x="1586" y="1160"/>
                    <a:pt x="1580" y="1163"/>
                    <a:pt x="1573" y="1168"/>
                  </a:cubicBezTo>
                  <a:lnTo>
                    <a:pt x="1509" y="1207"/>
                  </a:lnTo>
                  <a:cubicBezTo>
                    <a:pt x="1504" y="1211"/>
                    <a:pt x="1499" y="1214"/>
                    <a:pt x="1494" y="1214"/>
                  </a:cubicBezTo>
                  <a:cubicBezTo>
                    <a:pt x="1491" y="1216"/>
                    <a:pt x="1484" y="1212"/>
                    <a:pt x="1479" y="1211"/>
                  </a:cubicBezTo>
                  <a:cubicBezTo>
                    <a:pt x="1473" y="1207"/>
                    <a:pt x="1466" y="1206"/>
                    <a:pt x="1458" y="1204"/>
                  </a:cubicBezTo>
                  <a:cubicBezTo>
                    <a:pt x="1443" y="1204"/>
                    <a:pt x="1430" y="1209"/>
                    <a:pt x="1418" y="1214"/>
                  </a:cubicBezTo>
                  <a:cubicBezTo>
                    <a:pt x="1410" y="1217"/>
                    <a:pt x="1402" y="1222"/>
                    <a:pt x="1394" y="1222"/>
                  </a:cubicBezTo>
                  <a:cubicBezTo>
                    <a:pt x="1389" y="1222"/>
                    <a:pt x="1381" y="1219"/>
                    <a:pt x="1372" y="1216"/>
                  </a:cubicBezTo>
                  <a:lnTo>
                    <a:pt x="1366" y="1214"/>
                  </a:lnTo>
                  <a:cubicBezTo>
                    <a:pt x="1348" y="1207"/>
                    <a:pt x="1331" y="1209"/>
                    <a:pt x="1320" y="1216"/>
                  </a:cubicBezTo>
                  <a:cubicBezTo>
                    <a:pt x="1315" y="1221"/>
                    <a:pt x="1310" y="1226"/>
                    <a:pt x="1305" y="1230"/>
                  </a:cubicBezTo>
                  <a:cubicBezTo>
                    <a:pt x="1303" y="1232"/>
                    <a:pt x="1303" y="1234"/>
                    <a:pt x="1300" y="1235"/>
                  </a:cubicBezTo>
                  <a:cubicBezTo>
                    <a:pt x="1298" y="1239"/>
                    <a:pt x="1295" y="1240"/>
                    <a:pt x="1295" y="1240"/>
                  </a:cubicBezTo>
                  <a:cubicBezTo>
                    <a:pt x="1293" y="1240"/>
                    <a:pt x="1292" y="1237"/>
                    <a:pt x="1292" y="1235"/>
                  </a:cubicBezTo>
                  <a:cubicBezTo>
                    <a:pt x="1290" y="1234"/>
                    <a:pt x="1288" y="1230"/>
                    <a:pt x="1285" y="1227"/>
                  </a:cubicBezTo>
                  <a:cubicBezTo>
                    <a:pt x="1277" y="1219"/>
                    <a:pt x="1265" y="1214"/>
                    <a:pt x="1250" y="1217"/>
                  </a:cubicBezTo>
                  <a:cubicBezTo>
                    <a:pt x="1241" y="1219"/>
                    <a:pt x="1232" y="1224"/>
                    <a:pt x="1224" y="1227"/>
                  </a:cubicBezTo>
                  <a:cubicBezTo>
                    <a:pt x="1199" y="1240"/>
                    <a:pt x="1171" y="1257"/>
                    <a:pt x="1153" y="1282"/>
                  </a:cubicBezTo>
                  <a:cubicBezTo>
                    <a:pt x="1147" y="1290"/>
                    <a:pt x="1142" y="1298"/>
                    <a:pt x="1138" y="1306"/>
                  </a:cubicBezTo>
                  <a:cubicBezTo>
                    <a:pt x="1135" y="1311"/>
                    <a:pt x="1132" y="1316"/>
                    <a:pt x="1129" y="1323"/>
                  </a:cubicBezTo>
                  <a:cubicBezTo>
                    <a:pt x="1117" y="1339"/>
                    <a:pt x="1109" y="1342"/>
                    <a:pt x="1105" y="1342"/>
                  </a:cubicBezTo>
                  <a:cubicBezTo>
                    <a:pt x="1101" y="1342"/>
                    <a:pt x="1089" y="1333"/>
                    <a:pt x="1084" y="1326"/>
                  </a:cubicBezTo>
                  <a:cubicBezTo>
                    <a:pt x="1081" y="1323"/>
                    <a:pt x="1079" y="1318"/>
                    <a:pt x="1077" y="1313"/>
                  </a:cubicBezTo>
                  <a:cubicBezTo>
                    <a:pt x="1074" y="1305"/>
                    <a:pt x="1071" y="1296"/>
                    <a:pt x="1066" y="1290"/>
                  </a:cubicBezTo>
                  <a:cubicBezTo>
                    <a:pt x="1058" y="1282"/>
                    <a:pt x="1049" y="1277"/>
                    <a:pt x="1041" y="1273"/>
                  </a:cubicBezTo>
                  <a:lnTo>
                    <a:pt x="1036" y="1270"/>
                  </a:lnTo>
                  <a:cubicBezTo>
                    <a:pt x="1028" y="1265"/>
                    <a:pt x="1025" y="1262"/>
                    <a:pt x="1023" y="1257"/>
                  </a:cubicBezTo>
                  <a:cubicBezTo>
                    <a:pt x="1023" y="1255"/>
                    <a:pt x="1023" y="1250"/>
                    <a:pt x="1025" y="1247"/>
                  </a:cubicBezTo>
                  <a:cubicBezTo>
                    <a:pt x="1025" y="1244"/>
                    <a:pt x="1025" y="1240"/>
                    <a:pt x="1025" y="1239"/>
                  </a:cubicBezTo>
                  <a:cubicBezTo>
                    <a:pt x="1026" y="1226"/>
                    <a:pt x="1023" y="1212"/>
                    <a:pt x="1020" y="1204"/>
                  </a:cubicBezTo>
                  <a:cubicBezTo>
                    <a:pt x="1012" y="1178"/>
                    <a:pt x="990" y="1160"/>
                    <a:pt x="970" y="1145"/>
                  </a:cubicBezTo>
                  <a:cubicBezTo>
                    <a:pt x="954" y="1130"/>
                    <a:pt x="937" y="1118"/>
                    <a:pt x="929" y="1100"/>
                  </a:cubicBezTo>
                  <a:cubicBezTo>
                    <a:pt x="928" y="1097"/>
                    <a:pt x="926" y="1092"/>
                    <a:pt x="924" y="1087"/>
                  </a:cubicBezTo>
                  <a:cubicBezTo>
                    <a:pt x="921" y="1076"/>
                    <a:pt x="918" y="1061"/>
                    <a:pt x="904" y="1051"/>
                  </a:cubicBezTo>
                  <a:cubicBezTo>
                    <a:pt x="886" y="1036"/>
                    <a:pt x="860" y="1041"/>
                    <a:pt x="844" y="1049"/>
                  </a:cubicBezTo>
                  <a:cubicBezTo>
                    <a:pt x="835" y="1054"/>
                    <a:pt x="829" y="1057"/>
                    <a:pt x="822" y="1062"/>
                  </a:cubicBezTo>
                  <a:cubicBezTo>
                    <a:pt x="816" y="1067"/>
                    <a:pt x="809" y="1072"/>
                    <a:pt x="801" y="1076"/>
                  </a:cubicBezTo>
                  <a:cubicBezTo>
                    <a:pt x="789" y="1081"/>
                    <a:pt x="774" y="1082"/>
                    <a:pt x="759" y="1084"/>
                  </a:cubicBezTo>
                  <a:cubicBezTo>
                    <a:pt x="743" y="1087"/>
                    <a:pt x="725" y="1089"/>
                    <a:pt x="708" y="1097"/>
                  </a:cubicBezTo>
                  <a:cubicBezTo>
                    <a:pt x="700" y="1100"/>
                    <a:pt x="692" y="1107"/>
                    <a:pt x="684" y="1112"/>
                  </a:cubicBezTo>
                  <a:lnTo>
                    <a:pt x="679" y="1115"/>
                  </a:lnTo>
                  <a:cubicBezTo>
                    <a:pt x="631" y="1150"/>
                    <a:pt x="557" y="1178"/>
                    <a:pt x="489" y="1150"/>
                  </a:cubicBezTo>
                  <a:cubicBezTo>
                    <a:pt x="483" y="1146"/>
                    <a:pt x="476" y="1145"/>
                    <a:pt x="470" y="1143"/>
                  </a:cubicBezTo>
                  <a:cubicBezTo>
                    <a:pt x="448" y="1142"/>
                    <a:pt x="432" y="1151"/>
                    <a:pt x="418" y="1161"/>
                  </a:cubicBezTo>
                  <a:lnTo>
                    <a:pt x="412" y="1166"/>
                  </a:lnTo>
                  <a:cubicBezTo>
                    <a:pt x="400" y="1173"/>
                    <a:pt x="387" y="1178"/>
                    <a:pt x="379" y="1173"/>
                  </a:cubicBezTo>
                  <a:cubicBezTo>
                    <a:pt x="379" y="1171"/>
                    <a:pt x="379" y="1170"/>
                    <a:pt x="377" y="1165"/>
                  </a:cubicBezTo>
                  <a:cubicBezTo>
                    <a:pt x="377" y="1160"/>
                    <a:pt x="377" y="1155"/>
                    <a:pt x="374" y="1148"/>
                  </a:cubicBezTo>
                  <a:cubicBezTo>
                    <a:pt x="371" y="1140"/>
                    <a:pt x="364" y="1133"/>
                    <a:pt x="354" y="1130"/>
                  </a:cubicBezTo>
                  <a:cubicBezTo>
                    <a:pt x="344" y="1127"/>
                    <a:pt x="334" y="1127"/>
                    <a:pt x="328" y="1130"/>
                  </a:cubicBezTo>
                  <a:cubicBezTo>
                    <a:pt x="313" y="1137"/>
                    <a:pt x="302" y="1156"/>
                    <a:pt x="293" y="1174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28" name="Freeform 64">
              <a:extLst>
                <a:ext uri="{FF2B5EF4-FFF2-40B4-BE49-F238E27FC236}">
                  <a16:creationId xmlns:a16="http://schemas.microsoft.com/office/drawing/2014/main" id="{F71B4B46-FE6A-824B-8558-520A1165F8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9188" y="2981325"/>
              <a:ext cx="1255712" cy="968375"/>
            </a:xfrm>
            <a:custGeom>
              <a:avLst/>
              <a:gdLst>
                <a:gd name="T0" fmla="*/ 257 w 3488"/>
                <a:gd name="T1" fmla="*/ 1841 h 2689"/>
                <a:gd name="T2" fmla="*/ 245 w 3488"/>
                <a:gd name="T3" fmla="*/ 1336 h 2689"/>
                <a:gd name="T4" fmla="*/ 145 w 3488"/>
                <a:gd name="T5" fmla="*/ 993 h 2689"/>
                <a:gd name="T6" fmla="*/ 29 w 3488"/>
                <a:gd name="T7" fmla="*/ 848 h 2689"/>
                <a:gd name="T8" fmla="*/ 75 w 3488"/>
                <a:gd name="T9" fmla="*/ 700 h 2689"/>
                <a:gd name="T10" fmla="*/ 145 w 3488"/>
                <a:gd name="T11" fmla="*/ 537 h 2689"/>
                <a:gd name="T12" fmla="*/ 375 w 3488"/>
                <a:gd name="T13" fmla="*/ 252 h 2689"/>
                <a:gd name="T14" fmla="*/ 507 w 3488"/>
                <a:gd name="T15" fmla="*/ 59 h 2689"/>
                <a:gd name="T16" fmla="*/ 782 w 3488"/>
                <a:gd name="T17" fmla="*/ 23 h 2689"/>
                <a:gd name="T18" fmla="*/ 868 w 3488"/>
                <a:gd name="T19" fmla="*/ 151 h 2689"/>
                <a:gd name="T20" fmla="*/ 795 w 3488"/>
                <a:gd name="T21" fmla="*/ 291 h 2689"/>
                <a:gd name="T22" fmla="*/ 787 w 3488"/>
                <a:gd name="T23" fmla="*/ 385 h 2689"/>
                <a:gd name="T24" fmla="*/ 973 w 3488"/>
                <a:gd name="T25" fmla="*/ 509 h 2689"/>
                <a:gd name="T26" fmla="*/ 1207 w 3488"/>
                <a:gd name="T27" fmla="*/ 586 h 2689"/>
                <a:gd name="T28" fmla="*/ 1359 w 3488"/>
                <a:gd name="T29" fmla="*/ 777 h 2689"/>
                <a:gd name="T30" fmla="*/ 1415 w 3488"/>
                <a:gd name="T31" fmla="*/ 776 h 2689"/>
                <a:gd name="T32" fmla="*/ 1576 w 3488"/>
                <a:gd name="T33" fmla="*/ 792 h 2689"/>
                <a:gd name="T34" fmla="*/ 1663 w 3488"/>
                <a:gd name="T35" fmla="*/ 925 h 2689"/>
                <a:gd name="T36" fmla="*/ 1700 w 3488"/>
                <a:gd name="T37" fmla="*/ 1153 h 2689"/>
                <a:gd name="T38" fmla="*/ 1887 w 3488"/>
                <a:gd name="T39" fmla="*/ 1257 h 2689"/>
                <a:gd name="T40" fmla="*/ 2028 w 3488"/>
                <a:gd name="T41" fmla="*/ 1387 h 2689"/>
                <a:gd name="T42" fmla="*/ 2247 w 3488"/>
                <a:gd name="T43" fmla="*/ 1486 h 2689"/>
                <a:gd name="T44" fmla="*/ 2542 w 3488"/>
                <a:gd name="T45" fmla="*/ 1734 h 2689"/>
                <a:gd name="T46" fmla="*/ 2775 w 3488"/>
                <a:gd name="T47" fmla="*/ 1701 h 2689"/>
                <a:gd name="T48" fmla="*/ 2925 w 3488"/>
                <a:gd name="T49" fmla="*/ 1698 h 2689"/>
                <a:gd name="T50" fmla="*/ 3130 w 3488"/>
                <a:gd name="T51" fmla="*/ 1843 h 2689"/>
                <a:gd name="T52" fmla="*/ 3296 w 3488"/>
                <a:gd name="T53" fmla="*/ 1955 h 2689"/>
                <a:gd name="T54" fmla="*/ 3327 w 3488"/>
                <a:gd name="T55" fmla="*/ 2120 h 2689"/>
                <a:gd name="T56" fmla="*/ 3487 w 3488"/>
                <a:gd name="T57" fmla="*/ 2250 h 2689"/>
                <a:gd name="T58" fmla="*/ 3434 w 3488"/>
                <a:gd name="T59" fmla="*/ 2308 h 2689"/>
                <a:gd name="T60" fmla="*/ 3317 w 3488"/>
                <a:gd name="T61" fmla="*/ 2350 h 2689"/>
                <a:gd name="T62" fmla="*/ 3215 w 3488"/>
                <a:gd name="T63" fmla="*/ 2395 h 2689"/>
                <a:gd name="T64" fmla="*/ 3024 w 3488"/>
                <a:gd name="T65" fmla="*/ 2326 h 2689"/>
                <a:gd name="T66" fmla="*/ 2820 w 3488"/>
                <a:gd name="T67" fmla="*/ 2374 h 2689"/>
                <a:gd name="T68" fmla="*/ 2751 w 3488"/>
                <a:gd name="T69" fmla="*/ 2318 h 2689"/>
                <a:gd name="T70" fmla="*/ 2512 w 3488"/>
                <a:gd name="T71" fmla="*/ 2271 h 2689"/>
                <a:gd name="T72" fmla="*/ 2148 w 3488"/>
                <a:gd name="T73" fmla="*/ 2202 h 2689"/>
                <a:gd name="T74" fmla="*/ 2088 w 3488"/>
                <a:gd name="T75" fmla="*/ 2298 h 2689"/>
                <a:gd name="T76" fmla="*/ 2042 w 3488"/>
                <a:gd name="T77" fmla="*/ 2410 h 2689"/>
                <a:gd name="T78" fmla="*/ 1830 w 3488"/>
                <a:gd name="T79" fmla="*/ 2556 h 2689"/>
                <a:gd name="T80" fmla="*/ 1772 w 3488"/>
                <a:gd name="T81" fmla="*/ 2647 h 2689"/>
                <a:gd name="T82" fmla="*/ 1672 w 3488"/>
                <a:gd name="T83" fmla="*/ 2659 h 2689"/>
                <a:gd name="T84" fmla="*/ 1509 w 3488"/>
                <a:gd name="T85" fmla="*/ 2570 h 2689"/>
                <a:gd name="T86" fmla="*/ 1378 w 3488"/>
                <a:gd name="T87" fmla="*/ 2385 h 2689"/>
                <a:gd name="T88" fmla="*/ 1293 w 3488"/>
                <a:gd name="T89" fmla="*/ 2197 h 2689"/>
                <a:gd name="T90" fmla="*/ 1148 w 3488"/>
                <a:gd name="T91" fmla="*/ 2097 h 2689"/>
                <a:gd name="T92" fmla="*/ 945 w 3488"/>
                <a:gd name="T93" fmla="*/ 2031 h 2689"/>
                <a:gd name="T94" fmla="*/ 901 w 3488"/>
                <a:gd name="T95" fmla="*/ 2070 h 2689"/>
                <a:gd name="T96" fmla="*/ 716 w 3488"/>
                <a:gd name="T97" fmla="*/ 2125 h 2689"/>
                <a:gd name="T98" fmla="*/ 467 w 3488"/>
                <a:gd name="T99" fmla="*/ 2164 h 2689"/>
                <a:gd name="T100" fmla="*/ 375 w 3488"/>
                <a:gd name="T101" fmla="*/ 2187 h 2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88" h="2689">
                  <a:moveTo>
                    <a:pt x="339" y="2107"/>
                  </a:moveTo>
                  <a:cubicBezTo>
                    <a:pt x="336" y="2082"/>
                    <a:pt x="337" y="2057"/>
                    <a:pt x="337" y="2029"/>
                  </a:cubicBezTo>
                  <a:cubicBezTo>
                    <a:pt x="339" y="1998"/>
                    <a:pt x="341" y="1965"/>
                    <a:pt x="332" y="1932"/>
                  </a:cubicBezTo>
                  <a:cubicBezTo>
                    <a:pt x="322" y="1888"/>
                    <a:pt x="288" y="1863"/>
                    <a:pt x="257" y="1841"/>
                  </a:cubicBezTo>
                  <a:cubicBezTo>
                    <a:pt x="215" y="1812"/>
                    <a:pt x="184" y="1790"/>
                    <a:pt x="210" y="1729"/>
                  </a:cubicBezTo>
                  <a:cubicBezTo>
                    <a:pt x="240" y="1665"/>
                    <a:pt x="248" y="1627"/>
                    <a:pt x="230" y="1561"/>
                  </a:cubicBezTo>
                  <a:cubicBezTo>
                    <a:pt x="210" y="1481"/>
                    <a:pt x="210" y="1418"/>
                    <a:pt x="233" y="1360"/>
                  </a:cubicBezTo>
                  <a:cubicBezTo>
                    <a:pt x="237" y="1352"/>
                    <a:pt x="242" y="1344"/>
                    <a:pt x="245" y="1336"/>
                  </a:cubicBezTo>
                  <a:cubicBezTo>
                    <a:pt x="257" y="1311"/>
                    <a:pt x="268" y="1286"/>
                    <a:pt x="268" y="1257"/>
                  </a:cubicBezTo>
                  <a:cubicBezTo>
                    <a:pt x="268" y="1222"/>
                    <a:pt x="253" y="1191"/>
                    <a:pt x="240" y="1164"/>
                  </a:cubicBezTo>
                  <a:cubicBezTo>
                    <a:pt x="233" y="1151"/>
                    <a:pt x="227" y="1138"/>
                    <a:pt x="220" y="1125"/>
                  </a:cubicBezTo>
                  <a:cubicBezTo>
                    <a:pt x="197" y="1080"/>
                    <a:pt x="174" y="1033"/>
                    <a:pt x="145" y="993"/>
                  </a:cubicBezTo>
                  <a:cubicBezTo>
                    <a:pt x="128" y="972"/>
                    <a:pt x="108" y="957"/>
                    <a:pt x="90" y="944"/>
                  </a:cubicBezTo>
                  <a:cubicBezTo>
                    <a:pt x="82" y="937"/>
                    <a:pt x="74" y="930"/>
                    <a:pt x="65" y="924"/>
                  </a:cubicBezTo>
                  <a:cubicBezTo>
                    <a:pt x="42" y="904"/>
                    <a:pt x="39" y="886"/>
                    <a:pt x="31" y="856"/>
                  </a:cubicBezTo>
                  <a:lnTo>
                    <a:pt x="29" y="848"/>
                  </a:lnTo>
                  <a:cubicBezTo>
                    <a:pt x="24" y="825"/>
                    <a:pt x="13" y="807"/>
                    <a:pt x="0" y="792"/>
                  </a:cubicBezTo>
                  <a:cubicBezTo>
                    <a:pt x="0" y="790"/>
                    <a:pt x="1" y="789"/>
                    <a:pt x="3" y="787"/>
                  </a:cubicBezTo>
                  <a:cubicBezTo>
                    <a:pt x="14" y="772"/>
                    <a:pt x="26" y="757"/>
                    <a:pt x="37" y="744"/>
                  </a:cubicBezTo>
                  <a:cubicBezTo>
                    <a:pt x="51" y="729"/>
                    <a:pt x="64" y="715"/>
                    <a:pt x="75" y="700"/>
                  </a:cubicBezTo>
                  <a:cubicBezTo>
                    <a:pt x="87" y="683"/>
                    <a:pt x="92" y="665"/>
                    <a:pt x="97" y="649"/>
                  </a:cubicBezTo>
                  <a:cubicBezTo>
                    <a:pt x="100" y="636"/>
                    <a:pt x="105" y="622"/>
                    <a:pt x="112" y="611"/>
                  </a:cubicBezTo>
                  <a:cubicBezTo>
                    <a:pt x="117" y="604"/>
                    <a:pt x="120" y="598"/>
                    <a:pt x="125" y="594"/>
                  </a:cubicBezTo>
                  <a:cubicBezTo>
                    <a:pt x="135" y="580"/>
                    <a:pt x="146" y="566"/>
                    <a:pt x="145" y="537"/>
                  </a:cubicBezTo>
                  <a:cubicBezTo>
                    <a:pt x="145" y="505"/>
                    <a:pt x="149" y="489"/>
                    <a:pt x="171" y="461"/>
                  </a:cubicBezTo>
                  <a:cubicBezTo>
                    <a:pt x="209" y="410"/>
                    <a:pt x="260" y="357"/>
                    <a:pt x="311" y="321"/>
                  </a:cubicBezTo>
                  <a:lnTo>
                    <a:pt x="321" y="314"/>
                  </a:lnTo>
                  <a:cubicBezTo>
                    <a:pt x="344" y="298"/>
                    <a:pt x="365" y="283"/>
                    <a:pt x="375" y="252"/>
                  </a:cubicBezTo>
                  <a:cubicBezTo>
                    <a:pt x="385" y="220"/>
                    <a:pt x="393" y="199"/>
                    <a:pt x="403" y="174"/>
                  </a:cubicBezTo>
                  <a:cubicBezTo>
                    <a:pt x="406" y="166"/>
                    <a:pt x="410" y="156"/>
                    <a:pt x="411" y="148"/>
                  </a:cubicBezTo>
                  <a:cubicBezTo>
                    <a:pt x="415" y="133"/>
                    <a:pt x="418" y="120"/>
                    <a:pt x="428" y="108"/>
                  </a:cubicBezTo>
                  <a:cubicBezTo>
                    <a:pt x="443" y="94"/>
                    <a:pt x="469" y="77"/>
                    <a:pt x="507" y="59"/>
                  </a:cubicBezTo>
                  <a:cubicBezTo>
                    <a:pt x="532" y="49"/>
                    <a:pt x="540" y="57"/>
                    <a:pt x="555" y="75"/>
                  </a:cubicBezTo>
                  <a:cubicBezTo>
                    <a:pt x="570" y="90"/>
                    <a:pt x="586" y="110"/>
                    <a:pt x="622" y="108"/>
                  </a:cubicBezTo>
                  <a:cubicBezTo>
                    <a:pt x="668" y="105"/>
                    <a:pt x="705" y="77"/>
                    <a:pt x="741" y="51"/>
                  </a:cubicBezTo>
                  <a:cubicBezTo>
                    <a:pt x="756" y="41"/>
                    <a:pt x="769" y="31"/>
                    <a:pt x="782" y="23"/>
                  </a:cubicBezTo>
                  <a:cubicBezTo>
                    <a:pt x="807" y="10"/>
                    <a:pt x="832" y="3"/>
                    <a:pt x="858" y="0"/>
                  </a:cubicBezTo>
                  <a:cubicBezTo>
                    <a:pt x="856" y="29"/>
                    <a:pt x="855" y="59"/>
                    <a:pt x="856" y="85"/>
                  </a:cubicBezTo>
                  <a:cubicBezTo>
                    <a:pt x="856" y="95"/>
                    <a:pt x="860" y="105"/>
                    <a:pt x="863" y="117"/>
                  </a:cubicBezTo>
                  <a:cubicBezTo>
                    <a:pt x="866" y="128"/>
                    <a:pt x="869" y="141"/>
                    <a:pt x="868" y="151"/>
                  </a:cubicBezTo>
                  <a:cubicBezTo>
                    <a:pt x="866" y="161"/>
                    <a:pt x="860" y="169"/>
                    <a:pt x="851" y="178"/>
                  </a:cubicBezTo>
                  <a:cubicBezTo>
                    <a:pt x="848" y="184"/>
                    <a:pt x="843" y="189"/>
                    <a:pt x="838" y="196"/>
                  </a:cubicBezTo>
                  <a:cubicBezTo>
                    <a:pt x="830" y="211"/>
                    <a:pt x="825" y="227"/>
                    <a:pt x="820" y="242"/>
                  </a:cubicBezTo>
                  <a:cubicBezTo>
                    <a:pt x="813" y="260"/>
                    <a:pt x="808" y="278"/>
                    <a:pt x="795" y="291"/>
                  </a:cubicBezTo>
                  <a:cubicBezTo>
                    <a:pt x="792" y="296"/>
                    <a:pt x="789" y="298"/>
                    <a:pt x="784" y="301"/>
                  </a:cubicBezTo>
                  <a:cubicBezTo>
                    <a:pt x="772" y="311"/>
                    <a:pt x="756" y="324"/>
                    <a:pt x="757" y="349"/>
                  </a:cubicBezTo>
                  <a:cubicBezTo>
                    <a:pt x="757" y="372"/>
                    <a:pt x="767" y="377"/>
                    <a:pt x="779" y="382"/>
                  </a:cubicBezTo>
                  <a:cubicBezTo>
                    <a:pt x="780" y="382"/>
                    <a:pt x="784" y="383"/>
                    <a:pt x="787" y="385"/>
                  </a:cubicBezTo>
                  <a:cubicBezTo>
                    <a:pt x="807" y="397"/>
                    <a:pt x="807" y="407"/>
                    <a:pt x="807" y="423"/>
                  </a:cubicBezTo>
                  <a:cubicBezTo>
                    <a:pt x="808" y="436"/>
                    <a:pt x="808" y="454"/>
                    <a:pt x="820" y="471"/>
                  </a:cubicBezTo>
                  <a:cubicBezTo>
                    <a:pt x="846" y="505"/>
                    <a:pt x="909" y="507"/>
                    <a:pt x="955" y="509"/>
                  </a:cubicBezTo>
                  <a:cubicBezTo>
                    <a:pt x="960" y="509"/>
                    <a:pt x="967" y="509"/>
                    <a:pt x="973" y="509"/>
                  </a:cubicBezTo>
                  <a:cubicBezTo>
                    <a:pt x="990" y="510"/>
                    <a:pt x="1006" y="509"/>
                    <a:pt x="1023" y="509"/>
                  </a:cubicBezTo>
                  <a:cubicBezTo>
                    <a:pt x="1047" y="507"/>
                    <a:pt x="1070" y="505"/>
                    <a:pt x="1092" y="510"/>
                  </a:cubicBezTo>
                  <a:cubicBezTo>
                    <a:pt x="1123" y="515"/>
                    <a:pt x="1156" y="543"/>
                    <a:pt x="1184" y="566"/>
                  </a:cubicBezTo>
                  <a:cubicBezTo>
                    <a:pt x="1192" y="573"/>
                    <a:pt x="1199" y="580"/>
                    <a:pt x="1207" y="586"/>
                  </a:cubicBezTo>
                  <a:cubicBezTo>
                    <a:pt x="1229" y="603"/>
                    <a:pt x="1225" y="612"/>
                    <a:pt x="1215" y="632"/>
                  </a:cubicBezTo>
                  <a:cubicBezTo>
                    <a:pt x="1210" y="645"/>
                    <a:pt x="1205" y="660"/>
                    <a:pt x="1205" y="678"/>
                  </a:cubicBezTo>
                  <a:cubicBezTo>
                    <a:pt x="1205" y="711"/>
                    <a:pt x="1250" y="759"/>
                    <a:pt x="1250" y="759"/>
                  </a:cubicBezTo>
                  <a:cubicBezTo>
                    <a:pt x="1281" y="794"/>
                    <a:pt x="1322" y="785"/>
                    <a:pt x="1359" y="777"/>
                  </a:cubicBezTo>
                  <a:lnTo>
                    <a:pt x="1364" y="777"/>
                  </a:lnTo>
                  <a:cubicBezTo>
                    <a:pt x="1367" y="776"/>
                    <a:pt x="1370" y="776"/>
                    <a:pt x="1374" y="774"/>
                  </a:cubicBezTo>
                  <a:cubicBezTo>
                    <a:pt x="1385" y="772"/>
                    <a:pt x="1395" y="769"/>
                    <a:pt x="1403" y="771"/>
                  </a:cubicBezTo>
                  <a:cubicBezTo>
                    <a:pt x="1408" y="772"/>
                    <a:pt x="1410" y="772"/>
                    <a:pt x="1415" y="776"/>
                  </a:cubicBezTo>
                  <a:cubicBezTo>
                    <a:pt x="1421" y="779"/>
                    <a:pt x="1431" y="784"/>
                    <a:pt x="1444" y="782"/>
                  </a:cubicBezTo>
                  <a:cubicBezTo>
                    <a:pt x="1462" y="777"/>
                    <a:pt x="1472" y="769"/>
                    <a:pt x="1481" y="761"/>
                  </a:cubicBezTo>
                  <a:cubicBezTo>
                    <a:pt x="1494" y="749"/>
                    <a:pt x="1499" y="744"/>
                    <a:pt x="1518" y="753"/>
                  </a:cubicBezTo>
                  <a:cubicBezTo>
                    <a:pt x="1537" y="759"/>
                    <a:pt x="1558" y="777"/>
                    <a:pt x="1576" y="792"/>
                  </a:cubicBezTo>
                  <a:cubicBezTo>
                    <a:pt x="1586" y="800"/>
                    <a:pt x="1596" y="809"/>
                    <a:pt x="1604" y="815"/>
                  </a:cubicBezTo>
                  <a:lnTo>
                    <a:pt x="1616" y="823"/>
                  </a:lnTo>
                  <a:cubicBezTo>
                    <a:pt x="1639" y="840"/>
                    <a:pt x="1665" y="858"/>
                    <a:pt x="1675" y="883"/>
                  </a:cubicBezTo>
                  <a:cubicBezTo>
                    <a:pt x="1680" y="899"/>
                    <a:pt x="1675" y="909"/>
                    <a:pt x="1663" y="925"/>
                  </a:cubicBezTo>
                  <a:cubicBezTo>
                    <a:pt x="1657" y="935"/>
                    <a:pt x="1650" y="945"/>
                    <a:pt x="1647" y="957"/>
                  </a:cubicBezTo>
                  <a:cubicBezTo>
                    <a:pt x="1629" y="1003"/>
                    <a:pt x="1637" y="1033"/>
                    <a:pt x="1673" y="1061"/>
                  </a:cubicBezTo>
                  <a:cubicBezTo>
                    <a:pt x="1698" y="1082"/>
                    <a:pt x="1708" y="1103"/>
                    <a:pt x="1705" y="1131"/>
                  </a:cubicBezTo>
                  <a:cubicBezTo>
                    <a:pt x="1703" y="1138"/>
                    <a:pt x="1701" y="1146"/>
                    <a:pt x="1700" y="1153"/>
                  </a:cubicBezTo>
                  <a:cubicBezTo>
                    <a:pt x="1695" y="1179"/>
                    <a:pt x="1688" y="1214"/>
                    <a:pt x="1721" y="1238"/>
                  </a:cubicBezTo>
                  <a:cubicBezTo>
                    <a:pt x="1751" y="1262"/>
                    <a:pt x="1795" y="1263"/>
                    <a:pt x="1823" y="1257"/>
                  </a:cubicBezTo>
                  <a:cubicBezTo>
                    <a:pt x="1828" y="1253"/>
                    <a:pt x="1833" y="1252"/>
                    <a:pt x="1840" y="1250"/>
                  </a:cubicBezTo>
                  <a:cubicBezTo>
                    <a:pt x="1863" y="1243"/>
                    <a:pt x="1874" y="1240"/>
                    <a:pt x="1887" y="1257"/>
                  </a:cubicBezTo>
                  <a:cubicBezTo>
                    <a:pt x="1896" y="1265"/>
                    <a:pt x="1901" y="1276"/>
                    <a:pt x="1904" y="1286"/>
                  </a:cubicBezTo>
                  <a:cubicBezTo>
                    <a:pt x="1909" y="1303"/>
                    <a:pt x="1917" y="1323"/>
                    <a:pt x="1942" y="1337"/>
                  </a:cubicBezTo>
                  <a:cubicBezTo>
                    <a:pt x="1952" y="1342"/>
                    <a:pt x="1962" y="1347"/>
                    <a:pt x="1972" y="1354"/>
                  </a:cubicBezTo>
                  <a:cubicBezTo>
                    <a:pt x="1991" y="1362"/>
                    <a:pt x="2009" y="1372"/>
                    <a:pt x="2028" y="1387"/>
                  </a:cubicBezTo>
                  <a:cubicBezTo>
                    <a:pt x="2047" y="1405"/>
                    <a:pt x="2080" y="1428"/>
                    <a:pt x="2110" y="1436"/>
                  </a:cubicBezTo>
                  <a:cubicBezTo>
                    <a:pt x="2125" y="1439"/>
                    <a:pt x="2140" y="1443"/>
                    <a:pt x="2156" y="1444"/>
                  </a:cubicBezTo>
                  <a:cubicBezTo>
                    <a:pt x="2181" y="1446"/>
                    <a:pt x="2204" y="1449"/>
                    <a:pt x="2224" y="1463"/>
                  </a:cubicBezTo>
                  <a:cubicBezTo>
                    <a:pt x="2232" y="1471"/>
                    <a:pt x="2240" y="1479"/>
                    <a:pt x="2247" y="1486"/>
                  </a:cubicBezTo>
                  <a:cubicBezTo>
                    <a:pt x="2261" y="1500"/>
                    <a:pt x="2275" y="1515"/>
                    <a:pt x="2298" y="1523"/>
                  </a:cubicBezTo>
                  <a:cubicBezTo>
                    <a:pt x="2336" y="1537"/>
                    <a:pt x="2349" y="1545"/>
                    <a:pt x="2365" y="1581"/>
                  </a:cubicBezTo>
                  <a:cubicBezTo>
                    <a:pt x="2383" y="1619"/>
                    <a:pt x="2406" y="1654"/>
                    <a:pt x="2438" y="1688"/>
                  </a:cubicBezTo>
                  <a:cubicBezTo>
                    <a:pt x="2471" y="1726"/>
                    <a:pt x="2494" y="1731"/>
                    <a:pt x="2542" y="1734"/>
                  </a:cubicBezTo>
                  <a:cubicBezTo>
                    <a:pt x="2555" y="1734"/>
                    <a:pt x="2568" y="1736"/>
                    <a:pt x="2581" y="1736"/>
                  </a:cubicBezTo>
                  <a:cubicBezTo>
                    <a:pt x="2609" y="1739"/>
                    <a:pt x="2637" y="1741"/>
                    <a:pt x="2663" y="1741"/>
                  </a:cubicBezTo>
                  <a:cubicBezTo>
                    <a:pt x="2710" y="1743"/>
                    <a:pt x="2733" y="1729"/>
                    <a:pt x="2764" y="1710"/>
                  </a:cubicBezTo>
                  <a:lnTo>
                    <a:pt x="2775" y="1701"/>
                  </a:lnTo>
                  <a:cubicBezTo>
                    <a:pt x="2782" y="1698"/>
                    <a:pt x="2789" y="1695"/>
                    <a:pt x="2794" y="1692"/>
                  </a:cubicBezTo>
                  <a:cubicBezTo>
                    <a:pt x="2813" y="1680"/>
                    <a:pt x="2830" y="1670"/>
                    <a:pt x="2848" y="1652"/>
                  </a:cubicBezTo>
                  <a:cubicBezTo>
                    <a:pt x="2861" y="1639"/>
                    <a:pt x="2871" y="1632"/>
                    <a:pt x="2879" y="1636"/>
                  </a:cubicBezTo>
                  <a:cubicBezTo>
                    <a:pt x="2897" y="1639"/>
                    <a:pt x="2914" y="1673"/>
                    <a:pt x="2925" y="1698"/>
                  </a:cubicBezTo>
                  <a:cubicBezTo>
                    <a:pt x="2930" y="1711"/>
                    <a:pt x="2935" y="1723"/>
                    <a:pt x="2940" y="1731"/>
                  </a:cubicBezTo>
                  <a:cubicBezTo>
                    <a:pt x="2958" y="1759"/>
                    <a:pt x="2983" y="1790"/>
                    <a:pt x="3032" y="1790"/>
                  </a:cubicBezTo>
                  <a:cubicBezTo>
                    <a:pt x="3072" y="1790"/>
                    <a:pt x="3085" y="1794"/>
                    <a:pt x="3113" y="1825"/>
                  </a:cubicBezTo>
                  <a:cubicBezTo>
                    <a:pt x="3118" y="1832"/>
                    <a:pt x="3123" y="1838"/>
                    <a:pt x="3130" y="1843"/>
                  </a:cubicBezTo>
                  <a:cubicBezTo>
                    <a:pt x="3144" y="1863"/>
                    <a:pt x="3159" y="1881"/>
                    <a:pt x="3184" y="1894"/>
                  </a:cubicBezTo>
                  <a:cubicBezTo>
                    <a:pt x="3202" y="1902"/>
                    <a:pt x="3217" y="1904"/>
                    <a:pt x="3232" y="1907"/>
                  </a:cubicBezTo>
                  <a:cubicBezTo>
                    <a:pt x="3242" y="1907"/>
                    <a:pt x="3252" y="1909"/>
                    <a:pt x="3261" y="1912"/>
                  </a:cubicBezTo>
                  <a:cubicBezTo>
                    <a:pt x="3281" y="1921"/>
                    <a:pt x="3288" y="1935"/>
                    <a:pt x="3296" y="1955"/>
                  </a:cubicBezTo>
                  <a:cubicBezTo>
                    <a:pt x="3301" y="1963"/>
                    <a:pt x="3306" y="1973"/>
                    <a:pt x="3313" y="1983"/>
                  </a:cubicBezTo>
                  <a:cubicBezTo>
                    <a:pt x="3316" y="1988"/>
                    <a:pt x="3321" y="1995"/>
                    <a:pt x="3327" y="1998"/>
                  </a:cubicBezTo>
                  <a:cubicBezTo>
                    <a:pt x="3326" y="2001"/>
                    <a:pt x="3324" y="2003"/>
                    <a:pt x="3324" y="2005"/>
                  </a:cubicBezTo>
                  <a:cubicBezTo>
                    <a:pt x="3314" y="2037"/>
                    <a:pt x="3311" y="2090"/>
                    <a:pt x="3327" y="2120"/>
                  </a:cubicBezTo>
                  <a:cubicBezTo>
                    <a:pt x="3344" y="2150"/>
                    <a:pt x="3380" y="2173"/>
                    <a:pt x="3413" y="2192"/>
                  </a:cubicBezTo>
                  <a:cubicBezTo>
                    <a:pt x="3426" y="2199"/>
                    <a:pt x="3439" y="2207"/>
                    <a:pt x="3451" y="2215"/>
                  </a:cubicBezTo>
                  <a:lnTo>
                    <a:pt x="3457" y="2220"/>
                  </a:lnTo>
                  <a:cubicBezTo>
                    <a:pt x="3469" y="2230"/>
                    <a:pt x="3485" y="2242"/>
                    <a:pt x="3487" y="2250"/>
                  </a:cubicBezTo>
                  <a:cubicBezTo>
                    <a:pt x="3487" y="2253"/>
                    <a:pt x="3482" y="2258"/>
                    <a:pt x="3479" y="2262"/>
                  </a:cubicBezTo>
                  <a:cubicBezTo>
                    <a:pt x="3474" y="2265"/>
                    <a:pt x="3471" y="2268"/>
                    <a:pt x="3467" y="2271"/>
                  </a:cubicBezTo>
                  <a:cubicBezTo>
                    <a:pt x="3457" y="2276"/>
                    <a:pt x="3449" y="2283"/>
                    <a:pt x="3441" y="2294"/>
                  </a:cubicBezTo>
                  <a:cubicBezTo>
                    <a:pt x="3438" y="2299"/>
                    <a:pt x="3436" y="2303"/>
                    <a:pt x="3434" y="2308"/>
                  </a:cubicBezTo>
                  <a:cubicBezTo>
                    <a:pt x="3429" y="2318"/>
                    <a:pt x="3426" y="2319"/>
                    <a:pt x="3416" y="2322"/>
                  </a:cubicBezTo>
                  <a:cubicBezTo>
                    <a:pt x="3410" y="2324"/>
                    <a:pt x="3403" y="2324"/>
                    <a:pt x="3395" y="2324"/>
                  </a:cubicBezTo>
                  <a:cubicBezTo>
                    <a:pt x="3387" y="2324"/>
                    <a:pt x="3375" y="2324"/>
                    <a:pt x="3365" y="2327"/>
                  </a:cubicBezTo>
                  <a:cubicBezTo>
                    <a:pt x="3349" y="2332"/>
                    <a:pt x="3332" y="2342"/>
                    <a:pt x="3317" y="2350"/>
                  </a:cubicBezTo>
                  <a:cubicBezTo>
                    <a:pt x="3309" y="2355"/>
                    <a:pt x="3303" y="2360"/>
                    <a:pt x="3294" y="2364"/>
                  </a:cubicBezTo>
                  <a:lnTo>
                    <a:pt x="3286" y="2369"/>
                  </a:lnTo>
                  <a:cubicBezTo>
                    <a:pt x="3273" y="2375"/>
                    <a:pt x="3258" y="2383"/>
                    <a:pt x="3242" y="2388"/>
                  </a:cubicBezTo>
                  <a:cubicBezTo>
                    <a:pt x="3233" y="2392"/>
                    <a:pt x="3224" y="2393"/>
                    <a:pt x="3215" y="2395"/>
                  </a:cubicBezTo>
                  <a:cubicBezTo>
                    <a:pt x="3205" y="2397"/>
                    <a:pt x="3197" y="2395"/>
                    <a:pt x="3191" y="2392"/>
                  </a:cubicBezTo>
                  <a:cubicBezTo>
                    <a:pt x="3177" y="2385"/>
                    <a:pt x="3168" y="2372"/>
                    <a:pt x="3159" y="2359"/>
                  </a:cubicBezTo>
                  <a:cubicBezTo>
                    <a:pt x="3148" y="2341"/>
                    <a:pt x="3135" y="2321"/>
                    <a:pt x="3108" y="2311"/>
                  </a:cubicBezTo>
                  <a:cubicBezTo>
                    <a:pt x="3080" y="2299"/>
                    <a:pt x="3052" y="2306"/>
                    <a:pt x="3024" y="2326"/>
                  </a:cubicBezTo>
                  <a:cubicBezTo>
                    <a:pt x="3009" y="2336"/>
                    <a:pt x="2996" y="2350"/>
                    <a:pt x="2983" y="2364"/>
                  </a:cubicBezTo>
                  <a:cubicBezTo>
                    <a:pt x="2958" y="2392"/>
                    <a:pt x="2934" y="2420"/>
                    <a:pt x="2902" y="2418"/>
                  </a:cubicBezTo>
                  <a:cubicBezTo>
                    <a:pt x="2887" y="2418"/>
                    <a:pt x="2876" y="2408"/>
                    <a:pt x="2863" y="2398"/>
                  </a:cubicBezTo>
                  <a:cubicBezTo>
                    <a:pt x="2850" y="2388"/>
                    <a:pt x="2838" y="2379"/>
                    <a:pt x="2820" y="2374"/>
                  </a:cubicBezTo>
                  <a:cubicBezTo>
                    <a:pt x="2812" y="2372"/>
                    <a:pt x="2805" y="2370"/>
                    <a:pt x="2799" y="2370"/>
                  </a:cubicBezTo>
                  <a:cubicBezTo>
                    <a:pt x="2790" y="2370"/>
                    <a:pt x="2784" y="2370"/>
                    <a:pt x="2779" y="2367"/>
                  </a:cubicBezTo>
                  <a:cubicBezTo>
                    <a:pt x="2772" y="2362"/>
                    <a:pt x="2769" y="2354"/>
                    <a:pt x="2766" y="2344"/>
                  </a:cubicBezTo>
                  <a:cubicBezTo>
                    <a:pt x="2762" y="2336"/>
                    <a:pt x="2757" y="2326"/>
                    <a:pt x="2751" y="2318"/>
                  </a:cubicBezTo>
                  <a:cubicBezTo>
                    <a:pt x="2723" y="2283"/>
                    <a:pt x="2686" y="2293"/>
                    <a:pt x="2657" y="2301"/>
                  </a:cubicBezTo>
                  <a:cubicBezTo>
                    <a:pt x="2649" y="2304"/>
                    <a:pt x="2642" y="2306"/>
                    <a:pt x="2634" y="2308"/>
                  </a:cubicBezTo>
                  <a:cubicBezTo>
                    <a:pt x="2601" y="2314"/>
                    <a:pt x="2546" y="2299"/>
                    <a:pt x="2520" y="2276"/>
                  </a:cubicBezTo>
                  <a:lnTo>
                    <a:pt x="2512" y="2271"/>
                  </a:lnTo>
                  <a:cubicBezTo>
                    <a:pt x="2481" y="2245"/>
                    <a:pt x="2462" y="2229"/>
                    <a:pt x="2415" y="2222"/>
                  </a:cubicBezTo>
                  <a:cubicBezTo>
                    <a:pt x="2355" y="2212"/>
                    <a:pt x="2317" y="2204"/>
                    <a:pt x="2273" y="2178"/>
                  </a:cubicBezTo>
                  <a:cubicBezTo>
                    <a:pt x="2252" y="2164"/>
                    <a:pt x="2201" y="2135"/>
                    <a:pt x="2161" y="2181"/>
                  </a:cubicBezTo>
                  <a:cubicBezTo>
                    <a:pt x="2156" y="2187"/>
                    <a:pt x="2151" y="2196"/>
                    <a:pt x="2148" y="2202"/>
                  </a:cubicBezTo>
                  <a:cubicBezTo>
                    <a:pt x="2144" y="2209"/>
                    <a:pt x="2141" y="2214"/>
                    <a:pt x="2138" y="2219"/>
                  </a:cubicBezTo>
                  <a:cubicBezTo>
                    <a:pt x="2133" y="2224"/>
                    <a:pt x="2128" y="2229"/>
                    <a:pt x="2121" y="2234"/>
                  </a:cubicBezTo>
                  <a:cubicBezTo>
                    <a:pt x="2110" y="2240"/>
                    <a:pt x="2097" y="2248"/>
                    <a:pt x="2090" y="2263"/>
                  </a:cubicBezTo>
                  <a:cubicBezTo>
                    <a:pt x="2085" y="2275"/>
                    <a:pt x="2087" y="2288"/>
                    <a:pt x="2088" y="2298"/>
                  </a:cubicBezTo>
                  <a:cubicBezTo>
                    <a:pt x="2088" y="2304"/>
                    <a:pt x="2090" y="2313"/>
                    <a:pt x="2088" y="2318"/>
                  </a:cubicBezTo>
                  <a:cubicBezTo>
                    <a:pt x="2085" y="2326"/>
                    <a:pt x="2079" y="2332"/>
                    <a:pt x="2072" y="2341"/>
                  </a:cubicBezTo>
                  <a:cubicBezTo>
                    <a:pt x="2065" y="2349"/>
                    <a:pt x="2057" y="2359"/>
                    <a:pt x="2052" y="2372"/>
                  </a:cubicBezTo>
                  <a:cubicBezTo>
                    <a:pt x="2047" y="2385"/>
                    <a:pt x="2046" y="2398"/>
                    <a:pt x="2042" y="2410"/>
                  </a:cubicBezTo>
                  <a:cubicBezTo>
                    <a:pt x="2036" y="2433"/>
                    <a:pt x="2032" y="2451"/>
                    <a:pt x="2014" y="2474"/>
                  </a:cubicBezTo>
                  <a:cubicBezTo>
                    <a:pt x="1998" y="2494"/>
                    <a:pt x="1995" y="2494"/>
                    <a:pt x="1978" y="2487"/>
                  </a:cubicBezTo>
                  <a:cubicBezTo>
                    <a:pt x="1972" y="2486"/>
                    <a:pt x="1965" y="2484"/>
                    <a:pt x="1955" y="2481"/>
                  </a:cubicBezTo>
                  <a:cubicBezTo>
                    <a:pt x="1897" y="2471"/>
                    <a:pt x="1848" y="2530"/>
                    <a:pt x="1830" y="2556"/>
                  </a:cubicBezTo>
                  <a:cubicBezTo>
                    <a:pt x="1820" y="2570"/>
                    <a:pt x="1817" y="2584"/>
                    <a:pt x="1813" y="2596"/>
                  </a:cubicBezTo>
                  <a:cubicBezTo>
                    <a:pt x="1812" y="2606"/>
                    <a:pt x="1810" y="2614"/>
                    <a:pt x="1805" y="2622"/>
                  </a:cubicBezTo>
                  <a:cubicBezTo>
                    <a:pt x="1800" y="2631"/>
                    <a:pt x="1789" y="2637"/>
                    <a:pt x="1777" y="2644"/>
                  </a:cubicBezTo>
                  <a:lnTo>
                    <a:pt x="1772" y="2647"/>
                  </a:lnTo>
                  <a:cubicBezTo>
                    <a:pt x="1766" y="2650"/>
                    <a:pt x="1759" y="2655"/>
                    <a:pt x="1751" y="2659"/>
                  </a:cubicBezTo>
                  <a:cubicBezTo>
                    <a:pt x="1738" y="2665"/>
                    <a:pt x="1723" y="2673"/>
                    <a:pt x="1710" y="2683"/>
                  </a:cubicBezTo>
                  <a:cubicBezTo>
                    <a:pt x="1708" y="2685"/>
                    <a:pt x="1706" y="2687"/>
                    <a:pt x="1705" y="2688"/>
                  </a:cubicBezTo>
                  <a:cubicBezTo>
                    <a:pt x="1698" y="2677"/>
                    <a:pt x="1688" y="2667"/>
                    <a:pt x="1672" y="2659"/>
                  </a:cubicBezTo>
                  <a:cubicBezTo>
                    <a:pt x="1659" y="2650"/>
                    <a:pt x="1644" y="2644"/>
                    <a:pt x="1630" y="2639"/>
                  </a:cubicBezTo>
                  <a:cubicBezTo>
                    <a:pt x="1617" y="2632"/>
                    <a:pt x="1606" y="2629"/>
                    <a:pt x="1594" y="2622"/>
                  </a:cubicBezTo>
                  <a:cubicBezTo>
                    <a:pt x="1583" y="2616"/>
                    <a:pt x="1573" y="2609"/>
                    <a:pt x="1561" y="2601"/>
                  </a:cubicBezTo>
                  <a:cubicBezTo>
                    <a:pt x="1545" y="2591"/>
                    <a:pt x="1528" y="2578"/>
                    <a:pt x="1509" y="2570"/>
                  </a:cubicBezTo>
                  <a:cubicBezTo>
                    <a:pt x="1466" y="2551"/>
                    <a:pt x="1458" y="2532"/>
                    <a:pt x="1444" y="2499"/>
                  </a:cubicBezTo>
                  <a:cubicBezTo>
                    <a:pt x="1441" y="2487"/>
                    <a:pt x="1434" y="2474"/>
                    <a:pt x="1428" y="2461"/>
                  </a:cubicBezTo>
                  <a:cubicBezTo>
                    <a:pt x="1421" y="2448"/>
                    <a:pt x="1413" y="2436"/>
                    <a:pt x="1403" y="2425"/>
                  </a:cubicBezTo>
                  <a:cubicBezTo>
                    <a:pt x="1393" y="2411"/>
                    <a:pt x="1383" y="2400"/>
                    <a:pt x="1378" y="2385"/>
                  </a:cubicBezTo>
                  <a:cubicBezTo>
                    <a:pt x="1374" y="2370"/>
                    <a:pt x="1370" y="2357"/>
                    <a:pt x="1367" y="2341"/>
                  </a:cubicBezTo>
                  <a:cubicBezTo>
                    <a:pt x="1362" y="2321"/>
                    <a:pt x="1357" y="2299"/>
                    <a:pt x="1347" y="2278"/>
                  </a:cubicBezTo>
                  <a:cubicBezTo>
                    <a:pt x="1339" y="2258"/>
                    <a:pt x="1326" y="2242"/>
                    <a:pt x="1313" y="2225"/>
                  </a:cubicBezTo>
                  <a:cubicBezTo>
                    <a:pt x="1306" y="2215"/>
                    <a:pt x="1299" y="2207"/>
                    <a:pt x="1293" y="2197"/>
                  </a:cubicBezTo>
                  <a:cubicBezTo>
                    <a:pt x="1289" y="2192"/>
                    <a:pt x="1286" y="2187"/>
                    <a:pt x="1283" y="2182"/>
                  </a:cubicBezTo>
                  <a:cubicBezTo>
                    <a:pt x="1271" y="2161"/>
                    <a:pt x="1258" y="2140"/>
                    <a:pt x="1232" y="2126"/>
                  </a:cubicBezTo>
                  <a:cubicBezTo>
                    <a:pt x="1217" y="2118"/>
                    <a:pt x="1202" y="2115"/>
                    <a:pt x="1187" y="2110"/>
                  </a:cubicBezTo>
                  <a:cubicBezTo>
                    <a:pt x="1174" y="2107"/>
                    <a:pt x="1161" y="2103"/>
                    <a:pt x="1148" y="2097"/>
                  </a:cubicBezTo>
                  <a:cubicBezTo>
                    <a:pt x="1125" y="2085"/>
                    <a:pt x="1105" y="2070"/>
                    <a:pt x="1084" y="2056"/>
                  </a:cubicBezTo>
                  <a:lnTo>
                    <a:pt x="1070" y="2044"/>
                  </a:lnTo>
                  <a:cubicBezTo>
                    <a:pt x="1032" y="2018"/>
                    <a:pt x="1001" y="2006"/>
                    <a:pt x="978" y="2009"/>
                  </a:cubicBezTo>
                  <a:cubicBezTo>
                    <a:pt x="965" y="2011"/>
                    <a:pt x="953" y="2019"/>
                    <a:pt x="945" y="2031"/>
                  </a:cubicBezTo>
                  <a:cubicBezTo>
                    <a:pt x="937" y="2042"/>
                    <a:pt x="935" y="2054"/>
                    <a:pt x="935" y="2061"/>
                  </a:cubicBezTo>
                  <a:lnTo>
                    <a:pt x="934" y="2065"/>
                  </a:lnTo>
                  <a:cubicBezTo>
                    <a:pt x="934" y="2065"/>
                    <a:pt x="932" y="2067"/>
                    <a:pt x="920" y="2069"/>
                  </a:cubicBezTo>
                  <a:cubicBezTo>
                    <a:pt x="914" y="2069"/>
                    <a:pt x="907" y="2070"/>
                    <a:pt x="901" y="2070"/>
                  </a:cubicBezTo>
                  <a:cubicBezTo>
                    <a:pt x="874" y="2072"/>
                    <a:pt x="851" y="2074"/>
                    <a:pt x="820" y="2095"/>
                  </a:cubicBezTo>
                  <a:cubicBezTo>
                    <a:pt x="815" y="2100"/>
                    <a:pt x="810" y="2103"/>
                    <a:pt x="807" y="2107"/>
                  </a:cubicBezTo>
                  <a:cubicBezTo>
                    <a:pt x="789" y="2122"/>
                    <a:pt x="775" y="2131"/>
                    <a:pt x="751" y="2130"/>
                  </a:cubicBezTo>
                  <a:cubicBezTo>
                    <a:pt x="739" y="2130"/>
                    <a:pt x="728" y="2126"/>
                    <a:pt x="716" y="2125"/>
                  </a:cubicBezTo>
                  <a:cubicBezTo>
                    <a:pt x="693" y="2122"/>
                    <a:pt x="668" y="2117"/>
                    <a:pt x="640" y="2123"/>
                  </a:cubicBezTo>
                  <a:cubicBezTo>
                    <a:pt x="631" y="2125"/>
                    <a:pt x="621" y="2128"/>
                    <a:pt x="612" y="2130"/>
                  </a:cubicBezTo>
                  <a:cubicBezTo>
                    <a:pt x="589" y="2136"/>
                    <a:pt x="573" y="2141"/>
                    <a:pt x="548" y="2138"/>
                  </a:cubicBezTo>
                  <a:cubicBezTo>
                    <a:pt x="505" y="2130"/>
                    <a:pt x="489" y="2145"/>
                    <a:pt x="467" y="2164"/>
                  </a:cubicBezTo>
                  <a:lnTo>
                    <a:pt x="458" y="2174"/>
                  </a:lnTo>
                  <a:cubicBezTo>
                    <a:pt x="434" y="2192"/>
                    <a:pt x="411" y="2191"/>
                    <a:pt x="380" y="2187"/>
                  </a:cubicBezTo>
                  <a:cubicBezTo>
                    <a:pt x="380" y="2187"/>
                    <a:pt x="380" y="2187"/>
                    <a:pt x="378" y="2187"/>
                  </a:cubicBezTo>
                  <a:lnTo>
                    <a:pt x="375" y="2187"/>
                  </a:lnTo>
                  <a:cubicBezTo>
                    <a:pt x="367" y="2186"/>
                    <a:pt x="359" y="2186"/>
                    <a:pt x="352" y="2184"/>
                  </a:cubicBezTo>
                  <a:cubicBezTo>
                    <a:pt x="350" y="2166"/>
                    <a:pt x="347" y="2146"/>
                    <a:pt x="344" y="2128"/>
                  </a:cubicBezTo>
                  <a:lnTo>
                    <a:pt x="339" y="2107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29" name="Freeform 65">
              <a:extLst>
                <a:ext uri="{FF2B5EF4-FFF2-40B4-BE49-F238E27FC236}">
                  <a16:creationId xmlns:a16="http://schemas.microsoft.com/office/drawing/2014/main" id="{ECB3AD84-E232-AF40-85A2-75B4EE72E3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7200" y="4506913"/>
              <a:ext cx="566738" cy="428625"/>
            </a:xfrm>
            <a:custGeom>
              <a:avLst/>
              <a:gdLst>
                <a:gd name="T0" fmla="*/ 926 w 1575"/>
                <a:gd name="T1" fmla="*/ 1186 h 1192"/>
                <a:gd name="T2" fmla="*/ 697 w 1575"/>
                <a:gd name="T3" fmla="*/ 1063 h 1192"/>
                <a:gd name="T4" fmla="*/ 432 w 1575"/>
                <a:gd name="T5" fmla="*/ 1005 h 1192"/>
                <a:gd name="T6" fmla="*/ 407 w 1575"/>
                <a:gd name="T7" fmla="*/ 928 h 1192"/>
                <a:gd name="T8" fmla="*/ 323 w 1575"/>
                <a:gd name="T9" fmla="*/ 839 h 1192"/>
                <a:gd name="T10" fmla="*/ 201 w 1575"/>
                <a:gd name="T11" fmla="*/ 954 h 1192"/>
                <a:gd name="T12" fmla="*/ 155 w 1575"/>
                <a:gd name="T13" fmla="*/ 880 h 1192"/>
                <a:gd name="T14" fmla="*/ 139 w 1575"/>
                <a:gd name="T15" fmla="*/ 750 h 1192"/>
                <a:gd name="T16" fmla="*/ 93 w 1575"/>
                <a:gd name="T17" fmla="*/ 512 h 1192"/>
                <a:gd name="T18" fmla="*/ 33 w 1575"/>
                <a:gd name="T19" fmla="*/ 262 h 1192"/>
                <a:gd name="T20" fmla="*/ 0 w 1575"/>
                <a:gd name="T21" fmla="*/ 145 h 1192"/>
                <a:gd name="T22" fmla="*/ 38 w 1575"/>
                <a:gd name="T23" fmla="*/ 91 h 1192"/>
                <a:gd name="T24" fmla="*/ 45 w 1575"/>
                <a:gd name="T25" fmla="*/ 102 h 1192"/>
                <a:gd name="T26" fmla="*/ 121 w 1575"/>
                <a:gd name="T27" fmla="*/ 124 h 1192"/>
                <a:gd name="T28" fmla="*/ 160 w 1575"/>
                <a:gd name="T29" fmla="*/ 106 h 1192"/>
                <a:gd name="T30" fmla="*/ 175 w 1575"/>
                <a:gd name="T31" fmla="*/ 110 h 1192"/>
                <a:gd name="T32" fmla="*/ 394 w 1575"/>
                <a:gd name="T33" fmla="*/ 69 h 1192"/>
                <a:gd name="T34" fmla="*/ 457 w 1575"/>
                <a:gd name="T35" fmla="*/ 46 h 1192"/>
                <a:gd name="T36" fmla="*/ 531 w 1575"/>
                <a:gd name="T37" fmla="*/ 20 h 1192"/>
                <a:gd name="T38" fmla="*/ 582 w 1575"/>
                <a:gd name="T39" fmla="*/ 8 h 1192"/>
                <a:gd name="T40" fmla="*/ 598 w 1575"/>
                <a:gd name="T41" fmla="*/ 46 h 1192"/>
                <a:gd name="T42" fmla="*/ 689 w 1575"/>
                <a:gd name="T43" fmla="*/ 148 h 1192"/>
                <a:gd name="T44" fmla="*/ 692 w 1575"/>
                <a:gd name="T45" fmla="*/ 178 h 1192"/>
                <a:gd name="T46" fmla="*/ 717 w 1575"/>
                <a:gd name="T47" fmla="*/ 229 h 1192"/>
                <a:gd name="T48" fmla="*/ 738 w 1575"/>
                <a:gd name="T49" fmla="*/ 242 h 1192"/>
                <a:gd name="T50" fmla="*/ 755 w 1575"/>
                <a:gd name="T51" fmla="*/ 277 h 1192"/>
                <a:gd name="T52" fmla="*/ 798 w 1575"/>
                <a:gd name="T53" fmla="*/ 305 h 1192"/>
                <a:gd name="T54" fmla="*/ 855 w 1575"/>
                <a:gd name="T55" fmla="*/ 255 h 1192"/>
                <a:gd name="T56" fmla="*/ 931 w 1575"/>
                <a:gd name="T57" fmla="*/ 186 h 1192"/>
                <a:gd name="T58" fmla="*/ 959 w 1575"/>
                <a:gd name="T59" fmla="*/ 181 h 1192"/>
                <a:gd name="T60" fmla="*/ 976 w 1575"/>
                <a:gd name="T61" fmla="*/ 199 h 1192"/>
                <a:gd name="T62" fmla="*/ 1020 w 1575"/>
                <a:gd name="T63" fmla="*/ 183 h 1192"/>
                <a:gd name="T64" fmla="*/ 1051 w 1575"/>
                <a:gd name="T65" fmla="*/ 175 h 1192"/>
                <a:gd name="T66" fmla="*/ 1089 w 1575"/>
                <a:gd name="T67" fmla="*/ 185 h 1192"/>
                <a:gd name="T68" fmla="*/ 1149 w 1575"/>
                <a:gd name="T69" fmla="*/ 166 h 1192"/>
                <a:gd name="T70" fmla="*/ 1192 w 1575"/>
                <a:gd name="T71" fmla="*/ 176 h 1192"/>
                <a:gd name="T72" fmla="*/ 1282 w 1575"/>
                <a:gd name="T73" fmla="*/ 125 h 1192"/>
                <a:gd name="T74" fmla="*/ 1308 w 1575"/>
                <a:gd name="T75" fmla="*/ 110 h 1192"/>
                <a:gd name="T76" fmla="*/ 1350 w 1575"/>
                <a:gd name="T77" fmla="*/ 181 h 1192"/>
                <a:gd name="T78" fmla="*/ 1409 w 1575"/>
                <a:gd name="T79" fmla="*/ 231 h 1192"/>
                <a:gd name="T80" fmla="*/ 1458 w 1575"/>
                <a:gd name="T81" fmla="*/ 288 h 1192"/>
                <a:gd name="T82" fmla="*/ 1516 w 1575"/>
                <a:gd name="T83" fmla="*/ 427 h 1192"/>
                <a:gd name="T84" fmla="*/ 1565 w 1575"/>
                <a:gd name="T85" fmla="*/ 458 h 1192"/>
                <a:gd name="T86" fmla="*/ 1554 w 1575"/>
                <a:gd name="T87" fmla="*/ 481 h 1192"/>
                <a:gd name="T88" fmla="*/ 1544 w 1575"/>
                <a:gd name="T89" fmla="*/ 552 h 1192"/>
                <a:gd name="T90" fmla="*/ 1559 w 1575"/>
                <a:gd name="T91" fmla="*/ 611 h 1192"/>
                <a:gd name="T92" fmla="*/ 1564 w 1575"/>
                <a:gd name="T93" fmla="*/ 687 h 1192"/>
                <a:gd name="T94" fmla="*/ 1477 w 1575"/>
                <a:gd name="T95" fmla="*/ 732 h 1192"/>
                <a:gd name="T96" fmla="*/ 1486 w 1575"/>
                <a:gd name="T97" fmla="*/ 812 h 1192"/>
                <a:gd name="T98" fmla="*/ 1457 w 1575"/>
                <a:gd name="T99" fmla="*/ 834 h 1192"/>
                <a:gd name="T100" fmla="*/ 1402 w 1575"/>
                <a:gd name="T101" fmla="*/ 857 h 1192"/>
                <a:gd name="T102" fmla="*/ 1327 w 1575"/>
                <a:gd name="T103" fmla="*/ 842 h 1192"/>
                <a:gd name="T104" fmla="*/ 1282 w 1575"/>
                <a:gd name="T105" fmla="*/ 908 h 1192"/>
                <a:gd name="T106" fmla="*/ 1216 w 1575"/>
                <a:gd name="T107" fmla="*/ 952 h 1192"/>
                <a:gd name="T108" fmla="*/ 1060 w 1575"/>
                <a:gd name="T109" fmla="*/ 998 h 1192"/>
                <a:gd name="T110" fmla="*/ 987 w 1575"/>
                <a:gd name="T111" fmla="*/ 1010 h 1192"/>
                <a:gd name="T112" fmla="*/ 931 w 1575"/>
                <a:gd name="T113" fmla="*/ 1087 h 1192"/>
                <a:gd name="T114" fmla="*/ 999 w 1575"/>
                <a:gd name="T115" fmla="*/ 1125 h 1192"/>
                <a:gd name="T116" fmla="*/ 997 w 1575"/>
                <a:gd name="T117" fmla="*/ 1181 h 1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75" h="1192">
                  <a:moveTo>
                    <a:pt x="953" y="1188"/>
                  </a:moveTo>
                  <a:cubicBezTo>
                    <a:pt x="944" y="1186"/>
                    <a:pt x="935" y="1186"/>
                    <a:pt x="926" y="1186"/>
                  </a:cubicBezTo>
                  <a:cubicBezTo>
                    <a:pt x="910" y="1135"/>
                    <a:pt x="880" y="1059"/>
                    <a:pt x="808" y="1043"/>
                  </a:cubicBezTo>
                  <a:cubicBezTo>
                    <a:pt x="766" y="1035"/>
                    <a:pt x="732" y="1049"/>
                    <a:pt x="697" y="1063"/>
                  </a:cubicBezTo>
                  <a:cubicBezTo>
                    <a:pt x="669" y="1074"/>
                    <a:pt x="643" y="1084"/>
                    <a:pt x="615" y="1082"/>
                  </a:cubicBezTo>
                  <a:cubicBezTo>
                    <a:pt x="541" y="1076"/>
                    <a:pt x="473" y="1048"/>
                    <a:pt x="432" y="1005"/>
                  </a:cubicBezTo>
                  <a:cubicBezTo>
                    <a:pt x="409" y="980"/>
                    <a:pt x="397" y="967"/>
                    <a:pt x="402" y="944"/>
                  </a:cubicBezTo>
                  <a:cubicBezTo>
                    <a:pt x="404" y="937"/>
                    <a:pt x="406" y="933"/>
                    <a:pt x="407" y="928"/>
                  </a:cubicBezTo>
                  <a:cubicBezTo>
                    <a:pt x="412" y="908"/>
                    <a:pt x="419" y="886"/>
                    <a:pt x="393" y="862"/>
                  </a:cubicBezTo>
                  <a:cubicBezTo>
                    <a:pt x="365" y="837"/>
                    <a:pt x="340" y="835"/>
                    <a:pt x="323" y="839"/>
                  </a:cubicBezTo>
                  <a:cubicBezTo>
                    <a:pt x="300" y="842"/>
                    <a:pt x="279" y="860"/>
                    <a:pt x="266" y="886"/>
                  </a:cubicBezTo>
                  <a:cubicBezTo>
                    <a:pt x="251" y="916"/>
                    <a:pt x="224" y="949"/>
                    <a:pt x="201" y="954"/>
                  </a:cubicBezTo>
                  <a:cubicBezTo>
                    <a:pt x="192" y="956"/>
                    <a:pt x="182" y="951"/>
                    <a:pt x="172" y="941"/>
                  </a:cubicBezTo>
                  <a:cubicBezTo>
                    <a:pt x="159" y="928"/>
                    <a:pt x="157" y="901"/>
                    <a:pt x="155" y="880"/>
                  </a:cubicBezTo>
                  <a:cubicBezTo>
                    <a:pt x="155" y="873"/>
                    <a:pt x="155" y="868"/>
                    <a:pt x="154" y="863"/>
                  </a:cubicBezTo>
                  <a:cubicBezTo>
                    <a:pt x="150" y="824"/>
                    <a:pt x="145" y="786"/>
                    <a:pt x="139" y="750"/>
                  </a:cubicBezTo>
                  <a:cubicBezTo>
                    <a:pt x="131" y="705"/>
                    <a:pt x="122" y="661"/>
                    <a:pt x="112" y="615"/>
                  </a:cubicBezTo>
                  <a:cubicBezTo>
                    <a:pt x="106" y="580"/>
                    <a:pt x="99" y="547"/>
                    <a:pt x="93" y="512"/>
                  </a:cubicBezTo>
                  <a:cubicBezTo>
                    <a:pt x="78" y="432"/>
                    <a:pt x="56" y="349"/>
                    <a:pt x="37" y="272"/>
                  </a:cubicBezTo>
                  <a:lnTo>
                    <a:pt x="33" y="262"/>
                  </a:lnTo>
                  <a:cubicBezTo>
                    <a:pt x="25" y="224"/>
                    <a:pt x="15" y="185"/>
                    <a:pt x="0" y="147"/>
                  </a:cubicBezTo>
                  <a:lnTo>
                    <a:pt x="0" y="145"/>
                  </a:lnTo>
                  <a:cubicBezTo>
                    <a:pt x="5" y="129"/>
                    <a:pt x="24" y="94"/>
                    <a:pt x="33" y="91"/>
                  </a:cubicBezTo>
                  <a:cubicBezTo>
                    <a:pt x="33" y="89"/>
                    <a:pt x="37" y="89"/>
                    <a:pt x="38" y="91"/>
                  </a:cubicBezTo>
                  <a:cubicBezTo>
                    <a:pt x="42" y="91"/>
                    <a:pt x="43" y="92"/>
                    <a:pt x="45" y="94"/>
                  </a:cubicBezTo>
                  <a:cubicBezTo>
                    <a:pt x="45" y="96"/>
                    <a:pt x="45" y="99"/>
                    <a:pt x="45" y="102"/>
                  </a:cubicBezTo>
                  <a:cubicBezTo>
                    <a:pt x="47" y="109"/>
                    <a:pt x="47" y="120"/>
                    <a:pt x="56" y="127"/>
                  </a:cubicBezTo>
                  <a:cubicBezTo>
                    <a:pt x="71" y="142"/>
                    <a:pt x="96" y="140"/>
                    <a:pt x="121" y="124"/>
                  </a:cubicBezTo>
                  <a:lnTo>
                    <a:pt x="127" y="119"/>
                  </a:lnTo>
                  <a:cubicBezTo>
                    <a:pt x="139" y="112"/>
                    <a:pt x="149" y="104"/>
                    <a:pt x="160" y="106"/>
                  </a:cubicBezTo>
                  <a:cubicBezTo>
                    <a:pt x="164" y="106"/>
                    <a:pt x="168" y="107"/>
                    <a:pt x="173" y="109"/>
                  </a:cubicBezTo>
                  <a:lnTo>
                    <a:pt x="175" y="110"/>
                  </a:lnTo>
                  <a:cubicBezTo>
                    <a:pt x="239" y="137"/>
                    <a:pt x="322" y="122"/>
                    <a:pt x="389" y="73"/>
                  </a:cubicBezTo>
                  <a:lnTo>
                    <a:pt x="394" y="69"/>
                  </a:lnTo>
                  <a:cubicBezTo>
                    <a:pt x="401" y="64"/>
                    <a:pt x="407" y="59"/>
                    <a:pt x="414" y="56"/>
                  </a:cubicBezTo>
                  <a:cubicBezTo>
                    <a:pt x="427" y="49"/>
                    <a:pt x="442" y="48"/>
                    <a:pt x="457" y="46"/>
                  </a:cubicBezTo>
                  <a:cubicBezTo>
                    <a:pt x="473" y="45"/>
                    <a:pt x="490" y="43"/>
                    <a:pt x="506" y="36"/>
                  </a:cubicBezTo>
                  <a:cubicBezTo>
                    <a:pt x="516" y="31"/>
                    <a:pt x="523" y="26"/>
                    <a:pt x="531" y="20"/>
                  </a:cubicBezTo>
                  <a:cubicBezTo>
                    <a:pt x="538" y="17"/>
                    <a:pt x="542" y="12"/>
                    <a:pt x="549" y="10"/>
                  </a:cubicBezTo>
                  <a:cubicBezTo>
                    <a:pt x="559" y="5"/>
                    <a:pt x="574" y="0"/>
                    <a:pt x="582" y="8"/>
                  </a:cubicBezTo>
                  <a:cubicBezTo>
                    <a:pt x="589" y="12"/>
                    <a:pt x="590" y="21"/>
                    <a:pt x="594" y="31"/>
                  </a:cubicBezTo>
                  <a:cubicBezTo>
                    <a:pt x="595" y="36"/>
                    <a:pt x="597" y="41"/>
                    <a:pt x="598" y="46"/>
                  </a:cubicBezTo>
                  <a:cubicBezTo>
                    <a:pt x="610" y="71"/>
                    <a:pt x="628" y="86"/>
                    <a:pt x="648" y="101"/>
                  </a:cubicBezTo>
                  <a:cubicBezTo>
                    <a:pt x="666" y="115"/>
                    <a:pt x="682" y="129"/>
                    <a:pt x="689" y="148"/>
                  </a:cubicBezTo>
                  <a:cubicBezTo>
                    <a:pt x="691" y="155"/>
                    <a:pt x="694" y="163"/>
                    <a:pt x="694" y="171"/>
                  </a:cubicBezTo>
                  <a:cubicBezTo>
                    <a:pt x="694" y="173"/>
                    <a:pt x="692" y="176"/>
                    <a:pt x="692" y="178"/>
                  </a:cubicBezTo>
                  <a:cubicBezTo>
                    <a:pt x="691" y="185"/>
                    <a:pt x="691" y="190"/>
                    <a:pt x="692" y="198"/>
                  </a:cubicBezTo>
                  <a:cubicBezTo>
                    <a:pt x="694" y="209"/>
                    <a:pt x="702" y="221"/>
                    <a:pt x="717" y="229"/>
                  </a:cubicBezTo>
                  <a:lnTo>
                    <a:pt x="724" y="232"/>
                  </a:lnTo>
                  <a:cubicBezTo>
                    <a:pt x="730" y="236"/>
                    <a:pt x="735" y="239"/>
                    <a:pt x="738" y="242"/>
                  </a:cubicBezTo>
                  <a:cubicBezTo>
                    <a:pt x="742" y="246"/>
                    <a:pt x="745" y="252"/>
                    <a:pt x="747" y="259"/>
                  </a:cubicBezTo>
                  <a:cubicBezTo>
                    <a:pt x="748" y="264"/>
                    <a:pt x="752" y="270"/>
                    <a:pt x="755" y="277"/>
                  </a:cubicBezTo>
                  <a:cubicBezTo>
                    <a:pt x="763" y="288"/>
                    <a:pt x="781" y="303"/>
                    <a:pt x="798" y="305"/>
                  </a:cubicBezTo>
                  <a:lnTo>
                    <a:pt x="798" y="305"/>
                  </a:lnTo>
                  <a:cubicBezTo>
                    <a:pt x="813" y="306"/>
                    <a:pt x="829" y="295"/>
                    <a:pt x="844" y="274"/>
                  </a:cubicBezTo>
                  <a:cubicBezTo>
                    <a:pt x="847" y="267"/>
                    <a:pt x="852" y="260"/>
                    <a:pt x="855" y="255"/>
                  </a:cubicBezTo>
                  <a:cubicBezTo>
                    <a:pt x="859" y="247"/>
                    <a:pt x="862" y="241"/>
                    <a:pt x="869" y="234"/>
                  </a:cubicBezTo>
                  <a:cubicBezTo>
                    <a:pt x="883" y="213"/>
                    <a:pt x="908" y="199"/>
                    <a:pt x="931" y="186"/>
                  </a:cubicBezTo>
                  <a:cubicBezTo>
                    <a:pt x="938" y="183"/>
                    <a:pt x="944" y="180"/>
                    <a:pt x="949" y="180"/>
                  </a:cubicBezTo>
                  <a:cubicBezTo>
                    <a:pt x="954" y="178"/>
                    <a:pt x="958" y="180"/>
                    <a:pt x="959" y="181"/>
                  </a:cubicBezTo>
                  <a:cubicBezTo>
                    <a:pt x="961" y="183"/>
                    <a:pt x="963" y="183"/>
                    <a:pt x="963" y="186"/>
                  </a:cubicBezTo>
                  <a:cubicBezTo>
                    <a:pt x="966" y="190"/>
                    <a:pt x="969" y="196"/>
                    <a:pt x="976" y="199"/>
                  </a:cubicBezTo>
                  <a:cubicBezTo>
                    <a:pt x="989" y="208"/>
                    <a:pt x="1004" y="201"/>
                    <a:pt x="1014" y="190"/>
                  </a:cubicBezTo>
                  <a:cubicBezTo>
                    <a:pt x="1017" y="188"/>
                    <a:pt x="1019" y="186"/>
                    <a:pt x="1020" y="183"/>
                  </a:cubicBezTo>
                  <a:cubicBezTo>
                    <a:pt x="1023" y="180"/>
                    <a:pt x="1025" y="176"/>
                    <a:pt x="1028" y="175"/>
                  </a:cubicBezTo>
                  <a:cubicBezTo>
                    <a:pt x="1035" y="170"/>
                    <a:pt x="1043" y="173"/>
                    <a:pt x="1051" y="175"/>
                  </a:cubicBezTo>
                  <a:lnTo>
                    <a:pt x="1058" y="176"/>
                  </a:lnTo>
                  <a:cubicBezTo>
                    <a:pt x="1066" y="180"/>
                    <a:pt x="1078" y="185"/>
                    <a:pt x="1089" y="185"/>
                  </a:cubicBezTo>
                  <a:cubicBezTo>
                    <a:pt x="1103" y="183"/>
                    <a:pt x="1114" y="179"/>
                    <a:pt x="1124" y="175"/>
                  </a:cubicBezTo>
                  <a:cubicBezTo>
                    <a:pt x="1134" y="171"/>
                    <a:pt x="1142" y="166"/>
                    <a:pt x="1149" y="166"/>
                  </a:cubicBezTo>
                  <a:cubicBezTo>
                    <a:pt x="1154" y="168"/>
                    <a:pt x="1159" y="170"/>
                    <a:pt x="1164" y="171"/>
                  </a:cubicBezTo>
                  <a:cubicBezTo>
                    <a:pt x="1172" y="175"/>
                    <a:pt x="1180" y="178"/>
                    <a:pt x="1192" y="176"/>
                  </a:cubicBezTo>
                  <a:cubicBezTo>
                    <a:pt x="1201" y="176"/>
                    <a:pt x="1211" y="170"/>
                    <a:pt x="1218" y="166"/>
                  </a:cubicBezTo>
                  <a:lnTo>
                    <a:pt x="1282" y="125"/>
                  </a:lnTo>
                  <a:cubicBezTo>
                    <a:pt x="1289" y="120"/>
                    <a:pt x="1299" y="115"/>
                    <a:pt x="1305" y="107"/>
                  </a:cubicBezTo>
                  <a:cubicBezTo>
                    <a:pt x="1307" y="109"/>
                    <a:pt x="1307" y="109"/>
                    <a:pt x="1308" y="110"/>
                  </a:cubicBezTo>
                  <a:cubicBezTo>
                    <a:pt x="1317" y="119"/>
                    <a:pt x="1322" y="130"/>
                    <a:pt x="1327" y="142"/>
                  </a:cubicBezTo>
                  <a:cubicBezTo>
                    <a:pt x="1332" y="155"/>
                    <a:pt x="1338" y="170"/>
                    <a:pt x="1350" y="181"/>
                  </a:cubicBezTo>
                  <a:cubicBezTo>
                    <a:pt x="1360" y="191"/>
                    <a:pt x="1369" y="198"/>
                    <a:pt x="1379" y="204"/>
                  </a:cubicBezTo>
                  <a:cubicBezTo>
                    <a:pt x="1391" y="213"/>
                    <a:pt x="1401" y="219"/>
                    <a:pt x="1409" y="231"/>
                  </a:cubicBezTo>
                  <a:cubicBezTo>
                    <a:pt x="1419" y="242"/>
                    <a:pt x="1429" y="255"/>
                    <a:pt x="1439" y="267"/>
                  </a:cubicBezTo>
                  <a:cubicBezTo>
                    <a:pt x="1445" y="274"/>
                    <a:pt x="1452" y="282"/>
                    <a:pt x="1458" y="288"/>
                  </a:cubicBezTo>
                  <a:cubicBezTo>
                    <a:pt x="1475" y="310"/>
                    <a:pt x="1483" y="334"/>
                    <a:pt x="1491" y="361"/>
                  </a:cubicBezTo>
                  <a:cubicBezTo>
                    <a:pt x="1496" y="382"/>
                    <a:pt x="1503" y="407"/>
                    <a:pt x="1516" y="427"/>
                  </a:cubicBezTo>
                  <a:cubicBezTo>
                    <a:pt x="1526" y="445"/>
                    <a:pt x="1531" y="448"/>
                    <a:pt x="1547" y="455"/>
                  </a:cubicBezTo>
                  <a:cubicBezTo>
                    <a:pt x="1554" y="458"/>
                    <a:pt x="1561" y="458"/>
                    <a:pt x="1565" y="458"/>
                  </a:cubicBezTo>
                  <a:cubicBezTo>
                    <a:pt x="1567" y="458"/>
                    <a:pt x="1570" y="460"/>
                    <a:pt x="1572" y="461"/>
                  </a:cubicBezTo>
                  <a:cubicBezTo>
                    <a:pt x="1574" y="466"/>
                    <a:pt x="1565" y="473"/>
                    <a:pt x="1554" y="481"/>
                  </a:cubicBezTo>
                  <a:cubicBezTo>
                    <a:pt x="1546" y="486"/>
                    <a:pt x="1537" y="493"/>
                    <a:pt x="1534" y="501"/>
                  </a:cubicBezTo>
                  <a:cubicBezTo>
                    <a:pt x="1519" y="526"/>
                    <a:pt x="1534" y="540"/>
                    <a:pt x="1544" y="552"/>
                  </a:cubicBezTo>
                  <a:cubicBezTo>
                    <a:pt x="1546" y="555"/>
                    <a:pt x="1551" y="560"/>
                    <a:pt x="1552" y="563"/>
                  </a:cubicBezTo>
                  <a:cubicBezTo>
                    <a:pt x="1564" y="580"/>
                    <a:pt x="1564" y="588"/>
                    <a:pt x="1559" y="611"/>
                  </a:cubicBezTo>
                  <a:cubicBezTo>
                    <a:pt x="1554" y="636"/>
                    <a:pt x="1556" y="662"/>
                    <a:pt x="1564" y="687"/>
                  </a:cubicBezTo>
                  <a:lnTo>
                    <a:pt x="1564" y="687"/>
                  </a:lnTo>
                  <a:lnTo>
                    <a:pt x="1556" y="687"/>
                  </a:lnTo>
                  <a:cubicBezTo>
                    <a:pt x="1529" y="692"/>
                    <a:pt x="1491" y="697"/>
                    <a:pt x="1477" y="732"/>
                  </a:cubicBezTo>
                  <a:cubicBezTo>
                    <a:pt x="1467" y="751"/>
                    <a:pt x="1475" y="769"/>
                    <a:pt x="1480" y="783"/>
                  </a:cubicBezTo>
                  <a:cubicBezTo>
                    <a:pt x="1483" y="794"/>
                    <a:pt x="1486" y="802"/>
                    <a:pt x="1486" y="812"/>
                  </a:cubicBezTo>
                  <a:cubicBezTo>
                    <a:pt x="1483" y="829"/>
                    <a:pt x="1483" y="829"/>
                    <a:pt x="1468" y="832"/>
                  </a:cubicBezTo>
                  <a:cubicBezTo>
                    <a:pt x="1465" y="832"/>
                    <a:pt x="1462" y="832"/>
                    <a:pt x="1457" y="834"/>
                  </a:cubicBezTo>
                  <a:cubicBezTo>
                    <a:pt x="1447" y="837"/>
                    <a:pt x="1439" y="842"/>
                    <a:pt x="1430" y="847"/>
                  </a:cubicBezTo>
                  <a:cubicBezTo>
                    <a:pt x="1421" y="853"/>
                    <a:pt x="1411" y="858"/>
                    <a:pt x="1402" y="857"/>
                  </a:cubicBezTo>
                  <a:cubicBezTo>
                    <a:pt x="1396" y="855"/>
                    <a:pt x="1391" y="848"/>
                    <a:pt x="1386" y="844"/>
                  </a:cubicBezTo>
                  <a:cubicBezTo>
                    <a:pt x="1373" y="829"/>
                    <a:pt x="1358" y="816"/>
                    <a:pt x="1327" y="842"/>
                  </a:cubicBezTo>
                  <a:cubicBezTo>
                    <a:pt x="1313" y="853"/>
                    <a:pt x="1307" y="868"/>
                    <a:pt x="1300" y="881"/>
                  </a:cubicBezTo>
                  <a:cubicBezTo>
                    <a:pt x="1295" y="891"/>
                    <a:pt x="1290" y="901"/>
                    <a:pt x="1282" y="908"/>
                  </a:cubicBezTo>
                  <a:cubicBezTo>
                    <a:pt x="1274" y="916"/>
                    <a:pt x="1259" y="924"/>
                    <a:pt x="1244" y="933"/>
                  </a:cubicBezTo>
                  <a:cubicBezTo>
                    <a:pt x="1234" y="939"/>
                    <a:pt x="1224" y="946"/>
                    <a:pt x="1216" y="952"/>
                  </a:cubicBezTo>
                  <a:cubicBezTo>
                    <a:pt x="1193" y="967"/>
                    <a:pt x="1167" y="972"/>
                    <a:pt x="1139" y="977"/>
                  </a:cubicBezTo>
                  <a:cubicBezTo>
                    <a:pt x="1112" y="980"/>
                    <a:pt x="1086" y="985"/>
                    <a:pt x="1060" y="998"/>
                  </a:cubicBezTo>
                  <a:cubicBezTo>
                    <a:pt x="1045" y="1008"/>
                    <a:pt x="1035" y="1008"/>
                    <a:pt x="1019" y="1007"/>
                  </a:cubicBezTo>
                  <a:cubicBezTo>
                    <a:pt x="1010" y="1007"/>
                    <a:pt x="1000" y="1007"/>
                    <a:pt x="987" y="1010"/>
                  </a:cubicBezTo>
                  <a:cubicBezTo>
                    <a:pt x="966" y="1013"/>
                    <a:pt x="939" y="1025"/>
                    <a:pt x="930" y="1046"/>
                  </a:cubicBezTo>
                  <a:cubicBezTo>
                    <a:pt x="925" y="1056"/>
                    <a:pt x="921" y="1069"/>
                    <a:pt x="931" y="1087"/>
                  </a:cubicBezTo>
                  <a:cubicBezTo>
                    <a:pt x="941" y="1105"/>
                    <a:pt x="959" y="1110"/>
                    <a:pt x="976" y="1115"/>
                  </a:cubicBezTo>
                  <a:cubicBezTo>
                    <a:pt x="984" y="1119"/>
                    <a:pt x="992" y="1122"/>
                    <a:pt x="999" y="1125"/>
                  </a:cubicBezTo>
                  <a:cubicBezTo>
                    <a:pt x="1005" y="1132"/>
                    <a:pt x="1010" y="1140"/>
                    <a:pt x="1010" y="1152"/>
                  </a:cubicBezTo>
                  <a:cubicBezTo>
                    <a:pt x="1012" y="1163"/>
                    <a:pt x="1005" y="1175"/>
                    <a:pt x="997" y="1181"/>
                  </a:cubicBezTo>
                  <a:cubicBezTo>
                    <a:pt x="987" y="1191"/>
                    <a:pt x="971" y="1190"/>
                    <a:pt x="953" y="118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0" name="Freeform 66">
              <a:extLst>
                <a:ext uri="{FF2B5EF4-FFF2-40B4-BE49-F238E27FC236}">
                  <a16:creationId xmlns:a16="http://schemas.microsoft.com/office/drawing/2014/main" id="{BE67C72F-1956-CC4B-BCD3-DFB13781C8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0175" y="2359025"/>
              <a:ext cx="1033463" cy="1333500"/>
            </a:xfrm>
            <a:custGeom>
              <a:avLst/>
              <a:gdLst>
                <a:gd name="T0" fmla="*/ 1053 w 2869"/>
                <a:gd name="T1" fmla="*/ 1112 h 3704"/>
                <a:gd name="T2" fmla="*/ 1257 w 2869"/>
                <a:gd name="T3" fmla="*/ 1186 h 3704"/>
                <a:gd name="T4" fmla="*/ 1180 w 2869"/>
                <a:gd name="T5" fmla="*/ 884 h 3704"/>
                <a:gd name="T6" fmla="*/ 1280 w 2869"/>
                <a:gd name="T7" fmla="*/ 663 h 3704"/>
                <a:gd name="T8" fmla="*/ 1315 w 2869"/>
                <a:gd name="T9" fmla="*/ 462 h 3704"/>
                <a:gd name="T10" fmla="*/ 1713 w 2869"/>
                <a:gd name="T11" fmla="*/ 97 h 3704"/>
                <a:gd name="T12" fmla="*/ 2068 w 2869"/>
                <a:gd name="T13" fmla="*/ 169 h 3704"/>
                <a:gd name="T14" fmla="*/ 1830 w 2869"/>
                <a:gd name="T15" fmla="*/ 856 h 3704"/>
                <a:gd name="T16" fmla="*/ 1656 w 2869"/>
                <a:gd name="T17" fmla="*/ 1360 h 3704"/>
                <a:gd name="T18" fmla="*/ 1453 w 2869"/>
                <a:gd name="T19" fmla="*/ 1759 h 3704"/>
                <a:gd name="T20" fmla="*/ 1038 w 2869"/>
                <a:gd name="T21" fmla="*/ 1797 h 3704"/>
                <a:gd name="T22" fmla="*/ 1140 w 2869"/>
                <a:gd name="T23" fmla="*/ 1988 h 3704"/>
                <a:gd name="T24" fmla="*/ 1616 w 2869"/>
                <a:gd name="T25" fmla="*/ 1871 h 3704"/>
                <a:gd name="T26" fmla="*/ 1797 w 2869"/>
                <a:gd name="T27" fmla="*/ 1497 h 3704"/>
                <a:gd name="T28" fmla="*/ 2096 w 2869"/>
                <a:gd name="T29" fmla="*/ 1576 h 3704"/>
                <a:gd name="T30" fmla="*/ 2163 w 2869"/>
                <a:gd name="T31" fmla="*/ 1906 h 3704"/>
                <a:gd name="T32" fmla="*/ 2120 w 2869"/>
                <a:gd name="T33" fmla="*/ 1438 h 3704"/>
                <a:gd name="T34" fmla="*/ 1824 w 2869"/>
                <a:gd name="T35" fmla="*/ 1123 h 3704"/>
                <a:gd name="T36" fmla="*/ 1987 w 2869"/>
                <a:gd name="T37" fmla="*/ 667 h 3704"/>
                <a:gd name="T38" fmla="*/ 2247 w 2869"/>
                <a:gd name="T39" fmla="*/ 349 h 3704"/>
                <a:gd name="T40" fmla="*/ 2280 w 2869"/>
                <a:gd name="T41" fmla="*/ 439 h 3704"/>
                <a:gd name="T42" fmla="*/ 2305 w 2869"/>
                <a:gd name="T43" fmla="*/ 817 h 3704"/>
                <a:gd name="T44" fmla="*/ 2442 w 2869"/>
                <a:gd name="T45" fmla="*/ 901 h 3704"/>
                <a:gd name="T46" fmla="*/ 2438 w 2869"/>
                <a:gd name="T47" fmla="*/ 606 h 3704"/>
                <a:gd name="T48" fmla="*/ 2651 w 2869"/>
                <a:gd name="T49" fmla="*/ 624 h 3704"/>
                <a:gd name="T50" fmla="*/ 2618 w 2869"/>
                <a:gd name="T51" fmla="*/ 911 h 3704"/>
                <a:gd name="T52" fmla="*/ 2446 w 2869"/>
                <a:gd name="T53" fmla="*/ 1392 h 3704"/>
                <a:gd name="T54" fmla="*/ 2672 w 2869"/>
                <a:gd name="T55" fmla="*/ 1525 h 3704"/>
                <a:gd name="T56" fmla="*/ 2712 w 2869"/>
                <a:gd name="T57" fmla="*/ 1621 h 3704"/>
                <a:gd name="T58" fmla="*/ 2697 w 2869"/>
                <a:gd name="T59" fmla="*/ 1802 h 3704"/>
                <a:gd name="T60" fmla="*/ 2641 w 2869"/>
                <a:gd name="T61" fmla="*/ 1909 h 3704"/>
                <a:gd name="T62" fmla="*/ 2583 w 2869"/>
                <a:gd name="T63" fmla="*/ 2200 h 3704"/>
                <a:gd name="T64" fmla="*/ 2638 w 2869"/>
                <a:gd name="T65" fmla="*/ 2449 h 3704"/>
                <a:gd name="T66" fmla="*/ 2722 w 2869"/>
                <a:gd name="T67" fmla="*/ 2813 h 3704"/>
                <a:gd name="T68" fmla="*/ 2812 w 2869"/>
                <a:gd name="T69" fmla="*/ 2985 h 3704"/>
                <a:gd name="T70" fmla="*/ 2842 w 2869"/>
                <a:gd name="T71" fmla="*/ 3189 h 3704"/>
                <a:gd name="T72" fmla="*/ 2743 w 2869"/>
                <a:gd name="T73" fmla="*/ 3449 h 3704"/>
                <a:gd name="T74" fmla="*/ 2611 w 2869"/>
                <a:gd name="T75" fmla="*/ 3653 h 3704"/>
                <a:gd name="T76" fmla="*/ 2453 w 2869"/>
                <a:gd name="T77" fmla="*/ 3609 h 3704"/>
                <a:gd name="T78" fmla="*/ 2166 w 2869"/>
                <a:gd name="T79" fmla="*/ 3416 h 3704"/>
                <a:gd name="T80" fmla="*/ 1883 w 2869"/>
                <a:gd name="T81" fmla="*/ 3443 h 3704"/>
                <a:gd name="T82" fmla="*/ 1484 w 2869"/>
                <a:gd name="T83" fmla="*/ 3195 h 3704"/>
                <a:gd name="T84" fmla="*/ 1173 w 2869"/>
                <a:gd name="T85" fmla="*/ 3042 h 3704"/>
                <a:gd name="T86" fmla="*/ 944 w 2869"/>
                <a:gd name="T87" fmla="*/ 2886 h 3704"/>
                <a:gd name="T88" fmla="*/ 850 w 2869"/>
                <a:gd name="T89" fmla="*/ 2532 h 3704"/>
                <a:gd name="T90" fmla="*/ 644 w 2869"/>
                <a:gd name="T91" fmla="*/ 2481 h 3704"/>
                <a:gd name="T92" fmla="*/ 458 w 2869"/>
                <a:gd name="T93" fmla="*/ 2372 h 3704"/>
                <a:gd name="T94" fmla="*/ 173 w 2869"/>
                <a:gd name="T95" fmla="*/ 2210 h 3704"/>
                <a:gd name="T96" fmla="*/ 0 w 2869"/>
                <a:gd name="T97" fmla="*/ 2077 h 3704"/>
                <a:gd name="T98" fmla="*/ 112 w 2869"/>
                <a:gd name="T99" fmla="*/ 1886 h 3704"/>
                <a:gd name="T100" fmla="*/ 255 w 2869"/>
                <a:gd name="T101" fmla="*/ 1670 h 3704"/>
                <a:gd name="T102" fmla="*/ 641 w 2869"/>
                <a:gd name="T103" fmla="*/ 1520 h 3704"/>
                <a:gd name="T104" fmla="*/ 825 w 2869"/>
                <a:gd name="T105" fmla="*/ 1390 h 3704"/>
                <a:gd name="T106" fmla="*/ 834 w 2869"/>
                <a:gd name="T107" fmla="*/ 1191 h 3704"/>
                <a:gd name="T108" fmla="*/ 837 w 2869"/>
                <a:gd name="T109" fmla="*/ 962 h 3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69" h="3704">
                  <a:moveTo>
                    <a:pt x="896" y="919"/>
                  </a:moveTo>
                  <a:cubicBezTo>
                    <a:pt x="903" y="915"/>
                    <a:pt x="909" y="911"/>
                    <a:pt x="916" y="907"/>
                  </a:cubicBezTo>
                  <a:cubicBezTo>
                    <a:pt x="921" y="912"/>
                    <a:pt x="928" y="917"/>
                    <a:pt x="933" y="922"/>
                  </a:cubicBezTo>
                  <a:cubicBezTo>
                    <a:pt x="947" y="937"/>
                    <a:pt x="961" y="952"/>
                    <a:pt x="967" y="971"/>
                  </a:cubicBezTo>
                  <a:cubicBezTo>
                    <a:pt x="979" y="995"/>
                    <a:pt x="985" y="1016"/>
                    <a:pt x="1002" y="1041"/>
                  </a:cubicBezTo>
                  <a:cubicBezTo>
                    <a:pt x="1021" y="1064"/>
                    <a:pt x="1045" y="1082"/>
                    <a:pt x="1053" y="1112"/>
                  </a:cubicBezTo>
                  <a:cubicBezTo>
                    <a:pt x="1059" y="1148"/>
                    <a:pt x="1061" y="1182"/>
                    <a:pt x="1074" y="1219"/>
                  </a:cubicBezTo>
                  <a:cubicBezTo>
                    <a:pt x="1084" y="1240"/>
                    <a:pt x="1107" y="1256"/>
                    <a:pt x="1109" y="1280"/>
                  </a:cubicBezTo>
                  <a:cubicBezTo>
                    <a:pt x="1109" y="1294"/>
                    <a:pt x="1096" y="1304"/>
                    <a:pt x="1107" y="1321"/>
                  </a:cubicBezTo>
                  <a:cubicBezTo>
                    <a:pt x="1115" y="1332"/>
                    <a:pt x="1127" y="1334"/>
                    <a:pt x="1140" y="1327"/>
                  </a:cubicBezTo>
                  <a:cubicBezTo>
                    <a:pt x="1162" y="1316"/>
                    <a:pt x="1181" y="1280"/>
                    <a:pt x="1199" y="1263"/>
                  </a:cubicBezTo>
                  <a:cubicBezTo>
                    <a:pt x="1224" y="1240"/>
                    <a:pt x="1246" y="1219"/>
                    <a:pt x="1257" y="1186"/>
                  </a:cubicBezTo>
                  <a:cubicBezTo>
                    <a:pt x="1274" y="1143"/>
                    <a:pt x="1239" y="1163"/>
                    <a:pt x="1221" y="1140"/>
                  </a:cubicBezTo>
                  <a:cubicBezTo>
                    <a:pt x="1208" y="1123"/>
                    <a:pt x="1211" y="1079"/>
                    <a:pt x="1213" y="1059"/>
                  </a:cubicBezTo>
                  <a:cubicBezTo>
                    <a:pt x="1213" y="1044"/>
                    <a:pt x="1213" y="1026"/>
                    <a:pt x="1219" y="1013"/>
                  </a:cubicBezTo>
                  <a:cubicBezTo>
                    <a:pt x="1224" y="1001"/>
                    <a:pt x="1239" y="995"/>
                    <a:pt x="1242" y="986"/>
                  </a:cubicBezTo>
                  <a:cubicBezTo>
                    <a:pt x="1252" y="965"/>
                    <a:pt x="1232" y="950"/>
                    <a:pt x="1218" y="934"/>
                  </a:cubicBezTo>
                  <a:cubicBezTo>
                    <a:pt x="1203" y="919"/>
                    <a:pt x="1193" y="897"/>
                    <a:pt x="1180" y="884"/>
                  </a:cubicBezTo>
                  <a:cubicBezTo>
                    <a:pt x="1157" y="861"/>
                    <a:pt x="1138" y="897"/>
                    <a:pt x="1124" y="883"/>
                  </a:cubicBezTo>
                  <a:cubicBezTo>
                    <a:pt x="1112" y="871"/>
                    <a:pt x="1127" y="843"/>
                    <a:pt x="1132" y="831"/>
                  </a:cubicBezTo>
                  <a:cubicBezTo>
                    <a:pt x="1142" y="813"/>
                    <a:pt x="1162" y="784"/>
                    <a:pt x="1181" y="774"/>
                  </a:cubicBezTo>
                  <a:cubicBezTo>
                    <a:pt x="1211" y="762"/>
                    <a:pt x="1231" y="780"/>
                    <a:pt x="1241" y="739"/>
                  </a:cubicBezTo>
                  <a:cubicBezTo>
                    <a:pt x="1246" y="719"/>
                    <a:pt x="1242" y="705"/>
                    <a:pt x="1254" y="688"/>
                  </a:cubicBezTo>
                  <a:cubicBezTo>
                    <a:pt x="1262" y="678"/>
                    <a:pt x="1274" y="673"/>
                    <a:pt x="1280" y="663"/>
                  </a:cubicBezTo>
                  <a:cubicBezTo>
                    <a:pt x="1288" y="650"/>
                    <a:pt x="1290" y="634"/>
                    <a:pt x="1297" y="621"/>
                  </a:cubicBezTo>
                  <a:cubicBezTo>
                    <a:pt x="1303" y="606"/>
                    <a:pt x="1315" y="599"/>
                    <a:pt x="1323" y="588"/>
                  </a:cubicBezTo>
                  <a:cubicBezTo>
                    <a:pt x="1334" y="571"/>
                    <a:pt x="1331" y="583"/>
                    <a:pt x="1328" y="566"/>
                  </a:cubicBezTo>
                  <a:cubicBezTo>
                    <a:pt x="1328" y="566"/>
                    <a:pt x="1318" y="542"/>
                    <a:pt x="1318" y="538"/>
                  </a:cubicBezTo>
                  <a:cubicBezTo>
                    <a:pt x="1305" y="528"/>
                    <a:pt x="1274" y="545"/>
                    <a:pt x="1277" y="515"/>
                  </a:cubicBezTo>
                  <a:cubicBezTo>
                    <a:pt x="1277" y="499"/>
                    <a:pt x="1310" y="481"/>
                    <a:pt x="1315" y="462"/>
                  </a:cubicBezTo>
                  <a:cubicBezTo>
                    <a:pt x="1320" y="449"/>
                    <a:pt x="1313" y="444"/>
                    <a:pt x="1325" y="431"/>
                  </a:cubicBezTo>
                  <a:cubicBezTo>
                    <a:pt x="1331" y="421"/>
                    <a:pt x="1348" y="410"/>
                    <a:pt x="1359" y="405"/>
                  </a:cubicBezTo>
                  <a:cubicBezTo>
                    <a:pt x="1386" y="392"/>
                    <a:pt x="1419" y="393"/>
                    <a:pt x="1447" y="383"/>
                  </a:cubicBezTo>
                  <a:cubicBezTo>
                    <a:pt x="1479" y="373"/>
                    <a:pt x="1516" y="360"/>
                    <a:pt x="1542" y="339"/>
                  </a:cubicBezTo>
                  <a:cubicBezTo>
                    <a:pt x="1588" y="299"/>
                    <a:pt x="1629" y="233"/>
                    <a:pt x="1661" y="184"/>
                  </a:cubicBezTo>
                  <a:cubicBezTo>
                    <a:pt x="1677" y="154"/>
                    <a:pt x="1700" y="128"/>
                    <a:pt x="1713" y="97"/>
                  </a:cubicBezTo>
                  <a:cubicBezTo>
                    <a:pt x="1727" y="67"/>
                    <a:pt x="1736" y="64"/>
                    <a:pt x="1761" y="47"/>
                  </a:cubicBezTo>
                  <a:cubicBezTo>
                    <a:pt x="1778" y="37"/>
                    <a:pt x="1789" y="1"/>
                    <a:pt x="1807" y="1"/>
                  </a:cubicBezTo>
                  <a:cubicBezTo>
                    <a:pt x="1824" y="0"/>
                    <a:pt x="1845" y="39"/>
                    <a:pt x="1858" y="47"/>
                  </a:cubicBezTo>
                  <a:cubicBezTo>
                    <a:pt x="1893" y="69"/>
                    <a:pt x="1934" y="65"/>
                    <a:pt x="1967" y="84"/>
                  </a:cubicBezTo>
                  <a:cubicBezTo>
                    <a:pt x="1987" y="93"/>
                    <a:pt x="1989" y="113"/>
                    <a:pt x="2003" y="128"/>
                  </a:cubicBezTo>
                  <a:cubicBezTo>
                    <a:pt x="2021" y="148"/>
                    <a:pt x="2053" y="144"/>
                    <a:pt x="2068" y="169"/>
                  </a:cubicBezTo>
                  <a:cubicBezTo>
                    <a:pt x="2084" y="196"/>
                    <a:pt x="2064" y="228"/>
                    <a:pt x="2056" y="255"/>
                  </a:cubicBezTo>
                  <a:cubicBezTo>
                    <a:pt x="2040" y="321"/>
                    <a:pt x="2010" y="383"/>
                    <a:pt x="1959" y="429"/>
                  </a:cubicBezTo>
                  <a:cubicBezTo>
                    <a:pt x="1939" y="446"/>
                    <a:pt x="1932" y="469"/>
                    <a:pt x="1914" y="487"/>
                  </a:cubicBezTo>
                  <a:cubicBezTo>
                    <a:pt x="1900" y="504"/>
                    <a:pt x="1876" y="512"/>
                    <a:pt x="1862" y="530"/>
                  </a:cubicBezTo>
                  <a:cubicBezTo>
                    <a:pt x="1817" y="584"/>
                    <a:pt x="1888" y="621"/>
                    <a:pt x="1883" y="675"/>
                  </a:cubicBezTo>
                  <a:cubicBezTo>
                    <a:pt x="1878" y="738"/>
                    <a:pt x="1863" y="800"/>
                    <a:pt x="1830" y="856"/>
                  </a:cubicBezTo>
                  <a:cubicBezTo>
                    <a:pt x="1817" y="879"/>
                    <a:pt x="1789" y="891"/>
                    <a:pt x="1778" y="915"/>
                  </a:cubicBezTo>
                  <a:cubicBezTo>
                    <a:pt x="1766" y="942"/>
                    <a:pt x="1764" y="976"/>
                    <a:pt x="1760" y="1003"/>
                  </a:cubicBezTo>
                  <a:cubicBezTo>
                    <a:pt x="1753" y="1042"/>
                    <a:pt x="1738" y="1077"/>
                    <a:pt x="1722" y="1113"/>
                  </a:cubicBezTo>
                  <a:cubicBezTo>
                    <a:pt x="1710" y="1141"/>
                    <a:pt x="1703" y="1177"/>
                    <a:pt x="1687" y="1202"/>
                  </a:cubicBezTo>
                  <a:cubicBezTo>
                    <a:pt x="1671" y="1228"/>
                    <a:pt x="1644" y="1238"/>
                    <a:pt x="1638" y="1270"/>
                  </a:cubicBezTo>
                  <a:cubicBezTo>
                    <a:pt x="1633" y="1299"/>
                    <a:pt x="1643" y="1334"/>
                    <a:pt x="1656" y="1360"/>
                  </a:cubicBezTo>
                  <a:cubicBezTo>
                    <a:pt x="1682" y="1410"/>
                    <a:pt x="1732" y="1451"/>
                    <a:pt x="1679" y="1500"/>
                  </a:cubicBezTo>
                  <a:cubicBezTo>
                    <a:pt x="1652" y="1523"/>
                    <a:pt x="1619" y="1541"/>
                    <a:pt x="1606" y="1576"/>
                  </a:cubicBezTo>
                  <a:cubicBezTo>
                    <a:pt x="1595" y="1604"/>
                    <a:pt x="1591" y="1630"/>
                    <a:pt x="1577" y="1657"/>
                  </a:cubicBezTo>
                  <a:cubicBezTo>
                    <a:pt x="1570" y="1672"/>
                    <a:pt x="1575" y="1685"/>
                    <a:pt x="1559" y="1693"/>
                  </a:cubicBezTo>
                  <a:cubicBezTo>
                    <a:pt x="1549" y="1700"/>
                    <a:pt x="1534" y="1696"/>
                    <a:pt x="1524" y="1701"/>
                  </a:cubicBezTo>
                  <a:cubicBezTo>
                    <a:pt x="1498" y="1713"/>
                    <a:pt x="1478" y="1744"/>
                    <a:pt x="1453" y="1759"/>
                  </a:cubicBezTo>
                  <a:cubicBezTo>
                    <a:pt x="1400" y="1794"/>
                    <a:pt x="1367" y="1859"/>
                    <a:pt x="1300" y="1864"/>
                  </a:cubicBezTo>
                  <a:cubicBezTo>
                    <a:pt x="1267" y="1866"/>
                    <a:pt x="1234" y="1869"/>
                    <a:pt x="1201" y="1873"/>
                  </a:cubicBezTo>
                  <a:cubicBezTo>
                    <a:pt x="1171" y="1876"/>
                    <a:pt x="1157" y="1891"/>
                    <a:pt x="1129" y="1869"/>
                  </a:cubicBezTo>
                  <a:cubicBezTo>
                    <a:pt x="1115" y="1859"/>
                    <a:pt x="1114" y="1843"/>
                    <a:pt x="1104" y="1835"/>
                  </a:cubicBezTo>
                  <a:cubicBezTo>
                    <a:pt x="1092" y="1823"/>
                    <a:pt x="1092" y="1831"/>
                    <a:pt x="1077" y="1828"/>
                  </a:cubicBezTo>
                  <a:cubicBezTo>
                    <a:pt x="1059" y="1823"/>
                    <a:pt x="1056" y="1808"/>
                    <a:pt x="1038" y="1797"/>
                  </a:cubicBezTo>
                  <a:cubicBezTo>
                    <a:pt x="1003" y="1772"/>
                    <a:pt x="961" y="1769"/>
                    <a:pt x="919" y="1784"/>
                  </a:cubicBezTo>
                  <a:cubicBezTo>
                    <a:pt x="860" y="1807"/>
                    <a:pt x="921" y="1823"/>
                    <a:pt x="947" y="1833"/>
                  </a:cubicBezTo>
                  <a:cubicBezTo>
                    <a:pt x="975" y="1845"/>
                    <a:pt x="1000" y="1863"/>
                    <a:pt x="1026" y="1876"/>
                  </a:cubicBezTo>
                  <a:cubicBezTo>
                    <a:pt x="1040" y="1882"/>
                    <a:pt x="1079" y="1886"/>
                    <a:pt x="1081" y="1904"/>
                  </a:cubicBezTo>
                  <a:cubicBezTo>
                    <a:pt x="1082" y="1932"/>
                    <a:pt x="1053" y="1917"/>
                    <a:pt x="1076" y="1948"/>
                  </a:cubicBezTo>
                  <a:cubicBezTo>
                    <a:pt x="1094" y="1976"/>
                    <a:pt x="1107" y="1981"/>
                    <a:pt x="1140" y="1988"/>
                  </a:cubicBezTo>
                  <a:cubicBezTo>
                    <a:pt x="1175" y="1995"/>
                    <a:pt x="1208" y="2013"/>
                    <a:pt x="1232" y="2039"/>
                  </a:cubicBezTo>
                  <a:cubicBezTo>
                    <a:pt x="1247" y="2055"/>
                    <a:pt x="1262" y="2085"/>
                    <a:pt x="1287" y="2088"/>
                  </a:cubicBezTo>
                  <a:cubicBezTo>
                    <a:pt x="1316" y="2090"/>
                    <a:pt x="1323" y="2062"/>
                    <a:pt x="1334" y="2041"/>
                  </a:cubicBezTo>
                  <a:cubicBezTo>
                    <a:pt x="1349" y="2014"/>
                    <a:pt x="1361" y="2011"/>
                    <a:pt x="1390" y="2006"/>
                  </a:cubicBezTo>
                  <a:cubicBezTo>
                    <a:pt x="1448" y="1995"/>
                    <a:pt x="1509" y="1970"/>
                    <a:pt x="1559" y="1939"/>
                  </a:cubicBezTo>
                  <a:cubicBezTo>
                    <a:pt x="1583" y="1922"/>
                    <a:pt x="1605" y="1901"/>
                    <a:pt x="1616" y="1871"/>
                  </a:cubicBezTo>
                  <a:cubicBezTo>
                    <a:pt x="1619" y="1859"/>
                    <a:pt x="1619" y="1840"/>
                    <a:pt x="1628" y="1828"/>
                  </a:cubicBezTo>
                  <a:cubicBezTo>
                    <a:pt x="1639" y="1815"/>
                    <a:pt x="1651" y="1818"/>
                    <a:pt x="1666" y="1813"/>
                  </a:cubicBezTo>
                  <a:cubicBezTo>
                    <a:pt x="1690" y="1803"/>
                    <a:pt x="1725" y="1779"/>
                    <a:pt x="1743" y="1759"/>
                  </a:cubicBezTo>
                  <a:cubicBezTo>
                    <a:pt x="1764" y="1738"/>
                    <a:pt x="1773" y="1696"/>
                    <a:pt x="1781" y="1667"/>
                  </a:cubicBezTo>
                  <a:cubicBezTo>
                    <a:pt x="1791" y="1629"/>
                    <a:pt x="1781" y="1607"/>
                    <a:pt x="1771" y="1573"/>
                  </a:cubicBezTo>
                  <a:cubicBezTo>
                    <a:pt x="1763" y="1541"/>
                    <a:pt x="1788" y="1525"/>
                    <a:pt x="1797" y="1497"/>
                  </a:cubicBezTo>
                  <a:cubicBezTo>
                    <a:pt x="1811" y="1466"/>
                    <a:pt x="1820" y="1444"/>
                    <a:pt x="1858" y="1439"/>
                  </a:cubicBezTo>
                  <a:cubicBezTo>
                    <a:pt x="1873" y="1438"/>
                    <a:pt x="1890" y="1443"/>
                    <a:pt x="1904" y="1441"/>
                  </a:cubicBezTo>
                  <a:cubicBezTo>
                    <a:pt x="1921" y="1438"/>
                    <a:pt x="1931" y="1429"/>
                    <a:pt x="1946" y="1426"/>
                  </a:cubicBezTo>
                  <a:cubicBezTo>
                    <a:pt x="1969" y="1418"/>
                    <a:pt x="2012" y="1423"/>
                    <a:pt x="2036" y="1433"/>
                  </a:cubicBezTo>
                  <a:cubicBezTo>
                    <a:pt x="2063" y="1443"/>
                    <a:pt x="2061" y="1462"/>
                    <a:pt x="2064" y="1487"/>
                  </a:cubicBezTo>
                  <a:cubicBezTo>
                    <a:pt x="2069" y="1522"/>
                    <a:pt x="2079" y="1546"/>
                    <a:pt x="2096" y="1576"/>
                  </a:cubicBezTo>
                  <a:cubicBezTo>
                    <a:pt x="2114" y="1607"/>
                    <a:pt x="2117" y="1627"/>
                    <a:pt x="2094" y="1655"/>
                  </a:cubicBezTo>
                  <a:cubicBezTo>
                    <a:pt x="2069" y="1685"/>
                    <a:pt x="2076" y="1716"/>
                    <a:pt x="2063" y="1749"/>
                  </a:cubicBezTo>
                  <a:cubicBezTo>
                    <a:pt x="2051" y="1774"/>
                    <a:pt x="2025" y="1800"/>
                    <a:pt x="2025" y="1828"/>
                  </a:cubicBezTo>
                  <a:cubicBezTo>
                    <a:pt x="2028" y="1882"/>
                    <a:pt x="2112" y="1927"/>
                    <a:pt x="2157" y="1939"/>
                  </a:cubicBezTo>
                  <a:cubicBezTo>
                    <a:pt x="2170" y="1942"/>
                    <a:pt x="2232" y="1962"/>
                    <a:pt x="2216" y="1932"/>
                  </a:cubicBezTo>
                  <a:cubicBezTo>
                    <a:pt x="2208" y="1917"/>
                    <a:pt x="2178" y="1911"/>
                    <a:pt x="2163" y="1906"/>
                  </a:cubicBezTo>
                  <a:cubicBezTo>
                    <a:pt x="2122" y="1889"/>
                    <a:pt x="2066" y="1861"/>
                    <a:pt x="2066" y="1812"/>
                  </a:cubicBezTo>
                  <a:cubicBezTo>
                    <a:pt x="2064" y="1754"/>
                    <a:pt x="2104" y="1726"/>
                    <a:pt x="2152" y="1710"/>
                  </a:cubicBezTo>
                  <a:cubicBezTo>
                    <a:pt x="2181" y="1700"/>
                    <a:pt x="2175" y="1682"/>
                    <a:pt x="2171" y="1652"/>
                  </a:cubicBezTo>
                  <a:cubicBezTo>
                    <a:pt x="2168" y="1622"/>
                    <a:pt x="2175" y="1593"/>
                    <a:pt x="2178" y="1563"/>
                  </a:cubicBezTo>
                  <a:cubicBezTo>
                    <a:pt x="2180" y="1535"/>
                    <a:pt x="2185" y="1509"/>
                    <a:pt x="2165" y="1485"/>
                  </a:cubicBezTo>
                  <a:cubicBezTo>
                    <a:pt x="2150" y="1469"/>
                    <a:pt x="2133" y="1454"/>
                    <a:pt x="2120" y="1438"/>
                  </a:cubicBezTo>
                  <a:cubicBezTo>
                    <a:pt x="2096" y="1410"/>
                    <a:pt x="2068" y="1385"/>
                    <a:pt x="2038" y="1362"/>
                  </a:cubicBezTo>
                  <a:cubicBezTo>
                    <a:pt x="2005" y="1336"/>
                    <a:pt x="1998" y="1327"/>
                    <a:pt x="1967" y="1339"/>
                  </a:cubicBezTo>
                  <a:cubicBezTo>
                    <a:pt x="1944" y="1349"/>
                    <a:pt x="1912" y="1370"/>
                    <a:pt x="1888" y="1359"/>
                  </a:cubicBezTo>
                  <a:cubicBezTo>
                    <a:pt x="1864" y="1347"/>
                    <a:pt x="1858" y="1331"/>
                    <a:pt x="1829" y="1327"/>
                  </a:cubicBezTo>
                  <a:cubicBezTo>
                    <a:pt x="1736" y="1321"/>
                    <a:pt x="1807" y="1255"/>
                    <a:pt x="1827" y="1209"/>
                  </a:cubicBezTo>
                  <a:cubicBezTo>
                    <a:pt x="1840" y="1177"/>
                    <a:pt x="1817" y="1153"/>
                    <a:pt x="1824" y="1123"/>
                  </a:cubicBezTo>
                  <a:cubicBezTo>
                    <a:pt x="1829" y="1100"/>
                    <a:pt x="1855" y="1082"/>
                    <a:pt x="1867" y="1060"/>
                  </a:cubicBezTo>
                  <a:cubicBezTo>
                    <a:pt x="1880" y="1036"/>
                    <a:pt x="1886" y="1014"/>
                    <a:pt x="1906" y="995"/>
                  </a:cubicBezTo>
                  <a:cubicBezTo>
                    <a:pt x="1926" y="975"/>
                    <a:pt x="1937" y="947"/>
                    <a:pt x="1957" y="927"/>
                  </a:cubicBezTo>
                  <a:cubicBezTo>
                    <a:pt x="1980" y="907"/>
                    <a:pt x="2003" y="896"/>
                    <a:pt x="2000" y="859"/>
                  </a:cubicBezTo>
                  <a:cubicBezTo>
                    <a:pt x="1998" y="828"/>
                    <a:pt x="1979" y="805"/>
                    <a:pt x="1979" y="770"/>
                  </a:cubicBezTo>
                  <a:cubicBezTo>
                    <a:pt x="1982" y="736"/>
                    <a:pt x="1992" y="701"/>
                    <a:pt x="1987" y="667"/>
                  </a:cubicBezTo>
                  <a:cubicBezTo>
                    <a:pt x="1982" y="642"/>
                    <a:pt x="1965" y="627"/>
                    <a:pt x="1960" y="606"/>
                  </a:cubicBezTo>
                  <a:cubicBezTo>
                    <a:pt x="1951" y="571"/>
                    <a:pt x="1992" y="565"/>
                    <a:pt x="2012" y="548"/>
                  </a:cubicBezTo>
                  <a:cubicBezTo>
                    <a:pt x="2033" y="530"/>
                    <a:pt x="2040" y="502"/>
                    <a:pt x="2059" y="485"/>
                  </a:cubicBezTo>
                  <a:cubicBezTo>
                    <a:pt x="2087" y="462"/>
                    <a:pt x="2124" y="479"/>
                    <a:pt x="2157" y="471"/>
                  </a:cubicBezTo>
                  <a:cubicBezTo>
                    <a:pt x="2181" y="464"/>
                    <a:pt x="2213" y="446"/>
                    <a:pt x="2229" y="426"/>
                  </a:cubicBezTo>
                  <a:cubicBezTo>
                    <a:pt x="2247" y="403"/>
                    <a:pt x="2239" y="375"/>
                    <a:pt x="2247" y="349"/>
                  </a:cubicBezTo>
                  <a:cubicBezTo>
                    <a:pt x="2252" y="334"/>
                    <a:pt x="2259" y="321"/>
                    <a:pt x="2262" y="306"/>
                  </a:cubicBezTo>
                  <a:cubicBezTo>
                    <a:pt x="2265" y="289"/>
                    <a:pt x="2262" y="271"/>
                    <a:pt x="2265" y="255"/>
                  </a:cubicBezTo>
                  <a:cubicBezTo>
                    <a:pt x="2272" y="230"/>
                    <a:pt x="2288" y="219"/>
                    <a:pt x="2308" y="243"/>
                  </a:cubicBezTo>
                  <a:cubicBezTo>
                    <a:pt x="2320" y="260"/>
                    <a:pt x="2318" y="285"/>
                    <a:pt x="2316" y="304"/>
                  </a:cubicBezTo>
                  <a:cubicBezTo>
                    <a:pt x="2315" y="329"/>
                    <a:pt x="2313" y="354"/>
                    <a:pt x="2310" y="378"/>
                  </a:cubicBezTo>
                  <a:cubicBezTo>
                    <a:pt x="2306" y="408"/>
                    <a:pt x="2295" y="416"/>
                    <a:pt x="2280" y="439"/>
                  </a:cubicBezTo>
                  <a:cubicBezTo>
                    <a:pt x="2270" y="454"/>
                    <a:pt x="2267" y="472"/>
                    <a:pt x="2255" y="487"/>
                  </a:cubicBezTo>
                  <a:cubicBezTo>
                    <a:pt x="2247" y="500"/>
                    <a:pt x="2234" y="507"/>
                    <a:pt x="2224" y="518"/>
                  </a:cubicBezTo>
                  <a:cubicBezTo>
                    <a:pt x="2196" y="548"/>
                    <a:pt x="2213" y="576"/>
                    <a:pt x="2208" y="612"/>
                  </a:cubicBezTo>
                  <a:cubicBezTo>
                    <a:pt x="2198" y="670"/>
                    <a:pt x="2140" y="685"/>
                    <a:pt x="2206" y="734"/>
                  </a:cubicBezTo>
                  <a:cubicBezTo>
                    <a:pt x="2229" y="751"/>
                    <a:pt x="2259" y="756"/>
                    <a:pt x="2280" y="770"/>
                  </a:cubicBezTo>
                  <a:cubicBezTo>
                    <a:pt x="2295" y="782"/>
                    <a:pt x="2290" y="812"/>
                    <a:pt x="2305" y="817"/>
                  </a:cubicBezTo>
                  <a:cubicBezTo>
                    <a:pt x="2306" y="818"/>
                    <a:pt x="2330" y="810"/>
                    <a:pt x="2331" y="810"/>
                  </a:cubicBezTo>
                  <a:cubicBezTo>
                    <a:pt x="2344" y="807"/>
                    <a:pt x="2354" y="805"/>
                    <a:pt x="2366" y="812"/>
                  </a:cubicBezTo>
                  <a:cubicBezTo>
                    <a:pt x="2387" y="823"/>
                    <a:pt x="2390" y="851"/>
                    <a:pt x="2395" y="873"/>
                  </a:cubicBezTo>
                  <a:cubicBezTo>
                    <a:pt x="2405" y="911"/>
                    <a:pt x="2438" y="967"/>
                    <a:pt x="2486" y="932"/>
                  </a:cubicBezTo>
                  <a:cubicBezTo>
                    <a:pt x="2504" y="917"/>
                    <a:pt x="2499" y="894"/>
                    <a:pt x="2474" y="899"/>
                  </a:cubicBezTo>
                  <a:cubicBezTo>
                    <a:pt x="2461" y="902"/>
                    <a:pt x="2445" y="927"/>
                    <a:pt x="2442" y="901"/>
                  </a:cubicBezTo>
                  <a:cubicBezTo>
                    <a:pt x="2440" y="891"/>
                    <a:pt x="2453" y="876"/>
                    <a:pt x="2455" y="866"/>
                  </a:cubicBezTo>
                  <a:cubicBezTo>
                    <a:pt x="2456" y="853"/>
                    <a:pt x="2450" y="838"/>
                    <a:pt x="2448" y="827"/>
                  </a:cubicBezTo>
                  <a:cubicBezTo>
                    <a:pt x="2437" y="785"/>
                    <a:pt x="2427" y="780"/>
                    <a:pt x="2389" y="764"/>
                  </a:cubicBezTo>
                  <a:cubicBezTo>
                    <a:pt x="2346" y="744"/>
                    <a:pt x="2298" y="693"/>
                    <a:pt x="2288" y="645"/>
                  </a:cubicBezTo>
                  <a:cubicBezTo>
                    <a:pt x="2278" y="604"/>
                    <a:pt x="2275" y="533"/>
                    <a:pt x="2330" y="522"/>
                  </a:cubicBezTo>
                  <a:cubicBezTo>
                    <a:pt x="2397" y="509"/>
                    <a:pt x="2399" y="574"/>
                    <a:pt x="2438" y="606"/>
                  </a:cubicBezTo>
                  <a:cubicBezTo>
                    <a:pt x="2470" y="630"/>
                    <a:pt x="2531" y="581"/>
                    <a:pt x="2498" y="555"/>
                  </a:cubicBezTo>
                  <a:cubicBezTo>
                    <a:pt x="2474" y="535"/>
                    <a:pt x="2412" y="535"/>
                    <a:pt x="2456" y="492"/>
                  </a:cubicBezTo>
                  <a:cubicBezTo>
                    <a:pt x="2489" y="461"/>
                    <a:pt x="2532" y="451"/>
                    <a:pt x="2573" y="461"/>
                  </a:cubicBezTo>
                  <a:cubicBezTo>
                    <a:pt x="2572" y="479"/>
                    <a:pt x="2572" y="497"/>
                    <a:pt x="2578" y="518"/>
                  </a:cubicBezTo>
                  <a:cubicBezTo>
                    <a:pt x="2588" y="553"/>
                    <a:pt x="2596" y="586"/>
                    <a:pt x="2633" y="612"/>
                  </a:cubicBezTo>
                  <a:cubicBezTo>
                    <a:pt x="2638" y="617"/>
                    <a:pt x="2644" y="621"/>
                    <a:pt x="2651" y="624"/>
                  </a:cubicBezTo>
                  <a:cubicBezTo>
                    <a:pt x="2677" y="640"/>
                    <a:pt x="2692" y="652"/>
                    <a:pt x="2692" y="675"/>
                  </a:cubicBezTo>
                  <a:cubicBezTo>
                    <a:pt x="2692" y="701"/>
                    <a:pt x="2675" y="721"/>
                    <a:pt x="2639" y="739"/>
                  </a:cubicBezTo>
                  <a:lnTo>
                    <a:pt x="2633" y="742"/>
                  </a:lnTo>
                  <a:cubicBezTo>
                    <a:pt x="2601" y="757"/>
                    <a:pt x="2563" y="777"/>
                    <a:pt x="2557" y="818"/>
                  </a:cubicBezTo>
                  <a:cubicBezTo>
                    <a:pt x="2549" y="859"/>
                    <a:pt x="2583" y="884"/>
                    <a:pt x="2608" y="902"/>
                  </a:cubicBezTo>
                  <a:lnTo>
                    <a:pt x="2618" y="911"/>
                  </a:lnTo>
                  <a:cubicBezTo>
                    <a:pt x="2674" y="952"/>
                    <a:pt x="2671" y="1024"/>
                    <a:pt x="2649" y="1075"/>
                  </a:cubicBezTo>
                  <a:cubicBezTo>
                    <a:pt x="2638" y="1105"/>
                    <a:pt x="2619" y="1123"/>
                    <a:pt x="2588" y="1135"/>
                  </a:cubicBezTo>
                  <a:cubicBezTo>
                    <a:pt x="2545" y="1153"/>
                    <a:pt x="2509" y="1168"/>
                    <a:pt x="2473" y="1197"/>
                  </a:cubicBezTo>
                  <a:cubicBezTo>
                    <a:pt x="2446" y="1217"/>
                    <a:pt x="2400" y="1253"/>
                    <a:pt x="2405" y="1301"/>
                  </a:cubicBezTo>
                  <a:cubicBezTo>
                    <a:pt x="2409" y="1319"/>
                    <a:pt x="2418" y="1337"/>
                    <a:pt x="2428" y="1354"/>
                  </a:cubicBezTo>
                  <a:cubicBezTo>
                    <a:pt x="2437" y="1367"/>
                    <a:pt x="2443" y="1378"/>
                    <a:pt x="2446" y="1392"/>
                  </a:cubicBezTo>
                  <a:cubicBezTo>
                    <a:pt x="2460" y="1441"/>
                    <a:pt x="2474" y="1451"/>
                    <a:pt x="2516" y="1474"/>
                  </a:cubicBezTo>
                  <a:cubicBezTo>
                    <a:pt x="2526" y="1479"/>
                    <a:pt x="2532" y="1487"/>
                    <a:pt x="2540" y="1497"/>
                  </a:cubicBezTo>
                  <a:cubicBezTo>
                    <a:pt x="2555" y="1515"/>
                    <a:pt x="2572" y="1533"/>
                    <a:pt x="2600" y="1532"/>
                  </a:cubicBezTo>
                  <a:cubicBezTo>
                    <a:pt x="2611" y="1532"/>
                    <a:pt x="2621" y="1527"/>
                    <a:pt x="2634" y="1522"/>
                  </a:cubicBezTo>
                  <a:cubicBezTo>
                    <a:pt x="2646" y="1515"/>
                    <a:pt x="2661" y="1509"/>
                    <a:pt x="2669" y="1513"/>
                  </a:cubicBezTo>
                  <a:cubicBezTo>
                    <a:pt x="2671" y="1515"/>
                    <a:pt x="2672" y="1515"/>
                    <a:pt x="2672" y="1525"/>
                  </a:cubicBezTo>
                  <a:cubicBezTo>
                    <a:pt x="2672" y="1530"/>
                    <a:pt x="2672" y="1535"/>
                    <a:pt x="2674" y="1540"/>
                  </a:cubicBezTo>
                  <a:cubicBezTo>
                    <a:pt x="2677" y="1556"/>
                    <a:pt x="2682" y="1561"/>
                    <a:pt x="2690" y="1569"/>
                  </a:cubicBezTo>
                  <a:cubicBezTo>
                    <a:pt x="2692" y="1571"/>
                    <a:pt x="2694" y="1574"/>
                    <a:pt x="2697" y="1578"/>
                  </a:cubicBezTo>
                  <a:cubicBezTo>
                    <a:pt x="2700" y="1581"/>
                    <a:pt x="2702" y="1584"/>
                    <a:pt x="2703" y="1586"/>
                  </a:cubicBezTo>
                  <a:cubicBezTo>
                    <a:pt x="2707" y="1588"/>
                    <a:pt x="2707" y="1588"/>
                    <a:pt x="2708" y="1594"/>
                  </a:cubicBezTo>
                  <a:cubicBezTo>
                    <a:pt x="2712" y="1601"/>
                    <a:pt x="2712" y="1611"/>
                    <a:pt x="2712" y="1621"/>
                  </a:cubicBezTo>
                  <a:cubicBezTo>
                    <a:pt x="2713" y="1630"/>
                    <a:pt x="2712" y="1640"/>
                    <a:pt x="2715" y="1649"/>
                  </a:cubicBezTo>
                  <a:cubicBezTo>
                    <a:pt x="2717" y="1658"/>
                    <a:pt x="2722" y="1667"/>
                    <a:pt x="2723" y="1677"/>
                  </a:cubicBezTo>
                  <a:cubicBezTo>
                    <a:pt x="2735" y="1703"/>
                    <a:pt x="2740" y="1721"/>
                    <a:pt x="2725" y="1736"/>
                  </a:cubicBezTo>
                  <a:cubicBezTo>
                    <a:pt x="2723" y="1739"/>
                    <a:pt x="2720" y="1741"/>
                    <a:pt x="2717" y="1744"/>
                  </a:cubicBezTo>
                  <a:cubicBezTo>
                    <a:pt x="2710" y="1749"/>
                    <a:pt x="2703" y="1754"/>
                    <a:pt x="2699" y="1766"/>
                  </a:cubicBezTo>
                  <a:cubicBezTo>
                    <a:pt x="2694" y="1779"/>
                    <a:pt x="2695" y="1790"/>
                    <a:pt x="2697" y="1802"/>
                  </a:cubicBezTo>
                  <a:cubicBezTo>
                    <a:pt x="2699" y="1805"/>
                    <a:pt x="2699" y="1808"/>
                    <a:pt x="2699" y="1812"/>
                  </a:cubicBezTo>
                  <a:lnTo>
                    <a:pt x="2690" y="1838"/>
                  </a:lnTo>
                  <a:cubicBezTo>
                    <a:pt x="2689" y="1843"/>
                    <a:pt x="2685" y="1846"/>
                    <a:pt x="2680" y="1851"/>
                  </a:cubicBezTo>
                  <a:lnTo>
                    <a:pt x="2674" y="1859"/>
                  </a:lnTo>
                  <a:cubicBezTo>
                    <a:pt x="2667" y="1868"/>
                    <a:pt x="2662" y="1876"/>
                    <a:pt x="2659" y="1884"/>
                  </a:cubicBezTo>
                  <a:cubicBezTo>
                    <a:pt x="2652" y="1894"/>
                    <a:pt x="2647" y="1904"/>
                    <a:pt x="2641" y="1909"/>
                  </a:cubicBezTo>
                  <a:cubicBezTo>
                    <a:pt x="2634" y="1915"/>
                    <a:pt x="2624" y="1919"/>
                    <a:pt x="2613" y="1922"/>
                  </a:cubicBezTo>
                  <a:cubicBezTo>
                    <a:pt x="2593" y="1929"/>
                    <a:pt x="2563" y="1939"/>
                    <a:pt x="2567" y="1980"/>
                  </a:cubicBezTo>
                  <a:cubicBezTo>
                    <a:pt x="2568" y="1998"/>
                    <a:pt x="2575" y="2014"/>
                    <a:pt x="2582" y="2027"/>
                  </a:cubicBezTo>
                  <a:cubicBezTo>
                    <a:pt x="2591" y="2049"/>
                    <a:pt x="2598" y="2064"/>
                    <a:pt x="2590" y="2090"/>
                  </a:cubicBezTo>
                  <a:cubicBezTo>
                    <a:pt x="2588" y="2095"/>
                    <a:pt x="2587" y="2102"/>
                    <a:pt x="2583" y="2107"/>
                  </a:cubicBezTo>
                  <a:cubicBezTo>
                    <a:pt x="2573" y="2136"/>
                    <a:pt x="2563" y="2164"/>
                    <a:pt x="2583" y="2200"/>
                  </a:cubicBezTo>
                  <a:cubicBezTo>
                    <a:pt x="2591" y="2215"/>
                    <a:pt x="2601" y="2230"/>
                    <a:pt x="2611" y="2243"/>
                  </a:cubicBezTo>
                  <a:cubicBezTo>
                    <a:pt x="2628" y="2263"/>
                    <a:pt x="2641" y="2283"/>
                    <a:pt x="2647" y="2308"/>
                  </a:cubicBezTo>
                  <a:cubicBezTo>
                    <a:pt x="2652" y="2324"/>
                    <a:pt x="2651" y="2340"/>
                    <a:pt x="2647" y="2355"/>
                  </a:cubicBezTo>
                  <a:cubicBezTo>
                    <a:pt x="2644" y="2360"/>
                    <a:pt x="2641" y="2367"/>
                    <a:pt x="2638" y="2372"/>
                  </a:cubicBezTo>
                  <a:cubicBezTo>
                    <a:pt x="2631" y="2383"/>
                    <a:pt x="2623" y="2395"/>
                    <a:pt x="2624" y="2413"/>
                  </a:cubicBezTo>
                  <a:cubicBezTo>
                    <a:pt x="2624" y="2426"/>
                    <a:pt x="2631" y="2439"/>
                    <a:pt x="2638" y="2449"/>
                  </a:cubicBezTo>
                  <a:cubicBezTo>
                    <a:pt x="2643" y="2457"/>
                    <a:pt x="2646" y="2464"/>
                    <a:pt x="2647" y="2469"/>
                  </a:cubicBezTo>
                  <a:cubicBezTo>
                    <a:pt x="2652" y="2489"/>
                    <a:pt x="2649" y="2497"/>
                    <a:pt x="2641" y="2517"/>
                  </a:cubicBezTo>
                  <a:lnTo>
                    <a:pt x="2639" y="2522"/>
                  </a:lnTo>
                  <a:cubicBezTo>
                    <a:pt x="2615" y="2584"/>
                    <a:pt x="2652" y="2622"/>
                    <a:pt x="2685" y="2655"/>
                  </a:cubicBezTo>
                  <a:cubicBezTo>
                    <a:pt x="2705" y="2675"/>
                    <a:pt x="2725" y="2693"/>
                    <a:pt x="2733" y="2718"/>
                  </a:cubicBezTo>
                  <a:cubicBezTo>
                    <a:pt x="2748" y="2752"/>
                    <a:pt x="2745" y="2779"/>
                    <a:pt x="2722" y="2813"/>
                  </a:cubicBezTo>
                  <a:lnTo>
                    <a:pt x="2717" y="2820"/>
                  </a:lnTo>
                  <a:cubicBezTo>
                    <a:pt x="2700" y="2845"/>
                    <a:pt x="2664" y="2899"/>
                    <a:pt x="2700" y="2927"/>
                  </a:cubicBezTo>
                  <a:cubicBezTo>
                    <a:pt x="2708" y="2932"/>
                    <a:pt x="2718" y="2934"/>
                    <a:pt x="2727" y="2934"/>
                  </a:cubicBezTo>
                  <a:cubicBezTo>
                    <a:pt x="2728" y="2934"/>
                    <a:pt x="2731" y="2934"/>
                    <a:pt x="2733" y="2934"/>
                  </a:cubicBezTo>
                  <a:cubicBezTo>
                    <a:pt x="2751" y="2937"/>
                    <a:pt x="2755" y="2940"/>
                    <a:pt x="2768" y="2955"/>
                  </a:cubicBezTo>
                  <a:cubicBezTo>
                    <a:pt x="2779" y="2968"/>
                    <a:pt x="2791" y="2981"/>
                    <a:pt x="2812" y="2985"/>
                  </a:cubicBezTo>
                  <a:cubicBezTo>
                    <a:pt x="2820" y="2985"/>
                    <a:pt x="2827" y="2985"/>
                    <a:pt x="2834" y="2985"/>
                  </a:cubicBezTo>
                  <a:cubicBezTo>
                    <a:pt x="2845" y="2985"/>
                    <a:pt x="2850" y="2985"/>
                    <a:pt x="2857" y="2990"/>
                  </a:cubicBezTo>
                  <a:cubicBezTo>
                    <a:pt x="2868" y="3003"/>
                    <a:pt x="2865" y="3027"/>
                    <a:pt x="2863" y="3049"/>
                  </a:cubicBezTo>
                  <a:lnTo>
                    <a:pt x="2862" y="3064"/>
                  </a:lnTo>
                  <a:cubicBezTo>
                    <a:pt x="2860" y="3074"/>
                    <a:pt x="2860" y="3083"/>
                    <a:pt x="2860" y="3092"/>
                  </a:cubicBezTo>
                  <a:cubicBezTo>
                    <a:pt x="2858" y="3126"/>
                    <a:pt x="2857" y="3156"/>
                    <a:pt x="2842" y="3189"/>
                  </a:cubicBezTo>
                  <a:cubicBezTo>
                    <a:pt x="2834" y="3205"/>
                    <a:pt x="2820" y="3214"/>
                    <a:pt x="2804" y="3223"/>
                  </a:cubicBezTo>
                  <a:cubicBezTo>
                    <a:pt x="2791" y="3232"/>
                    <a:pt x="2774" y="3242"/>
                    <a:pt x="2763" y="3256"/>
                  </a:cubicBezTo>
                  <a:cubicBezTo>
                    <a:pt x="2758" y="3263"/>
                    <a:pt x="2751" y="3270"/>
                    <a:pt x="2746" y="3276"/>
                  </a:cubicBezTo>
                  <a:cubicBezTo>
                    <a:pt x="2723" y="3299"/>
                    <a:pt x="2697" y="3329"/>
                    <a:pt x="2713" y="3368"/>
                  </a:cubicBezTo>
                  <a:cubicBezTo>
                    <a:pt x="2720" y="3383"/>
                    <a:pt x="2728" y="3393"/>
                    <a:pt x="2733" y="3400"/>
                  </a:cubicBezTo>
                  <a:cubicBezTo>
                    <a:pt x="2745" y="3416"/>
                    <a:pt x="2750" y="3424"/>
                    <a:pt x="2743" y="3449"/>
                  </a:cubicBezTo>
                  <a:cubicBezTo>
                    <a:pt x="2741" y="3459"/>
                    <a:pt x="2740" y="3469"/>
                    <a:pt x="2738" y="3479"/>
                  </a:cubicBezTo>
                  <a:cubicBezTo>
                    <a:pt x="2736" y="3490"/>
                    <a:pt x="2735" y="3502"/>
                    <a:pt x="2731" y="3512"/>
                  </a:cubicBezTo>
                  <a:cubicBezTo>
                    <a:pt x="2725" y="3530"/>
                    <a:pt x="2712" y="3541"/>
                    <a:pt x="2697" y="3556"/>
                  </a:cubicBezTo>
                  <a:lnTo>
                    <a:pt x="2692" y="3563"/>
                  </a:lnTo>
                  <a:cubicBezTo>
                    <a:pt x="2677" y="3576"/>
                    <a:pt x="2664" y="3593"/>
                    <a:pt x="2652" y="3607"/>
                  </a:cubicBezTo>
                  <a:cubicBezTo>
                    <a:pt x="2639" y="3622"/>
                    <a:pt x="2626" y="3639"/>
                    <a:pt x="2611" y="3653"/>
                  </a:cubicBezTo>
                  <a:cubicBezTo>
                    <a:pt x="2605" y="3660"/>
                    <a:pt x="2598" y="3665"/>
                    <a:pt x="2593" y="3670"/>
                  </a:cubicBezTo>
                  <a:cubicBezTo>
                    <a:pt x="2580" y="3680"/>
                    <a:pt x="2568" y="3691"/>
                    <a:pt x="2559" y="3703"/>
                  </a:cubicBezTo>
                  <a:cubicBezTo>
                    <a:pt x="2555" y="3701"/>
                    <a:pt x="2554" y="3700"/>
                    <a:pt x="2552" y="3696"/>
                  </a:cubicBezTo>
                  <a:cubicBezTo>
                    <a:pt x="2547" y="3688"/>
                    <a:pt x="2542" y="3680"/>
                    <a:pt x="2539" y="3672"/>
                  </a:cubicBezTo>
                  <a:cubicBezTo>
                    <a:pt x="2529" y="3652"/>
                    <a:pt x="2519" y="3629"/>
                    <a:pt x="2488" y="3616"/>
                  </a:cubicBezTo>
                  <a:cubicBezTo>
                    <a:pt x="2474" y="3612"/>
                    <a:pt x="2463" y="3611"/>
                    <a:pt x="2453" y="3609"/>
                  </a:cubicBezTo>
                  <a:cubicBezTo>
                    <a:pt x="2440" y="3607"/>
                    <a:pt x="2427" y="3606"/>
                    <a:pt x="2415" y="3599"/>
                  </a:cubicBezTo>
                  <a:cubicBezTo>
                    <a:pt x="2394" y="3588"/>
                    <a:pt x="2381" y="3573"/>
                    <a:pt x="2367" y="3555"/>
                  </a:cubicBezTo>
                  <a:cubicBezTo>
                    <a:pt x="2362" y="3548"/>
                    <a:pt x="2356" y="3541"/>
                    <a:pt x="2349" y="3535"/>
                  </a:cubicBezTo>
                  <a:cubicBezTo>
                    <a:pt x="2316" y="3499"/>
                    <a:pt x="2297" y="3492"/>
                    <a:pt x="2250" y="3492"/>
                  </a:cubicBezTo>
                  <a:cubicBezTo>
                    <a:pt x="2221" y="3492"/>
                    <a:pt x="2201" y="3479"/>
                    <a:pt x="2181" y="3446"/>
                  </a:cubicBezTo>
                  <a:cubicBezTo>
                    <a:pt x="2176" y="3438"/>
                    <a:pt x="2171" y="3428"/>
                    <a:pt x="2166" y="3416"/>
                  </a:cubicBezTo>
                  <a:cubicBezTo>
                    <a:pt x="2152" y="3382"/>
                    <a:pt x="2133" y="3344"/>
                    <a:pt x="2102" y="3337"/>
                  </a:cubicBezTo>
                  <a:cubicBezTo>
                    <a:pt x="2086" y="3334"/>
                    <a:pt x="2066" y="3342"/>
                    <a:pt x="2046" y="3362"/>
                  </a:cubicBezTo>
                  <a:cubicBezTo>
                    <a:pt x="2031" y="3378"/>
                    <a:pt x="2017" y="3387"/>
                    <a:pt x="1998" y="3396"/>
                  </a:cubicBezTo>
                  <a:cubicBezTo>
                    <a:pt x="1993" y="3400"/>
                    <a:pt x="1987" y="3403"/>
                    <a:pt x="1980" y="3408"/>
                  </a:cubicBezTo>
                  <a:lnTo>
                    <a:pt x="1967" y="3416"/>
                  </a:lnTo>
                  <a:cubicBezTo>
                    <a:pt x="1937" y="3434"/>
                    <a:pt x="1919" y="3444"/>
                    <a:pt x="1883" y="3443"/>
                  </a:cubicBezTo>
                  <a:cubicBezTo>
                    <a:pt x="1855" y="3443"/>
                    <a:pt x="1829" y="3441"/>
                    <a:pt x="1801" y="3439"/>
                  </a:cubicBezTo>
                  <a:cubicBezTo>
                    <a:pt x="1788" y="3438"/>
                    <a:pt x="1774" y="3436"/>
                    <a:pt x="1761" y="3436"/>
                  </a:cubicBezTo>
                  <a:cubicBezTo>
                    <a:pt x="1717" y="3433"/>
                    <a:pt x="1702" y="3429"/>
                    <a:pt x="1674" y="3398"/>
                  </a:cubicBezTo>
                  <a:cubicBezTo>
                    <a:pt x="1646" y="3365"/>
                    <a:pt x="1624" y="3334"/>
                    <a:pt x="1608" y="3298"/>
                  </a:cubicBezTo>
                  <a:cubicBezTo>
                    <a:pt x="1587" y="3255"/>
                    <a:pt x="1568" y="3242"/>
                    <a:pt x="1526" y="3227"/>
                  </a:cubicBezTo>
                  <a:cubicBezTo>
                    <a:pt x="1507" y="3220"/>
                    <a:pt x="1498" y="3209"/>
                    <a:pt x="1484" y="3195"/>
                  </a:cubicBezTo>
                  <a:cubicBezTo>
                    <a:pt x="1476" y="3187"/>
                    <a:pt x="1468" y="3179"/>
                    <a:pt x="1456" y="3171"/>
                  </a:cubicBezTo>
                  <a:cubicBezTo>
                    <a:pt x="1432" y="3153"/>
                    <a:pt x="1404" y="3148"/>
                    <a:pt x="1376" y="3146"/>
                  </a:cubicBezTo>
                  <a:cubicBezTo>
                    <a:pt x="1362" y="3144"/>
                    <a:pt x="1348" y="3143"/>
                    <a:pt x="1334" y="3139"/>
                  </a:cubicBezTo>
                  <a:cubicBezTo>
                    <a:pt x="1315" y="3133"/>
                    <a:pt x="1288" y="3118"/>
                    <a:pt x="1262" y="3095"/>
                  </a:cubicBezTo>
                  <a:cubicBezTo>
                    <a:pt x="1241" y="3079"/>
                    <a:pt x="1222" y="3069"/>
                    <a:pt x="1201" y="3057"/>
                  </a:cubicBezTo>
                  <a:cubicBezTo>
                    <a:pt x="1193" y="3054"/>
                    <a:pt x="1183" y="3047"/>
                    <a:pt x="1173" y="3042"/>
                  </a:cubicBezTo>
                  <a:cubicBezTo>
                    <a:pt x="1155" y="3032"/>
                    <a:pt x="1152" y="3021"/>
                    <a:pt x="1147" y="3006"/>
                  </a:cubicBezTo>
                  <a:cubicBezTo>
                    <a:pt x="1142" y="2994"/>
                    <a:pt x="1137" y="2980"/>
                    <a:pt x="1125" y="2966"/>
                  </a:cubicBezTo>
                  <a:cubicBezTo>
                    <a:pt x="1099" y="2937"/>
                    <a:pt x="1071" y="2947"/>
                    <a:pt x="1048" y="2953"/>
                  </a:cubicBezTo>
                  <a:cubicBezTo>
                    <a:pt x="1043" y="2955"/>
                    <a:pt x="1038" y="2957"/>
                    <a:pt x="1033" y="2958"/>
                  </a:cubicBezTo>
                  <a:cubicBezTo>
                    <a:pt x="1012" y="2965"/>
                    <a:pt x="977" y="2963"/>
                    <a:pt x="956" y="2947"/>
                  </a:cubicBezTo>
                  <a:cubicBezTo>
                    <a:pt x="936" y="2932"/>
                    <a:pt x="937" y="2914"/>
                    <a:pt x="944" y="2886"/>
                  </a:cubicBezTo>
                  <a:cubicBezTo>
                    <a:pt x="946" y="2879"/>
                    <a:pt x="947" y="2871"/>
                    <a:pt x="947" y="2863"/>
                  </a:cubicBezTo>
                  <a:cubicBezTo>
                    <a:pt x="952" y="2826"/>
                    <a:pt x="939" y="2795"/>
                    <a:pt x="908" y="2769"/>
                  </a:cubicBezTo>
                  <a:cubicBezTo>
                    <a:pt x="880" y="2747"/>
                    <a:pt x="877" y="2731"/>
                    <a:pt x="888" y="2695"/>
                  </a:cubicBezTo>
                  <a:cubicBezTo>
                    <a:pt x="891" y="2685"/>
                    <a:pt x="898" y="2677"/>
                    <a:pt x="903" y="2668"/>
                  </a:cubicBezTo>
                  <a:cubicBezTo>
                    <a:pt x="914" y="2652"/>
                    <a:pt x="928" y="2630"/>
                    <a:pt x="916" y="2602"/>
                  </a:cubicBezTo>
                  <a:cubicBezTo>
                    <a:pt x="905" y="2569"/>
                    <a:pt x="875" y="2550"/>
                    <a:pt x="850" y="2532"/>
                  </a:cubicBezTo>
                  <a:lnTo>
                    <a:pt x="837" y="2523"/>
                  </a:lnTo>
                  <a:cubicBezTo>
                    <a:pt x="830" y="2517"/>
                    <a:pt x="820" y="2509"/>
                    <a:pt x="811" y="2500"/>
                  </a:cubicBezTo>
                  <a:cubicBezTo>
                    <a:pt x="791" y="2484"/>
                    <a:pt x="769" y="2466"/>
                    <a:pt x="746" y="2456"/>
                  </a:cubicBezTo>
                  <a:cubicBezTo>
                    <a:pt x="710" y="2443"/>
                    <a:pt x="694" y="2457"/>
                    <a:pt x="680" y="2469"/>
                  </a:cubicBezTo>
                  <a:cubicBezTo>
                    <a:pt x="674" y="2476"/>
                    <a:pt x="667" y="2482"/>
                    <a:pt x="657" y="2484"/>
                  </a:cubicBezTo>
                  <a:cubicBezTo>
                    <a:pt x="654" y="2485"/>
                    <a:pt x="651" y="2484"/>
                    <a:pt x="644" y="2481"/>
                  </a:cubicBezTo>
                  <a:cubicBezTo>
                    <a:pt x="639" y="2477"/>
                    <a:pt x="634" y="2476"/>
                    <a:pt x="628" y="2474"/>
                  </a:cubicBezTo>
                  <a:cubicBezTo>
                    <a:pt x="611" y="2471"/>
                    <a:pt x="598" y="2474"/>
                    <a:pt x="585" y="2477"/>
                  </a:cubicBezTo>
                  <a:lnTo>
                    <a:pt x="570" y="2481"/>
                  </a:lnTo>
                  <a:cubicBezTo>
                    <a:pt x="537" y="2487"/>
                    <a:pt x="509" y="2494"/>
                    <a:pt x="486" y="2471"/>
                  </a:cubicBezTo>
                  <a:cubicBezTo>
                    <a:pt x="470" y="2451"/>
                    <a:pt x="448" y="2420"/>
                    <a:pt x="448" y="2406"/>
                  </a:cubicBezTo>
                  <a:cubicBezTo>
                    <a:pt x="448" y="2393"/>
                    <a:pt x="453" y="2383"/>
                    <a:pt x="458" y="2372"/>
                  </a:cubicBezTo>
                  <a:cubicBezTo>
                    <a:pt x="468" y="2350"/>
                    <a:pt x="478" y="2322"/>
                    <a:pt x="442" y="2294"/>
                  </a:cubicBezTo>
                  <a:cubicBezTo>
                    <a:pt x="433" y="2288"/>
                    <a:pt x="427" y="2281"/>
                    <a:pt x="419" y="2275"/>
                  </a:cubicBezTo>
                  <a:cubicBezTo>
                    <a:pt x="389" y="2250"/>
                    <a:pt x="353" y="2219"/>
                    <a:pt x="315" y="2212"/>
                  </a:cubicBezTo>
                  <a:cubicBezTo>
                    <a:pt x="290" y="2207"/>
                    <a:pt x="264" y="2209"/>
                    <a:pt x="239" y="2210"/>
                  </a:cubicBezTo>
                  <a:cubicBezTo>
                    <a:pt x="222" y="2212"/>
                    <a:pt x="208" y="2212"/>
                    <a:pt x="191" y="2212"/>
                  </a:cubicBezTo>
                  <a:cubicBezTo>
                    <a:pt x="186" y="2212"/>
                    <a:pt x="180" y="2210"/>
                    <a:pt x="173" y="2210"/>
                  </a:cubicBezTo>
                  <a:cubicBezTo>
                    <a:pt x="137" y="2210"/>
                    <a:pt x="78" y="2207"/>
                    <a:pt x="59" y="2184"/>
                  </a:cubicBezTo>
                  <a:cubicBezTo>
                    <a:pt x="53" y="2174"/>
                    <a:pt x="51" y="2163"/>
                    <a:pt x="51" y="2151"/>
                  </a:cubicBezTo>
                  <a:cubicBezTo>
                    <a:pt x="51" y="2131"/>
                    <a:pt x="51" y="2108"/>
                    <a:pt x="18" y="2090"/>
                  </a:cubicBezTo>
                  <a:cubicBezTo>
                    <a:pt x="13" y="2088"/>
                    <a:pt x="10" y="2087"/>
                    <a:pt x="5" y="2085"/>
                  </a:cubicBezTo>
                  <a:lnTo>
                    <a:pt x="2" y="2083"/>
                  </a:lnTo>
                  <a:cubicBezTo>
                    <a:pt x="2" y="2083"/>
                    <a:pt x="2" y="2082"/>
                    <a:pt x="0" y="2077"/>
                  </a:cubicBezTo>
                  <a:cubicBezTo>
                    <a:pt x="0" y="2065"/>
                    <a:pt x="5" y="2060"/>
                    <a:pt x="18" y="2051"/>
                  </a:cubicBezTo>
                  <a:cubicBezTo>
                    <a:pt x="23" y="2047"/>
                    <a:pt x="28" y="2044"/>
                    <a:pt x="33" y="2039"/>
                  </a:cubicBezTo>
                  <a:cubicBezTo>
                    <a:pt x="50" y="2021"/>
                    <a:pt x="56" y="1999"/>
                    <a:pt x="63" y="1978"/>
                  </a:cubicBezTo>
                  <a:cubicBezTo>
                    <a:pt x="68" y="1963"/>
                    <a:pt x="73" y="1950"/>
                    <a:pt x="79" y="1937"/>
                  </a:cubicBezTo>
                  <a:cubicBezTo>
                    <a:pt x="82" y="1932"/>
                    <a:pt x="86" y="1927"/>
                    <a:pt x="91" y="1924"/>
                  </a:cubicBezTo>
                  <a:cubicBezTo>
                    <a:pt x="99" y="1912"/>
                    <a:pt x="109" y="1901"/>
                    <a:pt x="112" y="1886"/>
                  </a:cubicBezTo>
                  <a:cubicBezTo>
                    <a:pt x="115" y="1868"/>
                    <a:pt x="110" y="1851"/>
                    <a:pt x="106" y="1836"/>
                  </a:cubicBezTo>
                  <a:cubicBezTo>
                    <a:pt x="104" y="1828"/>
                    <a:pt x="101" y="1820"/>
                    <a:pt x="101" y="1812"/>
                  </a:cubicBezTo>
                  <a:cubicBezTo>
                    <a:pt x="99" y="1785"/>
                    <a:pt x="101" y="1756"/>
                    <a:pt x="102" y="1726"/>
                  </a:cubicBezTo>
                  <a:cubicBezTo>
                    <a:pt x="106" y="1726"/>
                    <a:pt x="110" y="1726"/>
                    <a:pt x="114" y="1726"/>
                  </a:cubicBezTo>
                  <a:cubicBezTo>
                    <a:pt x="137" y="1724"/>
                    <a:pt x="160" y="1723"/>
                    <a:pt x="185" y="1718"/>
                  </a:cubicBezTo>
                  <a:cubicBezTo>
                    <a:pt x="214" y="1711"/>
                    <a:pt x="236" y="1690"/>
                    <a:pt x="255" y="1670"/>
                  </a:cubicBezTo>
                  <a:cubicBezTo>
                    <a:pt x="270" y="1654"/>
                    <a:pt x="283" y="1639"/>
                    <a:pt x="302" y="1630"/>
                  </a:cubicBezTo>
                  <a:cubicBezTo>
                    <a:pt x="353" y="1606"/>
                    <a:pt x="420" y="1589"/>
                    <a:pt x="481" y="1586"/>
                  </a:cubicBezTo>
                  <a:lnTo>
                    <a:pt x="498" y="1584"/>
                  </a:lnTo>
                  <a:cubicBezTo>
                    <a:pt x="526" y="1584"/>
                    <a:pt x="559" y="1583"/>
                    <a:pt x="585" y="1569"/>
                  </a:cubicBezTo>
                  <a:cubicBezTo>
                    <a:pt x="598" y="1561"/>
                    <a:pt x="608" y="1551"/>
                    <a:pt x="618" y="1541"/>
                  </a:cubicBezTo>
                  <a:cubicBezTo>
                    <a:pt x="624" y="1533"/>
                    <a:pt x="633" y="1525"/>
                    <a:pt x="641" y="1520"/>
                  </a:cubicBezTo>
                  <a:cubicBezTo>
                    <a:pt x="654" y="1512"/>
                    <a:pt x="674" y="1507"/>
                    <a:pt x="695" y="1500"/>
                  </a:cubicBezTo>
                  <a:cubicBezTo>
                    <a:pt x="736" y="1490"/>
                    <a:pt x="781" y="1479"/>
                    <a:pt x="794" y="1441"/>
                  </a:cubicBezTo>
                  <a:cubicBezTo>
                    <a:pt x="797" y="1434"/>
                    <a:pt x="797" y="1429"/>
                    <a:pt x="799" y="1425"/>
                  </a:cubicBezTo>
                  <a:cubicBezTo>
                    <a:pt x="799" y="1421"/>
                    <a:pt x="799" y="1420"/>
                    <a:pt x="806" y="1413"/>
                  </a:cubicBezTo>
                  <a:cubicBezTo>
                    <a:pt x="807" y="1410"/>
                    <a:pt x="809" y="1408"/>
                    <a:pt x="812" y="1406"/>
                  </a:cubicBezTo>
                  <a:cubicBezTo>
                    <a:pt x="816" y="1403"/>
                    <a:pt x="822" y="1398"/>
                    <a:pt x="825" y="1390"/>
                  </a:cubicBezTo>
                  <a:cubicBezTo>
                    <a:pt x="842" y="1365"/>
                    <a:pt x="847" y="1326"/>
                    <a:pt x="825" y="1303"/>
                  </a:cubicBezTo>
                  <a:cubicBezTo>
                    <a:pt x="817" y="1294"/>
                    <a:pt x="809" y="1291"/>
                    <a:pt x="801" y="1288"/>
                  </a:cubicBezTo>
                  <a:cubicBezTo>
                    <a:pt x="792" y="1283"/>
                    <a:pt x="786" y="1281"/>
                    <a:pt x="784" y="1276"/>
                  </a:cubicBezTo>
                  <a:cubicBezTo>
                    <a:pt x="776" y="1260"/>
                    <a:pt x="794" y="1238"/>
                    <a:pt x="806" y="1224"/>
                  </a:cubicBezTo>
                  <a:lnTo>
                    <a:pt x="809" y="1220"/>
                  </a:lnTo>
                  <a:cubicBezTo>
                    <a:pt x="817" y="1210"/>
                    <a:pt x="825" y="1200"/>
                    <a:pt x="834" y="1191"/>
                  </a:cubicBezTo>
                  <a:cubicBezTo>
                    <a:pt x="840" y="1184"/>
                    <a:pt x="847" y="1177"/>
                    <a:pt x="853" y="1169"/>
                  </a:cubicBezTo>
                  <a:cubicBezTo>
                    <a:pt x="858" y="1163"/>
                    <a:pt x="865" y="1154"/>
                    <a:pt x="870" y="1148"/>
                  </a:cubicBezTo>
                  <a:cubicBezTo>
                    <a:pt x="885" y="1125"/>
                    <a:pt x="895" y="1098"/>
                    <a:pt x="893" y="1064"/>
                  </a:cubicBezTo>
                  <a:cubicBezTo>
                    <a:pt x="891" y="1037"/>
                    <a:pt x="885" y="1016"/>
                    <a:pt x="858" y="995"/>
                  </a:cubicBezTo>
                  <a:lnTo>
                    <a:pt x="853" y="991"/>
                  </a:lnTo>
                  <a:cubicBezTo>
                    <a:pt x="835" y="978"/>
                    <a:pt x="832" y="973"/>
                    <a:pt x="837" y="962"/>
                  </a:cubicBezTo>
                  <a:cubicBezTo>
                    <a:pt x="842" y="948"/>
                    <a:pt x="862" y="939"/>
                    <a:pt x="878" y="930"/>
                  </a:cubicBezTo>
                  <a:cubicBezTo>
                    <a:pt x="885" y="925"/>
                    <a:pt x="891" y="922"/>
                    <a:pt x="896" y="919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1" name="Freeform 67">
              <a:extLst>
                <a:ext uri="{FF2B5EF4-FFF2-40B4-BE49-F238E27FC236}">
                  <a16:creationId xmlns:a16="http://schemas.microsoft.com/office/drawing/2014/main" id="{D1564137-79E6-9443-9130-51FC5F4359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8688" y="4327525"/>
              <a:ext cx="284162" cy="488950"/>
            </a:xfrm>
            <a:custGeom>
              <a:avLst/>
              <a:gdLst>
                <a:gd name="T0" fmla="*/ 266 w 789"/>
                <a:gd name="T1" fmla="*/ 1050 h 1359"/>
                <a:gd name="T2" fmla="*/ 249 w 789"/>
                <a:gd name="T3" fmla="*/ 1015 h 1359"/>
                <a:gd name="T4" fmla="*/ 289 w 789"/>
                <a:gd name="T5" fmla="*/ 951 h 1359"/>
                <a:gd name="T6" fmla="*/ 251 w 789"/>
                <a:gd name="T7" fmla="*/ 933 h 1359"/>
                <a:gd name="T8" fmla="*/ 208 w 789"/>
                <a:gd name="T9" fmla="*/ 855 h 1359"/>
                <a:gd name="T10" fmla="*/ 150 w 789"/>
                <a:gd name="T11" fmla="*/ 750 h 1359"/>
                <a:gd name="T12" fmla="*/ 86 w 789"/>
                <a:gd name="T13" fmla="*/ 684 h 1359"/>
                <a:gd name="T14" fmla="*/ 42 w 789"/>
                <a:gd name="T15" fmla="*/ 631 h 1359"/>
                <a:gd name="T16" fmla="*/ 10 w 789"/>
                <a:gd name="T17" fmla="*/ 585 h 1359"/>
                <a:gd name="T18" fmla="*/ 17 w 789"/>
                <a:gd name="T19" fmla="*/ 513 h 1359"/>
                <a:gd name="T20" fmla="*/ 29 w 789"/>
                <a:gd name="T21" fmla="*/ 457 h 1359"/>
                <a:gd name="T22" fmla="*/ 17 w 789"/>
                <a:gd name="T23" fmla="*/ 419 h 1359"/>
                <a:gd name="T24" fmla="*/ 25 w 789"/>
                <a:gd name="T25" fmla="*/ 389 h 1359"/>
                <a:gd name="T26" fmla="*/ 15 w 789"/>
                <a:gd name="T27" fmla="*/ 351 h 1359"/>
                <a:gd name="T28" fmla="*/ 22 w 789"/>
                <a:gd name="T29" fmla="*/ 325 h 1359"/>
                <a:gd name="T30" fmla="*/ 14 w 789"/>
                <a:gd name="T31" fmla="*/ 300 h 1359"/>
                <a:gd name="T32" fmla="*/ 17 w 789"/>
                <a:gd name="T33" fmla="*/ 274 h 1359"/>
                <a:gd name="T34" fmla="*/ 17 w 789"/>
                <a:gd name="T35" fmla="*/ 224 h 1359"/>
                <a:gd name="T36" fmla="*/ 0 w 789"/>
                <a:gd name="T37" fmla="*/ 121 h 1359"/>
                <a:gd name="T38" fmla="*/ 27 w 789"/>
                <a:gd name="T39" fmla="*/ 114 h 1359"/>
                <a:gd name="T40" fmla="*/ 108 w 789"/>
                <a:gd name="T41" fmla="*/ 107 h 1359"/>
                <a:gd name="T42" fmla="*/ 231 w 789"/>
                <a:gd name="T43" fmla="*/ 74 h 1359"/>
                <a:gd name="T44" fmla="*/ 309 w 789"/>
                <a:gd name="T45" fmla="*/ 13 h 1359"/>
                <a:gd name="T46" fmla="*/ 337 w 789"/>
                <a:gd name="T47" fmla="*/ 25 h 1359"/>
                <a:gd name="T48" fmla="*/ 368 w 789"/>
                <a:gd name="T49" fmla="*/ 17 h 1359"/>
                <a:gd name="T50" fmla="*/ 404 w 789"/>
                <a:gd name="T51" fmla="*/ 30 h 1359"/>
                <a:gd name="T52" fmla="*/ 506 w 789"/>
                <a:gd name="T53" fmla="*/ 27 h 1359"/>
                <a:gd name="T54" fmla="*/ 582 w 789"/>
                <a:gd name="T55" fmla="*/ 51 h 1359"/>
                <a:gd name="T56" fmla="*/ 636 w 789"/>
                <a:gd name="T57" fmla="*/ 20 h 1359"/>
                <a:gd name="T58" fmla="*/ 692 w 789"/>
                <a:gd name="T59" fmla="*/ 27 h 1359"/>
                <a:gd name="T60" fmla="*/ 686 w 789"/>
                <a:gd name="T61" fmla="*/ 109 h 1359"/>
                <a:gd name="T62" fmla="*/ 739 w 789"/>
                <a:gd name="T63" fmla="*/ 158 h 1359"/>
                <a:gd name="T64" fmla="*/ 750 w 789"/>
                <a:gd name="T65" fmla="*/ 188 h 1359"/>
                <a:gd name="T66" fmla="*/ 770 w 789"/>
                <a:gd name="T67" fmla="*/ 214 h 1359"/>
                <a:gd name="T68" fmla="*/ 752 w 789"/>
                <a:gd name="T69" fmla="*/ 317 h 1359"/>
                <a:gd name="T70" fmla="*/ 648 w 789"/>
                <a:gd name="T71" fmla="*/ 384 h 1359"/>
                <a:gd name="T72" fmla="*/ 612 w 789"/>
                <a:gd name="T73" fmla="*/ 498 h 1359"/>
                <a:gd name="T74" fmla="*/ 635 w 789"/>
                <a:gd name="T75" fmla="*/ 577 h 1359"/>
                <a:gd name="T76" fmla="*/ 605 w 789"/>
                <a:gd name="T77" fmla="*/ 653 h 1359"/>
                <a:gd name="T78" fmla="*/ 572 w 789"/>
                <a:gd name="T79" fmla="*/ 722 h 1359"/>
                <a:gd name="T80" fmla="*/ 623 w 789"/>
                <a:gd name="T81" fmla="*/ 747 h 1359"/>
                <a:gd name="T82" fmla="*/ 681 w 789"/>
                <a:gd name="T83" fmla="*/ 748 h 1359"/>
                <a:gd name="T84" fmla="*/ 669 w 789"/>
                <a:gd name="T85" fmla="*/ 859 h 1359"/>
                <a:gd name="T86" fmla="*/ 666 w 789"/>
                <a:gd name="T87" fmla="*/ 916 h 1359"/>
                <a:gd name="T88" fmla="*/ 620 w 789"/>
                <a:gd name="T89" fmla="*/ 971 h 1359"/>
                <a:gd name="T90" fmla="*/ 618 w 789"/>
                <a:gd name="T91" fmla="*/ 1091 h 1359"/>
                <a:gd name="T92" fmla="*/ 627 w 789"/>
                <a:gd name="T93" fmla="*/ 1165 h 1359"/>
                <a:gd name="T94" fmla="*/ 618 w 789"/>
                <a:gd name="T95" fmla="*/ 1251 h 1359"/>
                <a:gd name="T96" fmla="*/ 538 w 789"/>
                <a:gd name="T97" fmla="*/ 1328 h 1359"/>
                <a:gd name="T98" fmla="*/ 501 w 789"/>
                <a:gd name="T99" fmla="*/ 1358 h 1359"/>
                <a:gd name="T100" fmla="*/ 411 w 789"/>
                <a:gd name="T101" fmla="*/ 1256 h 1359"/>
                <a:gd name="T102" fmla="*/ 338 w 789"/>
                <a:gd name="T103" fmla="*/ 1249 h 1359"/>
                <a:gd name="T104" fmla="*/ 282 w 789"/>
                <a:gd name="T105" fmla="*/ 1181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89" h="1359">
                  <a:moveTo>
                    <a:pt x="277" y="1117"/>
                  </a:moveTo>
                  <a:cubicBezTo>
                    <a:pt x="282" y="1091"/>
                    <a:pt x="284" y="1074"/>
                    <a:pt x="266" y="1050"/>
                  </a:cubicBezTo>
                  <a:cubicBezTo>
                    <a:pt x="262" y="1045"/>
                    <a:pt x="259" y="1040"/>
                    <a:pt x="256" y="1035"/>
                  </a:cubicBezTo>
                  <a:cubicBezTo>
                    <a:pt x="246" y="1025"/>
                    <a:pt x="244" y="1023"/>
                    <a:pt x="249" y="1015"/>
                  </a:cubicBezTo>
                  <a:cubicBezTo>
                    <a:pt x="251" y="1012"/>
                    <a:pt x="257" y="1007"/>
                    <a:pt x="262" y="1002"/>
                  </a:cubicBezTo>
                  <a:cubicBezTo>
                    <a:pt x="277" y="992"/>
                    <a:pt x="299" y="976"/>
                    <a:pt x="289" y="951"/>
                  </a:cubicBezTo>
                  <a:cubicBezTo>
                    <a:pt x="281" y="934"/>
                    <a:pt x="266" y="934"/>
                    <a:pt x="257" y="933"/>
                  </a:cubicBezTo>
                  <a:cubicBezTo>
                    <a:pt x="254" y="934"/>
                    <a:pt x="253" y="933"/>
                    <a:pt x="251" y="933"/>
                  </a:cubicBezTo>
                  <a:cubicBezTo>
                    <a:pt x="238" y="926"/>
                    <a:pt x="238" y="926"/>
                    <a:pt x="231" y="915"/>
                  </a:cubicBezTo>
                  <a:cubicBezTo>
                    <a:pt x="220" y="896"/>
                    <a:pt x="215" y="877"/>
                    <a:pt x="208" y="855"/>
                  </a:cubicBezTo>
                  <a:cubicBezTo>
                    <a:pt x="200" y="827"/>
                    <a:pt x="192" y="798"/>
                    <a:pt x="170" y="773"/>
                  </a:cubicBezTo>
                  <a:cubicBezTo>
                    <a:pt x="165" y="765"/>
                    <a:pt x="157" y="758"/>
                    <a:pt x="150" y="750"/>
                  </a:cubicBezTo>
                  <a:cubicBezTo>
                    <a:pt x="142" y="738"/>
                    <a:pt x="131" y="728"/>
                    <a:pt x="122" y="715"/>
                  </a:cubicBezTo>
                  <a:cubicBezTo>
                    <a:pt x="111" y="700"/>
                    <a:pt x="98" y="692"/>
                    <a:pt x="86" y="684"/>
                  </a:cubicBezTo>
                  <a:cubicBezTo>
                    <a:pt x="76" y="677"/>
                    <a:pt x="68" y="672"/>
                    <a:pt x="61" y="664"/>
                  </a:cubicBezTo>
                  <a:cubicBezTo>
                    <a:pt x="53" y="654"/>
                    <a:pt x="48" y="644"/>
                    <a:pt x="42" y="631"/>
                  </a:cubicBezTo>
                  <a:cubicBezTo>
                    <a:pt x="37" y="620"/>
                    <a:pt x="30" y="607"/>
                    <a:pt x="20" y="595"/>
                  </a:cubicBezTo>
                  <a:cubicBezTo>
                    <a:pt x="17" y="592"/>
                    <a:pt x="14" y="588"/>
                    <a:pt x="10" y="585"/>
                  </a:cubicBezTo>
                  <a:cubicBezTo>
                    <a:pt x="15" y="572"/>
                    <a:pt x="15" y="559"/>
                    <a:pt x="15" y="546"/>
                  </a:cubicBezTo>
                  <a:cubicBezTo>
                    <a:pt x="15" y="534"/>
                    <a:pt x="15" y="522"/>
                    <a:pt x="17" y="513"/>
                  </a:cubicBezTo>
                  <a:cubicBezTo>
                    <a:pt x="19" y="509"/>
                    <a:pt x="20" y="506"/>
                    <a:pt x="22" y="503"/>
                  </a:cubicBezTo>
                  <a:cubicBezTo>
                    <a:pt x="25" y="490"/>
                    <a:pt x="32" y="473"/>
                    <a:pt x="29" y="457"/>
                  </a:cubicBezTo>
                  <a:cubicBezTo>
                    <a:pt x="27" y="450"/>
                    <a:pt x="24" y="443"/>
                    <a:pt x="22" y="437"/>
                  </a:cubicBezTo>
                  <a:cubicBezTo>
                    <a:pt x="19" y="430"/>
                    <a:pt x="15" y="424"/>
                    <a:pt x="17" y="419"/>
                  </a:cubicBezTo>
                  <a:cubicBezTo>
                    <a:pt x="17" y="417"/>
                    <a:pt x="19" y="414"/>
                    <a:pt x="19" y="412"/>
                  </a:cubicBezTo>
                  <a:cubicBezTo>
                    <a:pt x="22" y="406"/>
                    <a:pt x="25" y="397"/>
                    <a:pt x="25" y="389"/>
                  </a:cubicBezTo>
                  <a:cubicBezTo>
                    <a:pt x="24" y="382"/>
                    <a:pt x="20" y="379"/>
                    <a:pt x="17" y="373"/>
                  </a:cubicBezTo>
                  <a:cubicBezTo>
                    <a:pt x="14" y="366"/>
                    <a:pt x="12" y="358"/>
                    <a:pt x="15" y="351"/>
                  </a:cubicBezTo>
                  <a:cubicBezTo>
                    <a:pt x="15" y="348"/>
                    <a:pt x="17" y="348"/>
                    <a:pt x="17" y="346"/>
                  </a:cubicBezTo>
                  <a:cubicBezTo>
                    <a:pt x="20" y="340"/>
                    <a:pt x="24" y="333"/>
                    <a:pt x="22" y="325"/>
                  </a:cubicBezTo>
                  <a:cubicBezTo>
                    <a:pt x="22" y="317"/>
                    <a:pt x="19" y="310"/>
                    <a:pt x="17" y="305"/>
                  </a:cubicBezTo>
                  <a:cubicBezTo>
                    <a:pt x="15" y="303"/>
                    <a:pt x="14" y="302"/>
                    <a:pt x="14" y="300"/>
                  </a:cubicBezTo>
                  <a:cubicBezTo>
                    <a:pt x="10" y="294"/>
                    <a:pt x="10" y="285"/>
                    <a:pt x="15" y="277"/>
                  </a:cubicBezTo>
                  <a:lnTo>
                    <a:pt x="17" y="274"/>
                  </a:lnTo>
                  <a:cubicBezTo>
                    <a:pt x="19" y="270"/>
                    <a:pt x="22" y="267"/>
                    <a:pt x="24" y="262"/>
                  </a:cubicBezTo>
                  <a:cubicBezTo>
                    <a:pt x="27" y="247"/>
                    <a:pt x="22" y="236"/>
                    <a:pt x="17" y="224"/>
                  </a:cubicBezTo>
                  <a:cubicBezTo>
                    <a:pt x="5" y="195"/>
                    <a:pt x="0" y="163"/>
                    <a:pt x="0" y="132"/>
                  </a:cubicBezTo>
                  <a:cubicBezTo>
                    <a:pt x="0" y="129"/>
                    <a:pt x="0" y="125"/>
                    <a:pt x="0" y="121"/>
                  </a:cubicBezTo>
                  <a:lnTo>
                    <a:pt x="2" y="121"/>
                  </a:lnTo>
                  <a:cubicBezTo>
                    <a:pt x="10" y="119"/>
                    <a:pt x="19" y="117"/>
                    <a:pt x="27" y="114"/>
                  </a:cubicBezTo>
                  <a:cubicBezTo>
                    <a:pt x="42" y="109"/>
                    <a:pt x="53" y="106"/>
                    <a:pt x="66" y="104"/>
                  </a:cubicBezTo>
                  <a:cubicBezTo>
                    <a:pt x="80" y="102"/>
                    <a:pt x="93" y="104"/>
                    <a:pt x="108" y="107"/>
                  </a:cubicBezTo>
                  <a:cubicBezTo>
                    <a:pt x="124" y="109"/>
                    <a:pt x="141" y="112"/>
                    <a:pt x="159" y="109"/>
                  </a:cubicBezTo>
                  <a:cubicBezTo>
                    <a:pt x="185" y="106"/>
                    <a:pt x="208" y="91"/>
                    <a:pt x="231" y="74"/>
                  </a:cubicBezTo>
                  <a:cubicBezTo>
                    <a:pt x="241" y="68"/>
                    <a:pt x="251" y="58"/>
                    <a:pt x="259" y="48"/>
                  </a:cubicBezTo>
                  <a:cubicBezTo>
                    <a:pt x="276" y="32"/>
                    <a:pt x="292" y="15"/>
                    <a:pt x="309" y="13"/>
                  </a:cubicBezTo>
                  <a:cubicBezTo>
                    <a:pt x="310" y="13"/>
                    <a:pt x="314" y="15"/>
                    <a:pt x="317" y="18"/>
                  </a:cubicBezTo>
                  <a:cubicBezTo>
                    <a:pt x="322" y="22"/>
                    <a:pt x="328" y="25"/>
                    <a:pt x="337" y="25"/>
                  </a:cubicBezTo>
                  <a:cubicBezTo>
                    <a:pt x="350" y="27"/>
                    <a:pt x="356" y="22"/>
                    <a:pt x="361" y="20"/>
                  </a:cubicBezTo>
                  <a:cubicBezTo>
                    <a:pt x="365" y="17"/>
                    <a:pt x="366" y="17"/>
                    <a:pt x="368" y="17"/>
                  </a:cubicBezTo>
                  <a:cubicBezTo>
                    <a:pt x="381" y="15"/>
                    <a:pt x="383" y="17"/>
                    <a:pt x="391" y="22"/>
                  </a:cubicBezTo>
                  <a:cubicBezTo>
                    <a:pt x="394" y="25"/>
                    <a:pt x="399" y="27"/>
                    <a:pt x="404" y="30"/>
                  </a:cubicBezTo>
                  <a:cubicBezTo>
                    <a:pt x="430" y="43"/>
                    <a:pt x="452" y="38"/>
                    <a:pt x="470" y="32"/>
                  </a:cubicBezTo>
                  <a:cubicBezTo>
                    <a:pt x="482" y="28"/>
                    <a:pt x="493" y="25"/>
                    <a:pt x="506" y="27"/>
                  </a:cubicBezTo>
                  <a:cubicBezTo>
                    <a:pt x="514" y="28"/>
                    <a:pt x="523" y="33"/>
                    <a:pt x="531" y="38"/>
                  </a:cubicBezTo>
                  <a:cubicBezTo>
                    <a:pt x="544" y="46"/>
                    <a:pt x="561" y="55"/>
                    <a:pt x="582" y="51"/>
                  </a:cubicBezTo>
                  <a:cubicBezTo>
                    <a:pt x="597" y="48"/>
                    <a:pt x="608" y="38"/>
                    <a:pt x="620" y="30"/>
                  </a:cubicBezTo>
                  <a:cubicBezTo>
                    <a:pt x="625" y="27"/>
                    <a:pt x="630" y="22"/>
                    <a:pt x="636" y="20"/>
                  </a:cubicBezTo>
                  <a:cubicBezTo>
                    <a:pt x="653" y="10"/>
                    <a:pt x="674" y="2"/>
                    <a:pt x="696" y="0"/>
                  </a:cubicBezTo>
                  <a:cubicBezTo>
                    <a:pt x="696" y="8"/>
                    <a:pt x="696" y="17"/>
                    <a:pt x="692" y="27"/>
                  </a:cubicBezTo>
                  <a:cubicBezTo>
                    <a:pt x="691" y="33"/>
                    <a:pt x="689" y="40"/>
                    <a:pt x="687" y="46"/>
                  </a:cubicBezTo>
                  <a:cubicBezTo>
                    <a:pt x="679" y="65"/>
                    <a:pt x="673" y="84"/>
                    <a:pt x="686" y="109"/>
                  </a:cubicBezTo>
                  <a:cubicBezTo>
                    <a:pt x="694" y="125"/>
                    <a:pt x="707" y="134"/>
                    <a:pt x="717" y="142"/>
                  </a:cubicBezTo>
                  <a:cubicBezTo>
                    <a:pt x="727" y="147"/>
                    <a:pt x="734" y="152"/>
                    <a:pt x="739" y="158"/>
                  </a:cubicBezTo>
                  <a:cubicBezTo>
                    <a:pt x="742" y="162"/>
                    <a:pt x="743" y="167"/>
                    <a:pt x="745" y="173"/>
                  </a:cubicBezTo>
                  <a:cubicBezTo>
                    <a:pt x="747" y="178"/>
                    <a:pt x="747" y="183"/>
                    <a:pt x="750" y="188"/>
                  </a:cubicBezTo>
                  <a:cubicBezTo>
                    <a:pt x="753" y="195"/>
                    <a:pt x="758" y="201"/>
                    <a:pt x="763" y="206"/>
                  </a:cubicBezTo>
                  <a:cubicBezTo>
                    <a:pt x="765" y="209"/>
                    <a:pt x="768" y="211"/>
                    <a:pt x="770" y="214"/>
                  </a:cubicBezTo>
                  <a:cubicBezTo>
                    <a:pt x="785" y="236"/>
                    <a:pt x="788" y="262"/>
                    <a:pt x="783" y="282"/>
                  </a:cubicBezTo>
                  <a:cubicBezTo>
                    <a:pt x="778" y="298"/>
                    <a:pt x="768" y="310"/>
                    <a:pt x="752" y="317"/>
                  </a:cubicBezTo>
                  <a:cubicBezTo>
                    <a:pt x="720" y="331"/>
                    <a:pt x="692" y="346"/>
                    <a:pt x="668" y="366"/>
                  </a:cubicBezTo>
                  <a:cubicBezTo>
                    <a:pt x="659" y="371"/>
                    <a:pt x="651" y="379"/>
                    <a:pt x="648" y="384"/>
                  </a:cubicBezTo>
                  <a:cubicBezTo>
                    <a:pt x="640" y="391"/>
                    <a:pt x="633" y="401"/>
                    <a:pt x="625" y="410"/>
                  </a:cubicBezTo>
                  <a:cubicBezTo>
                    <a:pt x="600" y="442"/>
                    <a:pt x="607" y="468"/>
                    <a:pt x="612" y="498"/>
                  </a:cubicBezTo>
                  <a:cubicBezTo>
                    <a:pt x="613" y="511"/>
                    <a:pt x="618" y="522"/>
                    <a:pt x="623" y="534"/>
                  </a:cubicBezTo>
                  <a:cubicBezTo>
                    <a:pt x="628" y="549"/>
                    <a:pt x="633" y="564"/>
                    <a:pt x="635" y="577"/>
                  </a:cubicBezTo>
                  <a:cubicBezTo>
                    <a:pt x="635" y="592"/>
                    <a:pt x="625" y="610"/>
                    <a:pt x="617" y="628"/>
                  </a:cubicBezTo>
                  <a:cubicBezTo>
                    <a:pt x="612" y="638"/>
                    <a:pt x="608" y="646"/>
                    <a:pt x="605" y="653"/>
                  </a:cubicBezTo>
                  <a:cubicBezTo>
                    <a:pt x="603" y="659"/>
                    <a:pt x="599" y="666"/>
                    <a:pt x="592" y="674"/>
                  </a:cubicBezTo>
                  <a:cubicBezTo>
                    <a:pt x="582" y="689"/>
                    <a:pt x="570" y="705"/>
                    <a:pt x="572" y="722"/>
                  </a:cubicBezTo>
                  <a:cubicBezTo>
                    <a:pt x="574" y="733"/>
                    <a:pt x="577" y="742"/>
                    <a:pt x="585" y="747"/>
                  </a:cubicBezTo>
                  <a:cubicBezTo>
                    <a:pt x="597" y="753"/>
                    <a:pt x="610" y="750"/>
                    <a:pt x="623" y="747"/>
                  </a:cubicBezTo>
                  <a:lnTo>
                    <a:pt x="630" y="747"/>
                  </a:lnTo>
                  <a:cubicBezTo>
                    <a:pt x="651" y="742"/>
                    <a:pt x="666" y="740"/>
                    <a:pt x="681" y="748"/>
                  </a:cubicBezTo>
                  <a:cubicBezTo>
                    <a:pt x="702" y="763"/>
                    <a:pt x="699" y="773"/>
                    <a:pt x="684" y="798"/>
                  </a:cubicBezTo>
                  <a:cubicBezTo>
                    <a:pt x="674" y="814"/>
                    <a:pt x="663" y="834"/>
                    <a:pt x="669" y="859"/>
                  </a:cubicBezTo>
                  <a:lnTo>
                    <a:pt x="671" y="868"/>
                  </a:lnTo>
                  <a:cubicBezTo>
                    <a:pt x="678" y="890"/>
                    <a:pt x="679" y="896"/>
                    <a:pt x="666" y="916"/>
                  </a:cubicBezTo>
                  <a:cubicBezTo>
                    <a:pt x="659" y="923"/>
                    <a:pt x="655" y="928"/>
                    <a:pt x="648" y="934"/>
                  </a:cubicBezTo>
                  <a:cubicBezTo>
                    <a:pt x="638" y="944"/>
                    <a:pt x="627" y="956"/>
                    <a:pt x="620" y="971"/>
                  </a:cubicBezTo>
                  <a:cubicBezTo>
                    <a:pt x="605" y="1000"/>
                    <a:pt x="612" y="1023"/>
                    <a:pt x="620" y="1051"/>
                  </a:cubicBezTo>
                  <a:cubicBezTo>
                    <a:pt x="625" y="1068"/>
                    <a:pt x="622" y="1078"/>
                    <a:pt x="618" y="1091"/>
                  </a:cubicBezTo>
                  <a:cubicBezTo>
                    <a:pt x="617" y="1099"/>
                    <a:pt x="613" y="1109"/>
                    <a:pt x="613" y="1122"/>
                  </a:cubicBezTo>
                  <a:cubicBezTo>
                    <a:pt x="613" y="1140"/>
                    <a:pt x="620" y="1153"/>
                    <a:pt x="627" y="1165"/>
                  </a:cubicBezTo>
                  <a:cubicBezTo>
                    <a:pt x="631" y="1173"/>
                    <a:pt x="636" y="1181"/>
                    <a:pt x="638" y="1190"/>
                  </a:cubicBezTo>
                  <a:cubicBezTo>
                    <a:pt x="640" y="1206"/>
                    <a:pt x="635" y="1226"/>
                    <a:pt x="618" y="1251"/>
                  </a:cubicBezTo>
                  <a:cubicBezTo>
                    <a:pt x="605" y="1272"/>
                    <a:pt x="587" y="1285"/>
                    <a:pt x="564" y="1303"/>
                  </a:cubicBezTo>
                  <a:cubicBezTo>
                    <a:pt x="554" y="1310"/>
                    <a:pt x="546" y="1318"/>
                    <a:pt x="538" y="1328"/>
                  </a:cubicBezTo>
                  <a:cubicBezTo>
                    <a:pt x="529" y="1336"/>
                    <a:pt x="521" y="1345"/>
                    <a:pt x="513" y="1351"/>
                  </a:cubicBezTo>
                  <a:cubicBezTo>
                    <a:pt x="510" y="1353"/>
                    <a:pt x="505" y="1356"/>
                    <a:pt x="501" y="1358"/>
                  </a:cubicBezTo>
                  <a:cubicBezTo>
                    <a:pt x="501" y="1328"/>
                    <a:pt x="496" y="1302"/>
                    <a:pt x="477" y="1285"/>
                  </a:cubicBezTo>
                  <a:cubicBezTo>
                    <a:pt x="460" y="1272"/>
                    <a:pt x="432" y="1261"/>
                    <a:pt x="411" y="1256"/>
                  </a:cubicBezTo>
                  <a:cubicBezTo>
                    <a:pt x="399" y="1254"/>
                    <a:pt x="388" y="1254"/>
                    <a:pt x="378" y="1254"/>
                  </a:cubicBezTo>
                  <a:cubicBezTo>
                    <a:pt x="363" y="1256"/>
                    <a:pt x="351" y="1256"/>
                    <a:pt x="338" y="1249"/>
                  </a:cubicBezTo>
                  <a:cubicBezTo>
                    <a:pt x="320" y="1239"/>
                    <a:pt x="305" y="1224"/>
                    <a:pt x="294" y="1206"/>
                  </a:cubicBezTo>
                  <a:cubicBezTo>
                    <a:pt x="289" y="1198"/>
                    <a:pt x="285" y="1190"/>
                    <a:pt x="282" y="1181"/>
                  </a:cubicBezTo>
                  <a:cubicBezTo>
                    <a:pt x="274" y="1162"/>
                    <a:pt x="272" y="1139"/>
                    <a:pt x="277" y="111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2" name="Freeform 68">
              <a:extLst>
                <a:ext uri="{FF2B5EF4-FFF2-40B4-BE49-F238E27FC236}">
                  <a16:creationId xmlns:a16="http://schemas.microsoft.com/office/drawing/2014/main" id="{1D8E1101-1F7D-8D46-A27E-A9C22CC5D6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7675" y="3763963"/>
              <a:ext cx="793750" cy="623887"/>
            </a:xfrm>
            <a:custGeom>
              <a:avLst/>
              <a:gdLst>
                <a:gd name="T0" fmla="*/ 1129 w 2205"/>
                <a:gd name="T1" fmla="*/ 1628 h 1734"/>
                <a:gd name="T2" fmla="*/ 1137 w 2205"/>
                <a:gd name="T3" fmla="*/ 1560 h 1734"/>
                <a:gd name="T4" fmla="*/ 1063 w 2205"/>
                <a:gd name="T5" fmla="*/ 1476 h 1734"/>
                <a:gd name="T6" fmla="*/ 947 w 2205"/>
                <a:gd name="T7" fmla="*/ 1487 h 1734"/>
                <a:gd name="T8" fmla="*/ 750 w 2205"/>
                <a:gd name="T9" fmla="*/ 1402 h 1734"/>
                <a:gd name="T10" fmla="*/ 616 w 2205"/>
                <a:gd name="T11" fmla="*/ 1300 h 1734"/>
                <a:gd name="T12" fmla="*/ 274 w 2205"/>
                <a:gd name="T13" fmla="*/ 1054 h 1734"/>
                <a:gd name="T14" fmla="*/ 64 w 2205"/>
                <a:gd name="T15" fmla="*/ 972 h 1734"/>
                <a:gd name="T16" fmla="*/ 33 w 2205"/>
                <a:gd name="T17" fmla="*/ 842 h 1734"/>
                <a:gd name="T18" fmla="*/ 23 w 2205"/>
                <a:gd name="T19" fmla="*/ 707 h 1734"/>
                <a:gd name="T20" fmla="*/ 23 w 2205"/>
                <a:gd name="T21" fmla="*/ 623 h 1734"/>
                <a:gd name="T22" fmla="*/ 97 w 2205"/>
                <a:gd name="T23" fmla="*/ 506 h 1734"/>
                <a:gd name="T24" fmla="*/ 163 w 2205"/>
                <a:gd name="T25" fmla="*/ 459 h 1734"/>
                <a:gd name="T26" fmla="*/ 285 w 2205"/>
                <a:gd name="T27" fmla="*/ 331 h 1734"/>
                <a:gd name="T28" fmla="*/ 402 w 2205"/>
                <a:gd name="T29" fmla="*/ 239 h 1734"/>
                <a:gd name="T30" fmla="*/ 448 w 2205"/>
                <a:gd name="T31" fmla="*/ 150 h 1734"/>
                <a:gd name="T32" fmla="*/ 471 w 2205"/>
                <a:gd name="T33" fmla="*/ 79 h 1734"/>
                <a:gd name="T34" fmla="*/ 516 w 2205"/>
                <a:gd name="T35" fmla="*/ 21 h 1734"/>
                <a:gd name="T36" fmla="*/ 830 w 2205"/>
                <a:gd name="T37" fmla="*/ 115 h 1734"/>
                <a:gd name="T38" fmla="*/ 998 w 2205"/>
                <a:gd name="T39" fmla="*/ 151 h 1734"/>
                <a:gd name="T40" fmla="*/ 1099 w 2205"/>
                <a:gd name="T41" fmla="*/ 212 h 1734"/>
                <a:gd name="T42" fmla="*/ 1181 w 2205"/>
                <a:gd name="T43" fmla="*/ 242 h 1734"/>
                <a:gd name="T44" fmla="*/ 1374 w 2205"/>
                <a:gd name="T45" fmla="*/ 171 h 1734"/>
                <a:gd name="T46" fmla="*/ 1512 w 2205"/>
                <a:gd name="T47" fmla="*/ 239 h 1734"/>
                <a:gd name="T48" fmla="*/ 1575 w 2205"/>
                <a:gd name="T49" fmla="*/ 427 h 1734"/>
                <a:gd name="T50" fmla="*/ 1753 w 2205"/>
                <a:gd name="T51" fmla="*/ 563 h 1734"/>
                <a:gd name="T52" fmla="*/ 1949 w 2205"/>
                <a:gd name="T53" fmla="*/ 667 h 1734"/>
                <a:gd name="T54" fmla="*/ 1998 w 2205"/>
                <a:gd name="T55" fmla="*/ 740 h 1734"/>
                <a:gd name="T56" fmla="*/ 2125 w 2205"/>
                <a:gd name="T57" fmla="*/ 827 h 1734"/>
                <a:gd name="T58" fmla="*/ 2076 w 2205"/>
                <a:gd name="T59" fmla="*/ 914 h 1734"/>
                <a:gd name="T60" fmla="*/ 2054 w 2205"/>
                <a:gd name="T61" fmla="*/ 1188 h 1734"/>
                <a:gd name="T62" fmla="*/ 2163 w 2205"/>
                <a:gd name="T63" fmla="*/ 1229 h 1734"/>
                <a:gd name="T64" fmla="*/ 2129 w 2205"/>
                <a:gd name="T65" fmla="*/ 1351 h 1734"/>
                <a:gd name="T66" fmla="*/ 2036 w 2205"/>
                <a:gd name="T67" fmla="*/ 1464 h 1734"/>
                <a:gd name="T68" fmla="*/ 2045 w 2205"/>
                <a:gd name="T69" fmla="*/ 1506 h 1734"/>
                <a:gd name="T70" fmla="*/ 1957 w 2205"/>
                <a:gd name="T71" fmla="*/ 1560 h 1734"/>
                <a:gd name="T72" fmla="*/ 1878 w 2205"/>
                <a:gd name="T73" fmla="*/ 1578 h 1734"/>
                <a:gd name="T74" fmla="*/ 1751 w 2205"/>
                <a:gd name="T75" fmla="*/ 1570 h 1734"/>
                <a:gd name="T76" fmla="*/ 1682 w 2205"/>
                <a:gd name="T77" fmla="*/ 1560 h 1734"/>
                <a:gd name="T78" fmla="*/ 1641 w 2205"/>
                <a:gd name="T79" fmla="*/ 1552 h 1734"/>
                <a:gd name="T80" fmla="*/ 1488 w 2205"/>
                <a:gd name="T81" fmla="*/ 1646 h 1734"/>
                <a:gd name="T82" fmla="*/ 1353 w 2205"/>
                <a:gd name="T83" fmla="*/ 1652 h 1734"/>
                <a:gd name="T84" fmla="*/ 1308 w 2205"/>
                <a:gd name="T85" fmla="*/ 1662 h 1734"/>
                <a:gd name="T86" fmla="*/ 1194 w 2205"/>
                <a:gd name="T87" fmla="*/ 1702 h 1734"/>
                <a:gd name="T88" fmla="*/ 1132 w 2205"/>
                <a:gd name="T89" fmla="*/ 1692 h 1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05" h="1734">
                  <a:moveTo>
                    <a:pt x="1132" y="1692"/>
                  </a:moveTo>
                  <a:cubicBezTo>
                    <a:pt x="1135" y="1680"/>
                    <a:pt x="1140" y="1669"/>
                    <a:pt x="1138" y="1659"/>
                  </a:cubicBezTo>
                  <a:cubicBezTo>
                    <a:pt x="1138" y="1647"/>
                    <a:pt x="1134" y="1636"/>
                    <a:pt x="1129" y="1628"/>
                  </a:cubicBezTo>
                  <a:cubicBezTo>
                    <a:pt x="1125" y="1621"/>
                    <a:pt x="1122" y="1614"/>
                    <a:pt x="1122" y="1608"/>
                  </a:cubicBezTo>
                  <a:cubicBezTo>
                    <a:pt x="1122" y="1600"/>
                    <a:pt x="1125" y="1588"/>
                    <a:pt x="1130" y="1578"/>
                  </a:cubicBezTo>
                  <a:cubicBezTo>
                    <a:pt x="1132" y="1573"/>
                    <a:pt x="1134" y="1567"/>
                    <a:pt x="1137" y="1560"/>
                  </a:cubicBezTo>
                  <a:cubicBezTo>
                    <a:pt x="1142" y="1539"/>
                    <a:pt x="1152" y="1504"/>
                    <a:pt x="1138" y="1481"/>
                  </a:cubicBezTo>
                  <a:cubicBezTo>
                    <a:pt x="1132" y="1473"/>
                    <a:pt x="1124" y="1466"/>
                    <a:pt x="1114" y="1463"/>
                  </a:cubicBezTo>
                  <a:cubicBezTo>
                    <a:pt x="1096" y="1458"/>
                    <a:pt x="1077" y="1468"/>
                    <a:pt x="1063" y="1476"/>
                  </a:cubicBezTo>
                  <a:cubicBezTo>
                    <a:pt x="1058" y="1479"/>
                    <a:pt x="1053" y="1483"/>
                    <a:pt x="1048" y="1484"/>
                  </a:cubicBezTo>
                  <a:cubicBezTo>
                    <a:pt x="1026" y="1491"/>
                    <a:pt x="1007" y="1491"/>
                    <a:pt x="982" y="1489"/>
                  </a:cubicBezTo>
                  <a:cubicBezTo>
                    <a:pt x="970" y="1487"/>
                    <a:pt x="959" y="1487"/>
                    <a:pt x="947" y="1487"/>
                  </a:cubicBezTo>
                  <a:cubicBezTo>
                    <a:pt x="919" y="1487"/>
                    <a:pt x="890" y="1486"/>
                    <a:pt x="865" y="1478"/>
                  </a:cubicBezTo>
                  <a:cubicBezTo>
                    <a:pt x="847" y="1471"/>
                    <a:pt x="839" y="1463"/>
                    <a:pt x="825" y="1448"/>
                  </a:cubicBezTo>
                  <a:cubicBezTo>
                    <a:pt x="802" y="1418"/>
                    <a:pt x="786" y="1408"/>
                    <a:pt x="750" y="1402"/>
                  </a:cubicBezTo>
                  <a:cubicBezTo>
                    <a:pt x="743" y="1400"/>
                    <a:pt x="735" y="1399"/>
                    <a:pt x="728" y="1399"/>
                  </a:cubicBezTo>
                  <a:cubicBezTo>
                    <a:pt x="692" y="1392"/>
                    <a:pt x="659" y="1387"/>
                    <a:pt x="639" y="1356"/>
                  </a:cubicBezTo>
                  <a:cubicBezTo>
                    <a:pt x="629" y="1339"/>
                    <a:pt x="623" y="1319"/>
                    <a:pt x="616" y="1300"/>
                  </a:cubicBezTo>
                  <a:cubicBezTo>
                    <a:pt x="608" y="1273"/>
                    <a:pt x="598" y="1244"/>
                    <a:pt x="575" y="1219"/>
                  </a:cubicBezTo>
                  <a:cubicBezTo>
                    <a:pt x="506" y="1143"/>
                    <a:pt x="405" y="1105"/>
                    <a:pt x="310" y="1067"/>
                  </a:cubicBezTo>
                  <a:lnTo>
                    <a:pt x="274" y="1054"/>
                  </a:lnTo>
                  <a:cubicBezTo>
                    <a:pt x="252" y="1044"/>
                    <a:pt x="229" y="1034"/>
                    <a:pt x="206" y="1025"/>
                  </a:cubicBezTo>
                  <a:cubicBezTo>
                    <a:pt x="170" y="1010"/>
                    <a:pt x="132" y="993"/>
                    <a:pt x="94" y="980"/>
                  </a:cubicBezTo>
                  <a:cubicBezTo>
                    <a:pt x="84" y="977"/>
                    <a:pt x="74" y="973"/>
                    <a:pt x="64" y="972"/>
                  </a:cubicBezTo>
                  <a:cubicBezTo>
                    <a:pt x="61" y="959"/>
                    <a:pt x="59" y="947"/>
                    <a:pt x="56" y="939"/>
                  </a:cubicBezTo>
                  <a:cubicBezTo>
                    <a:pt x="54" y="929"/>
                    <a:pt x="51" y="919"/>
                    <a:pt x="48" y="908"/>
                  </a:cubicBezTo>
                  <a:cubicBezTo>
                    <a:pt x="40" y="886"/>
                    <a:pt x="33" y="865"/>
                    <a:pt x="33" y="842"/>
                  </a:cubicBezTo>
                  <a:cubicBezTo>
                    <a:pt x="33" y="830"/>
                    <a:pt x="36" y="819"/>
                    <a:pt x="41" y="804"/>
                  </a:cubicBezTo>
                  <a:cubicBezTo>
                    <a:pt x="46" y="784"/>
                    <a:pt x="54" y="761"/>
                    <a:pt x="46" y="740"/>
                  </a:cubicBezTo>
                  <a:cubicBezTo>
                    <a:pt x="41" y="725"/>
                    <a:pt x="31" y="715"/>
                    <a:pt x="23" y="707"/>
                  </a:cubicBezTo>
                  <a:cubicBezTo>
                    <a:pt x="15" y="698"/>
                    <a:pt x="8" y="692"/>
                    <a:pt x="5" y="684"/>
                  </a:cubicBezTo>
                  <a:cubicBezTo>
                    <a:pt x="0" y="667"/>
                    <a:pt x="15" y="639"/>
                    <a:pt x="22" y="626"/>
                  </a:cubicBezTo>
                  <a:lnTo>
                    <a:pt x="23" y="623"/>
                  </a:lnTo>
                  <a:cubicBezTo>
                    <a:pt x="36" y="596"/>
                    <a:pt x="51" y="567"/>
                    <a:pt x="48" y="539"/>
                  </a:cubicBezTo>
                  <a:cubicBezTo>
                    <a:pt x="53" y="535"/>
                    <a:pt x="56" y="530"/>
                    <a:pt x="61" y="527"/>
                  </a:cubicBezTo>
                  <a:cubicBezTo>
                    <a:pt x="73" y="519"/>
                    <a:pt x="84" y="512"/>
                    <a:pt x="97" y="506"/>
                  </a:cubicBezTo>
                  <a:cubicBezTo>
                    <a:pt x="106" y="502"/>
                    <a:pt x="114" y="497"/>
                    <a:pt x="120" y="494"/>
                  </a:cubicBezTo>
                  <a:lnTo>
                    <a:pt x="125" y="491"/>
                  </a:lnTo>
                  <a:cubicBezTo>
                    <a:pt x="138" y="483"/>
                    <a:pt x="153" y="474"/>
                    <a:pt x="163" y="459"/>
                  </a:cubicBezTo>
                  <a:cubicBezTo>
                    <a:pt x="170" y="448"/>
                    <a:pt x="171" y="436"/>
                    <a:pt x="175" y="425"/>
                  </a:cubicBezTo>
                  <a:cubicBezTo>
                    <a:pt x="176" y="415"/>
                    <a:pt x="178" y="405"/>
                    <a:pt x="185" y="395"/>
                  </a:cubicBezTo>
                  <a:cubicBezTo>
                    <a:pt x="198" y="377"/>
                    <a:pt x="241" y="321"/>
                    <a:pt x="285" y="331"/>
                  </a:cubicBezTo>
                  <a:cubicBezTo>
                    <a:pt x="292" y="333"/>
                    <a:pt x="298" y="334"/>
                    <a:pt x="305" y="336"/>
                  </a:cubicBezTo>
                  <a:cubicBezTo>
                    <a:pt x="328" y="344"/>
                    <a:pt x="343" y="347"/>
                    <a:pt x="369" y="313"/>
                  </a:cubicBezTo>
                  <a:cubicBezTo>
                    <a:pt x="391" y="288"/>
                    <a:pt x="397" y="263"/>
                    <a:pt x="402" y="239"/>
                  </a:cubicBezTo>
                  <a:cubicBezTo>
                    <a:pt x="405" y="229"/>
                    <a:pt x="409" y="217"/>
                    <a:pt x="412" y="206"/>
                  </a:cubicBezTo>
                  <a:cubicBezTo>
                    <a:pt x="415" y="196"/>
                    <a:pt x="422" y="189"/>
                    <a:pt x="428" y="181"/>
                  </a:cubicBezTo>
                  <a:cubicBezTo>
                    <a:pt x="435" y="173"/>
                    <a:pt x="443" y="163"/>
                    <a:pt x="448" y="150"/>
                  </a:cubicBezTo>
                  <a:cubicBezTo>
                    <a:pt x="451" y="138"/>
                    <a:pt x="450" y="128"/>
                    <a:pt x="448" y="118"/>
                  </a:cubicBezTo>
                  <a:cubicBezTo>
                    <a:pt x="448" y="110"/>
                    <a:pt x="447" y="104"/>
                    <a:pt x="450" y="97"/>
                  </a:cubicBezTo>
                  <a:cubicBezTo>
                    <a:pt x="453" y="90"/>
                    <a:pt x="461" y="84"/>
                    <a:pt x="471" y="79"/>
                  </a:cubicBezTo>
                  <a:cubicBezTo>
                    <a:pt x="478" y="72"/>
                    <a:pt x="486" y="67"/>
                    <a:pt x="493" y="59"/>
                  </a:cubicBezTo>
                  <a:cubicBezTo>
                    <a:pt x="498" y="53"/>
                    <a:pt x="503" y="46"/>
                    <a:pt x="506" y="38"/>
                  </a:cubicBezTo>
                  <a:cubicBezTo>
                    <a:pt x="509" y="33"/>
                    <a:pt x="512" y="26"/>
                    <a:pt x="516" y="21"/>
                  </a:cubicBezTo>
                  <a:cubicBezTo>
                    <a:pt x="534" y="0"/>
                    <a:pt x="555" y="2"/>
                    <a:pt x="595" y="25"/>
                  </a:cubicBezTo>
                  <a:cubicBezTo>
                    <a:pt x="648" y="56"/>
                    <a:pt x="692" y="62"/>
                    <a:pt x="745" y="71"/>
                  </a:cubicBezTo>
                  <a:cubicBezTo>
                    <a:pt x="786" y="77"/>
                    <a:pt x="801" y="90"/>
                    <a:pt x="830" y="115"/>
                  </a:cubicBezTo>
                  <a:lnTo>
                    <a:pt x="837" y="122"/>
                  </a:lnTo>
                  <a:cubicBezTo>
                    <a:pt x="870" y="148"/>
                    <a:pt x="934" y="166"/>
                    <a:pt x="974" y="156"/>
                  </a:cubicBezTo>
                  <a:cubicBezTo>
                    <a:pt x="982" y="156"/>
                    <a:pt x="990" y="153"/>
                    <a:pt x="998" y="151"/>
                  </a:cubicBezTo>
                  <a:cubicBezTo>
                    <a:pt x="1030" y="143"/>
                    <a:pt x="1049" y="138"/>
                    <a:pt x="1066" y="158"/>
                  </a:cubicBezTo>
                  <a:cubicBezTo>
                    <a:pt x="1069" y="163"/>
                    <a:pt x="1073" y="170"/>
                    <a:pt x="1074" y="176"/>
                  </a:cubicBezTo>
                  <a:cubicBezTo>
                    <a:pt x="1079" y="189"/>
                    <a:pt x="1086" y="203"/>
                    <a:pt x="1099" y="212"/>
                  </a:cubicBezTo>
                  <a:cubicBezTo>
                    <a:pt x="1110" y="221"/>
                    <a:pt x="1124" y="221"/>
                    <a:pt x="1134" y="221"/>
                  </a:cubicBezTo>
                  <a:cubicBezTo>
                    <a:pt x="1138" y="222"/>
                    <a:pt x="1143" y="222"/>
                    <a:pt x="1148" y="222"/>
                  </a:cubicBezTo>
                  <a:cubicBezTo>
                    <a:pt x="1160" y="226"/>
                    <a:pt x="1171" y="234"/>
                    <a:pt x="1181" y="242"/>
                  </a:cubicBezTo>
                  <a:cubicBezTo>
                    <a:pt x="1196" y="254"/>
                    <a:pt x="1213" y="267"/>
                    <a:pt x="1236" y="268"/>
                  </a:cubicBezTo>
                  <a:cubicBezTo>
                    <a:pt x="1278" y="270"/>
                    <a:pt x="1310" y="235"/>
                    <a:pt x="1338" y="206"/>
                  </a:cubicBezTo>
                  <a:cubicBezTo>
                    <a:pt x="1351" y="193"/>
                    <a:pt x="1363" y="179"/>
                    <a:pt x="1374" y="171"/>
                  </a:cubicBezTo>
                  <a:cubicBezTo>
                    <a:pt x="1395" y="156"/>
                    <a:pt x="1414" y="151"/>
                    <a:pt x="1433" y="160"/>
                  </a:cubicBezTo>
                  <a:cubicBezTo>
                    <a:pt x="1451" y="166"/>
                    <a:pt x="1461" y="181"/>
                    <a:pt x="1471" y="198"/>
                  </a:cubicBezTo>
                  <a:cubicBezTo>
                    <a:pt x="1483" y="212"/>
                    <a:pt x="1494" y="229"/>
                    <a:pt x="1512" y="239"/>
                  </a:cubicBezTo>
                  <a:cubicBezTo>
                    <a:pt x="1527" y="247"/>
                    <a:pt x="1545" y="247"/>
                    <a:pt x="1562" y="244"/>
                  </a:cubicBezTo>
                  <a:cubicBezTo>
                    <a:pt x="1580" y="288"/>
                    <a:pt x="1600" y="338"/>
                    <a:pt x="1598" y="377"/>
                  </a:cubicBezTo>
                  <a:cubicBezTo>
                    <a:pt x="1596" y="392"/>
                    <a:pt x="1587" y="408"/>
                    <a:pt x="1575" y="427"/>
                  </a:cubicBezTo>
                  <a:cubicBezTo>
                    <a:pt x="1555" y="455"/>
                    <a:pt x="1532" y="489"/>
                    <a:pt x="1560" y="527"/>
                  </a:cubicBezTo>
                  <a:cubicBezTo>
                    <a:pt x="1593" y="568"/>
                    <a:pt x="1661" y="565"/>
                    <a:pt x="1715" y="563"/>
                  </a:cubicBezTo>
                  <a:cubicBezTo>
                    <a:pt x="1728" y="563"/>
                    <a:pt x="1741" y="562"/>
                    <a:pt x="1753" y="563"/>
                  </a:cubicBezTo>
                  <a:cubicBezTo>
                    <a:pt x="1783" y="563"/>
                    <a:pt x="1878" y="572"/>
                    <a:pt x="1914" y="611"/>
                  </a:cubicBezTo>
                  <a:cubicBezTo>
                    <a:pt x="1919" y="618"/>
                    <a:pt x="1923" y="624"/>
                    <a:pt x="1924" y="632"/>
                  </a:cubicBezTo>
                  <a:cubicBezTo>
                    <a:pt x="1929" y="642"/>
                    <a:pt x="1934" y="656"/>
                    <a:pt x="1949" y="667"/>
                  </a:cubicBezTo>
                  <a:cubicBezTo>
                    <a:pt x="1956" y="672"/>
                    <a:pt x="1964" y="675"/>
                    <a:pt x="1969" y="679"/>
                  </a:cubicBezTo>
                  <a:cubicBezTo>
                    <a:pt x="1982" y="684"/>
                    <a:pt x="1987" y="687"/>
                    <a:pt x="1992" y="700"/>
                  </a:cubicBezTo>
                  <a:cubicBezTo>
                    <a:pt x="1997" y="712"/>
                    <a:pt x="1998" y="726"/>
                    <a:pt x="1998" y="740"/>
                  </a:cubicBezTo>
                  <a:cubicBezTo>
                    <a:pt x="2002" y="771"/>
                    <a:pt x="2005" y="810"/>
                    <a:pt x="2066" y="812"/>
                  </a:cubicBezTo>
                  <a:lnTo>
                    <a:pt x="2077" y="812"/>
                  </a:lnTo>
                  <a:cubicBezTo>
                    <a:pt x="2101" y="812"/>
                    <a:pt x="2114" y="814"/>
                    <a:pt x="2125" y="827"/>
                  </a:cubicBezTo>
                  <a:cubicBezTo>
                    <a:pt x="2137" y="840"/>
                    <a:pt x="2138" y="865"/>
                    <a:pt x="2130" y="880"/>
                  </a:cubicBezTo>
                  <a:cubicBezTo>
                    <a:pt x="2125" y="889"/>
                    <a:pt x="2114" y="894"/>
                    <a:pt x="2101" y="899"/>
                  </a:cubicBezTo>
                  <a:cubicBezTo>
                    <a:pt x="2092" y="904"/>
                    <a:pt x="2084" y="908"/>
                    <a:pt x="2076" y="914"/>
                  </a:cubicBezTo>
                  <a:cubicBezTo>
                    <a:pt x="2048" y="936"/>
                    <a:pt x="2025" y="964"/>
                    <a:pt x="2013" y="980"/>
                  </a:cubicBezTo>
                  <a:cubicBezTo>
                    <a:pt x="1985" y="1018"/>
                    <a:pt x="1979" y="1074"/>
                    <a:pt x="1998" y="1127"/>
                  </a:cubicBezTo>
                  <a:cubicBezTo>
                    <a:pt x="2010" y="1155"/>
                    <a:pt x="2026" y="1173"/>
                    <a:pt x="2054" y="1188"/>
                  </a:cubicBezTo>
                  <a:cubicBezTo>
                    <a:pt x="2063" y="1191"/>
                    <a:pt x="2071" y="1196"/>
                    <a:pt x="2079" y="1199"/>
                  </a:cubicBezTo>
                  <a:cubicBezTo>
                    <a:pt x="2099" y="1211"/>
                    <a:pt x="2119" y="1222"/>
                    <a:pt x="2138" y="1226"/>
                  </a:cubicBezTo>
                  <a:cubicBezTo>
                    <a:pt x="2147" y="1227"/>
                    <a:pt x="2155" y="1229"/>
                    <a:pt x="2163" y="1229"/>
                  </a:cubicBezTo>
                  <a:cubicBezTo>
                    <a:pt x="2181" y="1230"/>
                    <a:pt x="2193" y="1230"/>
                    <a:pt x="2199" y="1242"/>
                  </a:cubicBezTo>
                  <a:cubicBezTo>
                    <a:pt x="2204" y="1252"/>
                    <a:pt x="2198" y="1267"/>
                    <a:pt x="2191" y="1278"/>
                  </a:cubicBezTo>
                  <a:cubicBezTo>
                    <a:pt x="2176" y="1305"/>
                    <a:pt x="2152" y="1328"/>
                    <a:pt x="2129" y="1351"/>
                  </a:cubicBezTo>
                  <a:cubicBezTo>
                    <a:pt x="2115" y="1362"/>
                    <a:pt x="2104" y="1375"/>
                    <a:pt x="2092" y="1389"/>
                  </a:cubicBezTo>
                  <a:cubicBezTo>
                    <a:pt x="2089" y="1392"/>
                    <a:pt x="2082" y="1397"/>
                    <a:pt x="2077" y="1402"/>
                  </a:cubicBezTo>
                  <a:cubicBezTo>
                    <a:pt x="2059" y="1418"/>
                    <a:pt x="2036" y="1440"/>
                    <a:pt x="2036" y="1464"/>
                  </a:cubicBezTo>
                  <a:cubicBezTo>
                    <a:pt x="2036" y="1476"/>
                    <a:pt x="2041" y="1484"/>
                    <a:pt x="2045" y="1489"/>
                  </a:cubicBezTo>
                  <a:cubicBezTo>
                    <a:pt x="2046" y="1492"/>
                    <a:pt x="2048" y="1494"/>
                    <a:pt x="2048" y="1496"/>
                  </a:cubicBezTo>
                  <a:cubicBezTo>
                    <a:pt x="2048" y="1501"/>
                    <a:pt x="2048" y="1501"/>
                    <a:pt x="2045" y="1506"/>
                  </a:cubicBezTo>
                  <a:cubicBezTo>
                    <a:pt x="2043" y="1507"/>
                    <a:pt x="2041" y="1511"/>
                    <a:pt x="2038" y="1515"/>
                  </a:cubicBezTo>
                  <a:cubicBezTo>
                    <a:pt x="2035" y="1522"/>
                    <a:pt x="2031" y="1530"/>
                    <a:pt x="2031" y="1537"/>
                  </a:cubicBezTo>
                  <a:cubicBezTo>
                    <a:pt x="2005" y="1539"/>
                    <a:pt x="1979" y="1547"/>
                    <a:pt x="1957" y="1560"/>
                  </a:cubicBezTo>
                  <a:cubicBezTo>
                    <a:pt x="1951" y="1563"/>
                    <a:pt x="1944" y="1568"/>
                    <a:pt x="1939" y="1571"/>
                  </a:cubicBezTo>
                  <a:cubicBezTo>
                    <a:pt x="1929" y="1580"/>
                    <a:pt x="1919" y="1586"/>
                    <a:pt x="1911" y="1588"/>
                  </a:cubicBezTo>
                  <a:cubicBezTo>
                    <a:pt x="1900" y="1591"/>
                    <a:pt x="1891" y="1586"/>
                    <a:pt x="1878" y="1578"/>
                  </a:cubicBezTo>
                  <a:cubicBezTo>
                    <a:pt x="1868" y="1573"/>
                    <a:pt x="1858" y="1567"/>
                    <a:pt x="1845" y="1565"/>
                  </a:cubicBezTo>
                  <a:cubicBezTo>
                    <a:pt x="1827" y="1562"/>
                    <a:pt x="1811" y="1567"/>
                    <a:pt x="1796" y="1570"/>
                  </a:cubicBezTo>
                  <a:cubicBezTo>
                    <a:pt x="1779" y="1575"/>
                    <a:pt x="1768" y="1578"/>
                    <a:pt x="1751" y="1570"/>
                  </a:cubicBezTo>
                  <a:cubicBezTo>
                    <a:pt x="1746" y="1568"/>
                    <a:pt x="1743" y="1565"/>
                    <a:pt x="1740" y="1563"/>
                  </a:cubicBezTo>
                  <a:cubicBezTo>
                    <a:pt x="1728" y="1557"/>
                    <a:pt x="1720" y="1552"/>
                    <a:pt x="1700" y="1553"/>
                  </a:cubicBezTo>
                  <a:cubicBezTo>
                    <a:pt x="1692" y="1553"/>
                    <a:pt x="1685" y="1557"/>
                    <a:pt x="1682" y="1560"/>
                  </a:cubicBezTo>
                  <a:cubicBezTo>
                    <a:pt x="1679" y="1562"/>
                    <a:pt x="1677" y="1563"/>
                    <a:pt x="1672" y="1562"/>
                  </a:cubicBezTo>
                  <a:cubicBezTo>
                    <a:pt x="1671" y="1563"/>
                    <a:pt x="1667" y="1560"/>
                    <a:pt x="1666" y="1558"/>
                  </a:cubicBezTo>
                  <a:cubicBezTo>
                    <a:pt x="1659" y="1555"/>
                    <a:pt x="1652" y="1550"/>
                    <a:pt x="1641" y="1552"/>
                  </a:cubicBezTo>
                  <a:cubicBezTo>
                    <a:pt x="1615" y="1552"/>
                    <a:pt x="1593" y="1573"/>
                    <a:pt x="1575" y="1593"/>
                  </a:cubicBezTo>
                  <a:cubicBezTo>
                    <a:pt x="1567" y="1603"/>
                    <a:pt x="1559" y="1611"/>
                    <a:pt x="1550" y="1616"/>
                  </a:cubicBezTo>
                  <a:cubicBezTo>
                    <a:pt x="1531" y="1629"/>
                    <a:pt x="1509" y="1642"/>
                    <a:pt x="1488" y="1646"/>
                  </a:cubicBezTo>
                  <a:cubicBezTo>
                    <a:pt x="1475" y="1649"/>
                    <a:pt x="1460" y="1646"/>
                    <a:pt x="1445" y="1644"/>
                  </a:cubicBezTo>
                  <a:cubicBezTo>
                    <a:pt x="1430" y="1642"/>
                    <a:pt x="1415" y="1639"/>
                    <a:pt x="1399" y="1641"/>
                  </a:cubicBezTo>
                  <a:cubicBezTo>
                    <a:pt x="1382" y="1642"/>
                    <a:pt x="1367" y="1647"/>
                    <a:pt x="1353" y="1652"/>
                  </a:cubicBezTo>
                  <a:cubicBezTo>
                    <a:pt x="1348" y="1654"/>
                    <a:pt x="1341" y="1656"/>
                    <a:pt x="1334" y="1657"/>
                  </a:cubicBezTo>
                  <a:cubicBezTo>
                    <a:pt x="1333" y="1657"/>
                    <a:pt x="1331" y="1659"/>
                    <a:pt x="1330" y="1659"/>
                  </a:cubicBezTo>
                  <a:cubicBezTo>
                    <a:pt x="1323" y="1660"/>
                    <a:pt x="1316" y="1660"/>
                    <a:pt x="1308" y="1662"/>
                  </a:cubicBezTo>
                  <a:cubicBezTo>
                    <a:pt x="1302" y="1662"/>
                    <a:pt x="1295" y="1662"/>
                    <a:pt x="1287" y="1662"/>
                  </a:cubicBezTo>
                  <a:cubicBezTo>
                    <a:pt x="1280" y="1662"/>
                    <a:pt x="1270" y="1662"/>
                    <a:pt x="1262" y="1662"/>
                  </a:cubicBezTo>
                  <a:cubicBezTo>
                    <a:pt x="1234" y="1664"/>
                    <a:pt x="1213" y="1684"/>
                    <a:pt x="1194" y="1702"/>
                  </a:cubicBezTo>
                  <a:cubicBezTo>
                    <a:pt x="1178" y="1720"/>
                    <a:pt x="1162" y="1733"/>
                    <a:pt x="1142" y="1731"/>
                  </a:cubicBezTo>
                  <a:cubicBezTo>
                    <a:pt x="1135" y="1730"/>
                    <a:pt x="1129" y="1728"/>
                    <a:pt x="1127" y="1725"/>
                  </a:cubicBezTo>
                  <a:cubicBezTo>
                    <a:pt x="1124" y="1718"/>
                    <a:pt x="1129" y="1703"/>
                    <a:pt x="1132" y="169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3" name="Freeform 69">
              <a:extLst>
                <a:ext uri="{FF2B5EF4-FFF2-40B4-BE49-F238E27FC236}">
                  <a16:creationId xmlns:a16="http://schemas.microsoft.com/office/drawing/2014/main" id="{31C1E0C8-F092-EC42-9924-B552B2647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750" y="4764088"/>
              <a:ext cx="379413" cy="376237"/>
            </a:xfrm>
            <a:custGeom>
              <a:avLst/>
              <a:gdLst>
                <a:gd name="T0" fmla="*/ 1009 w 1055"/>
                <a:gd name="T1" fmla="*/ 906 h 1045"/>
                <a:gd name="T2" fmla="*/ 970 w 1055"/>
                <a:gd name="T3" fmla="*/ 935 h 1045"/>
                <a:gd name="T4" fmla="*/ 856 w 1055"/>
                <a:gd name="T5" fmla="*/ 947 h 1045"/>
                <a:gd name="T6" fmla="*/ 743 w 1055"/>
                <a:gd name="T7" fmla="*/ 967 h 1045"/>
                <a:gd name="T8" fmla="*/ 662 w 1055"/>
                <a:gd name="T9" fmla="*/ 1016 h 1045"/>
                <a:gd name="T10" fmla="*/ 634 w 1055"/>
                <a:gd name="T11" fmla="*/ 1028 h 1045"/>
                <a:gd name="T12" fmla="*/ 512 w 1055"/>
                <a:gd name="T13" fmla="*/ 1008 h 1045"/>
                <a:gd name="T14" fmla="*/ 482 w 1055"/>
                <a:gd name="T15" fmla="*/ 931 h 1045"/>
                <a:gd name="T16" fmla="*/ 430 w 1055"/>
                <a:gd name="T17" fmla="*/ 832 h 1045"/>
                <a:gd name="T18" fmla="*/ 334 w 1055"/>
                <a:gd name="T19" fmla="*/ 866 h 1045"/>
                <a:gd name="T20" fmla="*/ 260 w 1055"/>
                <a:gd name="T21" fmla="*/ 837 h 1045"/>
                <a:gd name="T22" fmla="*/ 186 w 1055"/>
                <a:gd name="T23" fmla="*/ 809 h 1045"/>
                <a:gd name="T24" fmla="*/ 145 w 1055"/>
                <a:gd name="T25" fmla="*/ 739 h 1045"/>
                <a:gd name="T26" fmla="*/ 77 w 1055"/>
                <a:gd name="T27" fmla="*/ 641 h 1045"/>
                <a:gd name="T28" fmla="*/ 4 w 1055"/>
                <a:gd name="T29" fmla="*/ 517 h 1045"/>
                <a:gd name="T30" fmla="*/ 16 w 1055"/>
                <a:gd name="T31" fmla="*/ 502 h 1045"/>
                <a:gd name="T32" fmla="*/ 102 w 1055"/>
                <a:gd name="T33" fmla="*/ 438 h 1045"/>
                <a:gd name="T34" fmla="*/ 49 w 1055"/>
                <a:gd name="T35" fmla="*/ 379 h 1045"/>
                <a:gd name="T36" fmla="*/ 18 w 1055"/>
                <a:gd name="T37" fmla="*/ 346 h 1045"/>
                <a:gd name="T38" fmla="*/ 84 w 1055"/>
                <a:gd name="T39" fmla="*/ 321 h 1045"/>
                <a:gd name="T40" fmla="*/ 207 w 1055"/>
                <a:gd name="T41" fmla="*/ 291 h 1045"/>
                <a:gd name="T42" fmla="*/ 322 w 1055"/>
                <a:gd name="T43" fmla="*/ 244 h 1045"/>
                <a:gd name="T44" fmla="*/ 388 w 1055"/>
                <a:gd name="T45" fmla="*/ 181 h 1045"/>
                <a:gd name="T46" fmla="*/ 431 w 1055"/>
                <a:gd name="T47" fmla="*/ 148 h 1045"/>
                <a:gd name="T48" fmla="*/ 510 w 1055"/>
                <a:gd name="T49" fmla="*/ 156 h 1045"/>
                <a:gd name="T50" fmla="*/ 540 w 1055"/>
                <a:gd name="T51" fmla="*/ 145 h 1045"/>
                <a:gd name="T52" fmla="*/ 570 w 1055"/>
                <a:gd name="T53" fmla="*/ 62 h 1045"/>
                <a:gd name="T54" fmla="*/ 626 w 1055"/>
                <a:gd name="T55" fmla="*/ 1 h 1045"/>
                <a:gd name="T56" fmla="*/ 639 w 1055"/>
                <a:gd name="T57" fmla="*/ 0 h 1045"/>
                <a:gd name="T58" fmla="*/ 751 w 1055"/>
                <a:gd name="T59" fmla="*/ 69 h 1045"/>
                <a:gd name="T60" fmla="*/ 833 w 1055"/>
                <a:gd name="T61" fmla="*/ 94 h 1045"/>
                <a:gd name="T62" fmla="*/ 838 w 1055"/>
                <a:gd name="T63" fmla="*/ 161 h 1045"/>
                <a:gd name="T64" fmla="*/ 746 w 1055"/>
                <a:gd name="T65" fmla="*/ 272 h 1045"/>
                <a:gd name="T66" fmla="*/ 741 w 1055"/>
                <a:gd name="T67" fmla="*/ 308 h 1045"/>
                <a:gd name="T68" fmla="*/ 817 w 1055"/>
                <a:gd name="T69" fmla="*/ 431 h 1045"/>
                <a:gd name="T70" fmla="*/ 861 w 1055"/>
                <a:gd name="T71" fmla="*/ 418 h 1045"/>
                <a:gd name="T72" fmla="*/ 901 w 1055"/>
                <a:gd name="T73" fmla="*/ 380 h 1045"/>
                <a:gd name="T74" fmla="*/ 922 w 1055"/>
                <a:gd name="T75" fmla="*/ 459 h 1045"/>
                <a:gd name="T76" fmla="*/ 1004 w 1055"/>
                <a:gd name="T77" fmla="*/ 624 h 1045"/>
                <a:gd name="T78" fmla="*/ 1052 w 1055"/>
                <a:gd name="T79" fmla="*/ 690 h 1045"/>
                <a:gd name="T80" fmla="*/ 1016 w 1055"/>
                <a:gd name="T81" fmla="*/ 715 h 1045"/>
                <a:gd name="T82" fmla="*/ 967 w 1055"/>
                <a:gd name="T83" fmla="*/ 777 h 1045"/>
                <a:gd name="T84" fmla="*/ 998 w 1055"/>
                <a:gd name="T85" fmla="*/ 812 h 1045"/>
                <a:gd name="T86" fmla="*/ 998 w 1055"/>
                <a:gd name="T87" fmla="*/ 858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55" h="1045">
                  <a:moveTo>
                    <a:pt x="998" y="858"/>
                  </a:moveTo>
                  <a:cubicBezTo>
                    <a:pt x="1000" y="876"/>
                    <a:pt x="1004" y="891"/>
                    <a:pt x="1009" y="906"/>
                  </a:cubicBezTo>
                  <a:lnTo>
                    <a:pt x="1009" y="906"/>
                  </a:lnTo>
                  <a:cubicBezTo>
                    <a:pt x="1001" y="922"/>
                    <a:pt x="991" y="932"/>
                    <a:pt x="970" y="935"/>
                  </a:cubicBezTo>
                  <a:cubicBezTo>
                    <a:pt x="950" y="939"/>
                    <a:pt x="927" y="940"/>
                    <a:pt x="907" y="942"/>
                  </a:cubicBezTo>
                  <a:cubicBezTo>
                    <a:pt x="889" y="944"/>
                    <a:pt x="873" y="945"/>
                    <a:pt x="856" y="947"/>
                  </a:cubicBezTo>
                  <a:cubicBezTo>
                    <a:pt x="846" y="949"/>
                    <a:pt x="836" y="949"/>
                    <a:pt x="827" y="950"/>
                  </a:cubicBezTo>
                  <a:cubicBezTo>
                    <a:pt x="799" y="954"/>
                    <a:pt x="769" y="955"/>
                    <a:pt x="743" y="967"/>
                  </a:cubicBezTo>
                  <a:cubicBezTo>
                    <a:pt x="723" y="975"/>
                    <a:pt x="706" y="987"/>
                    <a:pt x="690" y="996"/>
                  </a:cubicBezTo>
                  <a:cubicBezTo>
                    <a:pt x="680" y="1003"/>
                    <a:pt x="672" y="1010"/>
                    <a:pt x="662" y="1016"/>
                  </a:cubicBezTo>
                  <a:cubicBezTo>
                    <a:pt x="660" y="1016"/>
                    <a:pt x="658" y="1016"/>
                    <a:pt x="658" y="1018"/>
                  </a:cubicBezTo>
                  <a:cubicBezTo>
                    <a:pt x="650" y="1021"/>
                    <a:pt x="642" y="1024"/>
                    <a:pt x="634" y="1028"/>
                  </a:cubicBezTo>
                  <a:cubicBezTo>
                    <a:pt x="599" y="1041"/>
                    <a:pt x="561" y="1044"/>
                    <a:pt x="530" y="1024"/>
                  </a:cubicBezTo>
                  <a:cubicBezTo>
                    <a:pt x="523" y="1020"/>
                    <a:pt x="517" y="1015"/>
                    <a:pt x="512" y="1008"/>
                  </a:cubicBezTo>
                  <a:cubicBezTo>
                    <a:pt x="512" y="1006"/>
                    <a:pt x="512" y="1006"/>
                    <a:pt x="510" y="1006"/>
                  </a:cubicBezTo>
                  <a:cubicBezTo>
                    <a:pt x="494" y="985"/>
                    <a:pt x="489" y="959"/>
                    <a:pt x="482" y="931"/>
                  </a:cubicBezTo>
                  <a:cubicBezTo>
                    <a:pt x="479" y="907"/>
                    <a:pt x="474" y="886"/>
                    <a:pt x="464" y="865"/>
                  </a:cubicBezTo>
                  <a:cubicBezTo>
                    <a:pt x="454" y="847"/>
                    <a:pt x="444" y="835"/>
                    <a:pt x="430" y="832"/>
                  </a:cubicBezTo>
                  <a:cubicBezTo>
                    <a:pt x="410" y="825"/>
                    <a:pt x="390" y="838"/>
                    <a:pt x="370" y="850"/>
                  </a:cubicBezTo>
                  <a:cubicBezTo>
                    <a:pt x="359" y="856"/>
                    <a:pt x="345" y="865"/>
                    <a:pt x="334" y="866"/>
                  </a:cubicBezTo>
                  <a:cubicBezTo>
                    <a:pt x="313" y="870"/>
                    <a:pt x="294" y="858"/>
                    <a:pt x="275" y="847"/>
                  </a:cubicBezTo>
                  <a:cubicBezTo>
                    <a:pt x="270" y="843"/>
                    <a:pt x="265" y="840"/>
                    <a:pt x="260" y="837"/>
                  </a:cubicBezTo>
                  <a:cubicBezTo>
                    <a:pt x="247" y="830"/>
                    <a:pt x="232" y="825"/>
                    <a:pt x="217" y="820"/>
                  </a:cubicBezTo>
                  <a:cubicBezTo>
                    <a:pt x="205" y="817"/>
                    <a:pt x="196" y="812"/>
                    <a:pt x="186" y="809"/>
                  </a:cubicBezTo>
                  <a:cubicBezTo>
                    <a:pt x="161" y="795"/>
                    <a:pt x="156" y="776"/>
                    <a:pt x="148" y="749"/>
                  </a:cubicBezTo>
                  <a:lnTo>
                    <a:pt x="145" y="739"/>
                  </a:lnTo>
                  <a:cubicBezTo>
                    <a:pt x="135" y="703"/>
                    <a:pt x="118" y="678"/>
                    <a:pt x="88" y="650"/>
                  </a:cubicBezTo>
                  <a:lnTo>
                    <a:pt x="77" y="641"/>
                  </a:lnTo>
                  <a:cubicBezTo>
                    <a:pt x="57" y="621"/>
                    <a:pt x="37" y="604"/>
                    <a:pt x="24" y="578"/>
                  </a:cubicBezTo>
                  <a:cubicBezTo>
                    <a:pt x="16" y="560"/>
                    <a:pt x="9" y="537"/>
                    <a:pt x="4" y="517"/>
                  </a:cubicBezTo>
                  <a:cubicBezTo>
                    <a:pt x="3" y="512"/>
                    <a:pt x="1" y="506"/>
                    <a:pt x="0" y="501"/>
                  </a:cubicBezTo>
                  <a:cubicBezTo>
                    <a:pt x="4" y="501"/>
                    <a:pt x="9" y="502"/>
                    <a:pt x="16" y="502"/>
                  </a:cubicBezTo>
                  <a:cubicBezTo>
                    <a:pt x="36" y="504"/>
                    <a:pt x="60" y="506"/>
                    <a:pt x="80" y="491"/>
                  </a:cubicBezTo>
                  <a:cubicBezTo>
                    <a:pt x="95" y="478"/>
                    <a:pt x="103" y="458"/>
                    <a:pt x="102" y="438"/>
                  </a:cubicBezTo>
                  <a:cubicBezTo>
                    <a:pt x="102" y="420"/>
                    <a:pt x="93" y="403"/>
                    <a:pt x="79" y="392"/>
                  </a:cubicBezTo>
                  <a:cubicBezTo>
                    <a:pt x="70" y="385"/>
                    <a:pt x="59" y="382"/>
                    <a:pt x="49" y="379"/>
                  </a:cubicBezTo>
                  <a:cubicBezTo>
                    <a:pt x="36" y="374"/>
                    <a:pt x="24" y="370"/>
                    <a:pt x="19" y="362"/>
                  </a:cubicBezTo>
                  <a:cubicBezTo>
                    <a:pt x="14" y="354"/>
                    <a:pt x="16" y="349"/>
                    <a:pt x="18" y="346"/>
                  </a:cubicBezTo>
                  <a:cubicBezTo>
                    <a:pt x="23" y="334"/>
                    <a:pt x="41" y="326"/>
                    <a:pt x="56" y="323"/>
                  </a:cubicBezTo>
                  <a:cubicBezTo>
                    <a:pt x="67" y="321"/>
                    <a:pt x="75" y="321"/>
                    <a:pt x="84" y="321"/>
                  </a:cubicBezTo>
                  <a:cubicBezTo>
                    <a:pt x="100" y="323"/>
                    <a:pt x="116" y="323"/>
                    <a:pt x="138" y="309"/>
                  </a:cubicBezTo>
                  <a:cubicBezTo>
                    <a:pt x="159" y="298"/>
                    <a:pt x="182" y="295"/>
                    <a:pt x="207" y="291"/>
                  </a:cubicBezTo>
                  <a:cubicBezTo>
                    <a:pt x="237" y="286"/>
                    <a:pt x="268" y="281"/>
                    <a:pt x="296" y="262"/>
                  </a:cubicBezTo>
                  <a:cubicBezTo>
                    <a:pt x="304" y="255"/>
                    <a:pt x="313" y="250"/>
                    <a:pt x="322" y="244"/>
                  </a:cubicBezTo>
                  <a:cubicBezTo>
                    <a:pt x="339" y="235"/>
                    <a:pt x="355" y="225"/>
                    <a:pt x="367" y="214"/>
                  </a:cubicBezTo>
                  <a:cubicBezTo>
                    <a:pt x="377" y="204"/>
                    <a:pt x="382" y="193"/>
                    <a:pt x="388" y="181"/>
                  </a:cubicBezTo>
                  <a:cubicBezTo>
                    <a:pt x="395" y="168"/>
                    <a:pt x="400" y="158"/>
                    <a:pt x="408" y="150"/>
                  </a:cubicBezTo>
                  <a:cubicBezTo>
                    <a:pt x="423" y="138"/>
                    <a:pt x="423" y="138"/>
                    <a:pt x="431" y="148"/>
                  </a:cubicBezTo>
                  <a:cubicBezTo>
                    <a:pt x="438" y="156"/>
                    <a:pt x="446" y="166"/>
                    <a:pt x="459" y="169"/>
                  </a:cubicBezTo>
                  <a:cubicBezTo>
                    <a:pt x="479" y="176"/>
                    <a:pt x="495" y="166"/>
                    <a:pt x="510" y="156"/>
                  </a:cubicBezTo>
                  <a:cubicBezTo>
                    <a:pt x="517" y="153"/>
                    <a:pt x="523" y="150"/>
                    <a:pt x="528" y="148"/>
                  </a:cubicBezTo>
                  <a:cubicBezTo>
                    <a:pt x="532" y="146"/>
                    <a:pt x="537" y="146"/>
                    <a:pt x="540" y="145"/>
                  </a:cubicBezTo>
                  <a:cubicBezTo>
                    <a:pt x="560" y="141"/>
                    <a:pt x="573" y="136"/>
                    <a:pt x="578" y="104"/>
                  </a:cubicBezTo>
                  <a:cubicBezTo>
                    <a:pt x="579" y="87"/>
                    <a:pt x="573" y="74"/>
                    <a:pt x="570" y="62"/>
                  </a:cubicBezTo>
                  <a:cubicBezTo>
                    <a:pt x="565" y="49"/>
                    <a:pt x="561" y="39"/>
                    <a:pt x="566" y="29"/>
                  </a:cubicBezTo>
                  <a:cubicBezTo>
                    <a:pt x="574" y="11"/>
                    <a:pt x="596" y="6"/>
                    <a:pt x="626" y="1"/>
                  </a:cubicBezTo>
                  <a:lnTo>
                    <a:pt x="632" y="1"/>
                  </a:lnTo>
                  <a:cubicBezTo>
                    <a:pt x="635" y="1"/>
                    <a:pt x="637" y="0"/>
                    <a:pt x="639" y="0"/>
                  </a:cubicBezTo>
                  <a:cubicBezTo>
                    <a:pt x="654" y="24"/>
                    <a:pt x="673" y="46"/>
                    <a:pt x="698" y="59"/>
                  </a:cubicBezTo>
                  <a:cubicBezTo>
                    <a:pt x="718" y="69"/>
                    <a:pt x="736" y="69"/>
                    <a:pt x="751" y="69"/>
                  </a:cubicBezTo>
                  <a:cubicBezTo>
                    <a:pt x="761" y="67"/>
                    <a:pt x="771" y="67"/>
                    <a:pt x="779" y="69"/>
                  </a:cubicBezTo>
                  <a:cubicBezTo>
                    <a:pt x="795" y="72"/>
                    <a:pt x="822" y="84"/>
                    <a:pt x="833" y="94"/>
                  </a:cubicBezTo>
                  <a:cubicBezTo>
                    <a:pt x="848" y="105"/>
                    <a:pt x="850" y="130"/>
                    <a:pt x="846" y="158"/>
                  </a:cubicBezTo>
                  <a:cubicBezTo>
                    <a:pt x="845" y="158"/>
                    <a:pt x="841" y="160"/>
                    <a:pt x="838" y="161"/>
                  </a:cubicBezTo>
                  <a:cubicBezTo>
                    <a:pt x="803" y="174"/>
                    <a:pt x="762" y="191"/>
                    <a:pt x="749" y="232"/>
                  </a:cubicBezTo>
                  <a:cubicBezTo>
                    <a:pt x="744" y="247"/>
                    <a:pt x="746" y="260"/>
                    <a:pt x="746" y="272"/>
                  </a:cubicBezTo>
                  <a:cubicBezTo>
                    <a:pt x="747" y="281"/>
                    <a:pt x="747" y="291"/>
                    <a:pt x="744" y="300"/>
                  </a:cubicBezTo>
                  <a:lnTo>
                    <a:pt x="741" y="308"/>
                  </a:lnTo>
                  <a:cubicBezTo>
                    <a:pt x="734" y="324"/>
                    <a:pt x="728" y="341"/>
                    <a:pt x="743" y="364"/>
                  </a:cubicBezTo>
                  <a:cubicBezTo>
                    <a:pt x="767" y="405"/>
                    <a:pt x="792" y="426"/>
                    <a:pt x="817" y="431"/>
                  </a:cubicBezTo>
                  <a:cubicBezTo>
                    <a:pt x="818" y="431"/>
                    <a:pt x="820" y="431"/>
                    <a:pt x="822" y="431"/>
                  </a:cubicBezTo>
                  <a:cubicBezTo>
                    <a:pt x="835" y="433"/>
                    <a:pt x="848" y="428"/>
                    <a:pt x="861" y="418"/>
                  </a:cubicBezTo>
                  <a:cubicBezTo>
                    <a:pt x="869" y="413"/>
                    <a:pt x="876" y="405"/>
                    <a:pt x="883" y="398"/>
                  </a:cubicBezTo>
                  <a:cubicBezTo>
                    <a:pt x="887" y="392"/>
                    <a:pt x="894" y="385"/>
                    <a:pt x="901" y="380"/>
                  </a:cubicBezTo>
                  <a:cubicBezTo>
                    <a:pt x="906" y="389"/>
                    <a:pt x="911" y="398"/>
                    <a:pt x="914" y="408"/>
                  </a:cubicBezTo>
                  <a:cubicBezTo>
                    <a:pt x="919" y="425"/>
                    <a:pt x="920" y="441"/>
                    <a:pt x="922" y="459"/>
                  </a:cubicBezTo>
                  <a:cubicBezTo>
                    <a:pt x="925" y="482"/>
                    <a:pt x="927" y="506"/>
                    <a:pt x="937" y="529"/>
                  </a:cubicBezTo>
                  <a:cubicBezTo>
                    <a:pt x="952" y="565"/>
                    <a:pt x="975" y="593"/>
                    <a:pt x="1004" y="624"/>
                  </a:cubicBezTo>
                  <a:lnTo>
                    <a:pt x="1014" y="636"/>
                  </a:lnTo>
                  <a:cubicBezTo>
                    <a:pt x="1031" y="652"/>
                    <a:pt x="1049" y="670"/>
                    <a:pt x="1052" y="690"/>
                  </a:cubicBezTo>
                  <a:cubicBezTo>
                    <a:pt x="1054" y="695"/>
                    <a:pt x="1054" y="700"/>
                    <a:pt x="1052" y="702"/>
                  </a:cubicBezTo>
                  <a:cubicBezTo>
                    <a:pt x="1047" y="708"/>
                    <a:pt x="1031" y="711"/>
                    <a:pt x="1016" y="715"/>
                  </a:cubicBezTo>
                  <a:cubicBezTo>
                    <a:pt x="996" y="718"/>
                    <a:pt x="975" y="723"/>
                    <a:pt x="965" y="739"/>
                  </a:cubicBezTo>
                  <a:cubicBezTo>
                    <a:pt x="960" y="749"/>
                    <a:pt x="960" y="763"/>
                    <a:pt x="967" y="777"/>
                  </a:cubicBezTo>
                  <a:cubicBezTo>
                    <a:pt x="970" y="789"/>
                    <a:pt x="980" y="795"/>
                    <a:pt x="986" y="800"/>
                  </a:cubicBezTo>
                  <a:cubicBezTo>
                    <a:pt x="991" y="804"/>
                    <a:pt x="996" y="809"/>
                    <a:pt x="998" y="812"/>
                  </a:cubicBezTo>
                  <a:cubicBezTo>
                    <a:pt x="1001" y="819"/>
                    <a:pt x="1001" y="828"/>
                    <a:pt x="1000" y="838"/>
                  </a:cubicBezTo>
                  <a:cubicBezTo>
                    <a:pt x="998" y="845"/>
                    <a:pt x="998" y="851"/>
                    <a:pt x="998" y="85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4" name="Freeform 70">
              <a:extLst>
                <a:ext uri="{FF2B5EF4-FFF2-40B4-BE49-F238E27FC236}">
                  <a16:creationId xmlns:a16="http://schemas.microsoft.com/office/drawing/2014/main" id="{CC8720B5-EBCD-834E-A26B-46D260D867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6800" y="4473575"/>
              <a:ext cx="284163" cy="438150"/>
            </a:xfrm>
            <a:custGeom>
              <a:avLst/>
              <a:gdLst>
                <a:gd name="T0" fmla="*/ 15 w 790"/>
                <a:gd name="T1" fmla="*/ 1075 h 1215"/>
                <a:gd name="T2" fmla="*/ 88 w 790"/>
                <a:gd name="T3" fmla="*/ 995 h 1215"/>
                <a:gd name="T4" fmla="*/ 116 w 790"/>
                <a:gd name="T5" fmla="*/ 983 h 1215"/>
                <a:gd name="T6" fmla="*/ 173 w 790"/>
                <a:gd name="T7" fmla="*/ 940 h 1215"/>
                <a:gd name="T8" fmla="*/ 257 w 790"/>
                <a:gd name="T9" fmla="*/ 858 h 1215"/>
                <a:gd name="T10" fmla="*/ 266 w 790"/>
                <a:gd name="T11" fmla="*/ 747 h 1215"/>
                <a:gd name="T12" fmla="*/ 261 w 790"/>
                <a:gd name="T13" fmla="*/ 691 h 1215"/>
                <a:gd name="T14" fmla="*/ 259 w 790"/>
                <a:gd name="T15" fmla="*/ 576 h 1215"/>
                <a:gd name="T16" fmla="*/ 302 w 790"/>
                <a:gd name="T17" fmla="*/ 527 h 1215"/>
                <a:gd name="T18" fmla="*/ 310 w 790"/>
                <a:gd name="T19" fmla="*/ 446 h 1215"/>
                <a:gd name="T20" fmla="*/ 310 w 790"/>
                <a:gd name="T21" fmla="*/ 321 h 1215"/>
                <a:gd name="T22" fmla="*/ 241 w 790"/>
                <a:gd name="T23" fmla="*/ 314 h 1215"/>
                <a:gd name="T24" fmla="*/ 216 w 790"/>
                <a:gd name="T25" fmla="*/ 319 h 1215"/>
                <a:gd name="T26" fmla="*/ 231 w 790"/>
                <a:gd name="T27" fmla="*/ 283 h 1215"/>
                <a:gd name="T28" fmla="*/ 256 w 790"/>
                <a:gd name="T29" fmla="*/ 233 h 1215"/>
                <a:gd name="T30" fmla="*/ 264 w 790"/>
                <a:gd name="T31" fmla="*/ 120 h 1215"/>
                <a:gd name="T32" fmla="*/ 262 w 790"/>
                <a:gd name="T33" fmla="*/ 19 h 1215"/>
                <a:gd name="T34" fmla="*/ 325 w 790"/>
                <a:gd name="T35" fmla="*/ 77 h 1215"/>
                <a:gd name="T36" fmla="*/ 462 w 790"/>
                <a:gd name="T37" fmla="*/ 146 h 1215"/>
                <a:gd name="T38" fmla="*/ 532 w 790"/>
                <a:gd name="T39" fmla="*/ 146 h 1215"/>
                <a:gd name="T40" fmla="*/ 602 w 790"/>
                <a:gd name="T41" fmla="*/ 148 h 1215"/>
                <a:gd name="T42" fmla="*/ 644 w 790"/>
                <a:gd name="T43" fmla="*/ 214 h 1215"/>
                <a:gd name="T44" fmla="*/ 664 w 790"/>
                <a:gd name="T45" fmla="*/ 309 h 1215"/>
                <a:gd name="T46" fmla="*/ 700 w 790"/>
                <a:gd name="T47" fmla="*/ 385 h 1215"/>
                <a:gd name="T48" fmla="*/ 773 w 790"/>
                <a:gd name="T49" fmla="*/ 560 h 1215"/>
                <a:gd name="T50" fmla="*/ 730 w 790"/>
                <a:gd name="T51" fmla="*/ 729 h 1215"/>
                <a:gd name="T52" fmla="*/ 672 w 790"/>
                <a:gd name="T53" fmla="*/ 802 h 1215"/>
                <a:gd name="T54" fmla="*/ 615 w 790"/>
                <a:gd name="T55" fmla="*/ 881 h 1215"/>
                <a:gd name="T56" fmla="*/ 537 w 790"/>
                <a:gd name="T57" fmla="*/ 919 h 1215"/>
                <a:gd name="T58" fmla="*/ 491 w 790"/>
                <a:gd name="T59" fmla="*/ 983 h 1215"/>
                <a:gd name="T60" fmla="*/ 462 w 790"/>
                <a:gd name="T61" fmla="*/ 1001 h 1215"/>
                <a:gd name="T62" fmla="*/ 450 w 790"/>
                <a:gd name="T63" fmla="*/ 1004 h 1215"/>
                <a:gd name="T64" fmla="*/ 381 w 790"/>
                <a:gd name="T65" fmla="*/ 1082 h 1215"/>
                <a:gd name="T66" fmla="*/ 244 w 790"/>
                <a:gd name="T67" fmla="*/ 1153 h 1215"/>
                <a:gd name="T68" fmla="*/ 154 w 790"/>
                <a:gd name="T69" fmla="*/ 1153 h 1215"/>
                <a:gd name="T70" fmla="*/ 129 w 790"/>
                <a:gd name="T71" fmla="*/ 1164 h 1215"/>
                <a:gd name="T72" fmla="*/ 89 w 790"/>
                <a:gd name="T73" fmla="*/ 1205 h 1215"/>
                <a:gd name="T74" fmla="*/ 9 w 790"/>
                <a:gd name="T75" fmla="*/ 1158 h 1215"/>
                <a:gd name="T76" fmla="*/ 12 w 790"/>
                <a:gd name="T77" fmla="*/ 1116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90" h="1215">
                  <a:moveTo>
                    <a:pt x="12" y="1116"/>
                  </a:moveTo>
                  <a:cubicBezTo>
                    <a:pt x="17" y="1102"/>
                    <a:pt x="17" y="1088"/>
                    <a:pt x="15" y="1075"/>
                  </a:cubicBezTo>
                  <a:cubicBezTo>
                    <a:pt x="15" y="1065"/>
                    <a:pt x="14" y="1057"/>
                    <a:pt x="17" y="1047"/>
                  </a:cubicBezTo>
                  <a:cubicBezTo>
                    <a:pt x="27" y="1019"/>
                    <a:pt x="56" y="1006"/>
                    <a:pt x="88" y="995"/>
                  </a:cubicBezTo>
                  <a:cubicBezTo>
                    <a:pt x="88" y="993"/>
                    <a:pt x="89" y="993"/>
                    <a:pt x="91" y="993"/>
                  </a:cubicBezTo>
                  <a:cubicBezTo>
                    <a:pt x="99" y="990"/>
                    <a:pt x="107" y="986"/>
                    <a:pt x="116" y="983"/>
                  </a:cubicBezTo>
                  <a:cubicBezTo>
                    <a:pt x="126" y="978"/>
                    <a:pt x="135" y="973"/>
                    <a:pt x="144" y="967"/>
                  </a:cubicBezTo>
                  <a:cubicBezTo>
                    <a:pt x="155" y="958"/>
                    <a:pt x="163" y="948"/>
                    <a:pt x="173" y="940"/>
                  </a:cubicBezTo>
                  <a:cubicBezTo>
                    <a:pt x="180" y="932"/>
                    <a:pt x="188" y="924"/>
                    <a:pt x="196" y="917"/>
                  </a:cubicBezTo>
                  <a:cubicBezTo>
                    <a:pt x="219" y="901"/>
                    <a:pt x="241" y="884"/>
                    <a:pt x="257" y="858"/>
                  </a:cubicBezTo>
                  <a:cubicBezTo>
                    <a:pt x="275" y="830"/>
                    <a:pt x="284" y="803"/>
                    <a:pt x="279" y="779"/>
                  </a:cubicBezTo>
                  <a:cubicBezTo>
                    <a:pt x="277" y="766"/>
                    <a:pt x="271" y="756"/>
                    <a:pt x="266" y="747"/>
                  </a:cubicBezTo>
                  <a:cubicBezTo>
                    <a:pt x="261" y="736"/>
                    <a:pt x="256" y="728"/>
                    <a:pt x="256" y="718"/>
                  </a:cubicBezTo>
                  <a:cubicBezTo>
                    <a:pt x="256" y="708"/>
                    <a:pt x="257" y="700"/>
                    <a:pt x="261" y="691"/>
                  </a:cubicBezTo>
                  <a:cubicBezTo>
                    <a:pt x="264" y="677"/>
                    <a:pt x="269" y="662"/>
                    <a:pt x="261" y="639"/>
                  </a:cubicBezTo>
                  <a:cubicBezTo>
                    <a:pt x="254" y="614"/>
                    <a:pt x="249" y="598"/>
                    <a:pt x="259" y="576"/>
                  </a:cubicBezTo>
                  <a:cubicBezTo>
                    <a:pt x="264" y="565"/>
                    <a:pt x="274" y="556"/>
                    <a:pt x="282" y="546"/>
                  </a:cubicBezTo>
                  <a:cubicBezTo>
                    <a:pt x="289" y="540"/>
                    <a:pt x="297" y="533"/>
                    <a:pt x="302" y="527"/>
                  </a:cubicBezTo>
                  <a:cubicBezTo>
                    <a:pt x="325" y="495"/>
                    <a:pt x="320" y="479"/>
                    <a:pt x="313" y="456"/>
                  </a:cubicBezTo>
                  <a:lnTo>
                    <a:pt x="310" y="446"/>
                  </a:lnTo>
                  <a:cubicBezTo>
                    <a:pt x="307" y="433"/>
                    <a:pt x="315" y="420"/>
                    <a:pt x="323" y="405"/>
                  </a:cubicBezTo>
                  <a:cubicBezTo>
                    <a:pt x="336" y="383"/>
                    <a:pt x="355" y="349"/>
                    <a:pt x="310" y="321"/>
                  </a:cubicBezTo>
                  <a:cubicBezTo>
                    <a:pt x="300" y="314"/>
                    <a:pt x="290" y="311"/>
                    <a:pt x="280" y="311"/>
                  </a:cubicBezTo>
                  <a:cubicBezTo>
                    <a:pt x="267" y="309"/>
                    <a:pt x="252" y="311"/>
                    <a:pt x="241" y="314"/>
                  </a:cubicBezTo>
                  <a:lnTo>
                    <a:pt x="233" y="316"/>
                  </a:lnTo>
                  <a:cubicBezTo>
                    <a:pt x="228" y="317"/>
                    <a:pt x="218" y="319"/>
                    <a:pt x="216" y="319"/>
                  </a:cubicBezTo>
                  <a:cubicBezTo>
                    <a:pt x="216" y="319"/>
                    <a:pt x="215" y="317"/>
                    <a:pt x="215" y="313"/>
                  </a:cubicBezTo>
                  <a:cubicBezTo>
                    <a:pt x="215" y="306"/>
                    <a:pt x="223" y="293"/>
                    <a:pt x="231" y="283"/>
                  </a:cubicBezTo>
                  <a:cubicBezTo>
                    <a:pt x="238" y="275"/>
                    <a:pt x="243" y="265"/>
                    <a:pt x="246" y="257"/>
                  </a:cubicBezTo>
                  <a:cubicBezTo>
                    <a:pt x="249" y="250"/>
                    <a:pt x="252" y="242"/>
                    <a:pt x="256" y="233"/>
                  </a:cubicBezTo>
                  <a:cubicBezTo>
                    <a:pt x="266" y="214"/>
                    <a:pt x="279" y="191"/>
                    <a:pt x="275" y="169"/>
                  </a:cubicBezTo>
                  <a:cubicBezTo>
                    <a:pt x="275" y="153"/>
                    <a:pt x="269" y="136"/>
                    <a:pt x="264" y="120"/>
                  </a:cubicBezTo>
                  <a:cubicBezTo>
                    <a:pt x="259" y="108"/>
                    <a:pt x="256" y="98"/>
                    <a:pt x="254" y="88"/>
                  </a:cubicBezTo>
                  <a:cubicBezTo>
                    <a:pt x="247" y="57"/>
                    <a:pt x="246" y="42"/>
                    <a:pt x="262" y="19"/>
                  </a:cubicBezTo>
                  <a:cubicBezTo>
                    <a:pt x="267" y="13"/>
                    <a:pt x="272" y="6"/>
                    <a:pt x="279" y="0"/>
                  </a:cubicBezTo>
                  <a:cubicBezTo>
                    <a:pt x="295" y="26"/>
                    <a:pt x="310" y="51"/>
                    <a:pt x="325" y="77"/>
                  </a:cubicBezTo>
                  <a:lnTo>
                    <a:pt x="346" y="110"/>
                  </a:lnTo>
                  <a:cubicBezTo>
                    <a:pt x="378" y="163"/>
                    <a:pt x="422" y="153"/>
                    <a:pt x="462" y="146"/>
                  </a:cubicBezTo>
                  <a:cubicBezTo>
                    <a:pt x="472" y="143"/>
                    <a:pt x="480" y="141"/>
                    <a:pt x="490" y="140"/>
                  </a:cubicBezTo>
                  <a:cubicBezTo>
                    <a:pt x="504" y="138"/>
                    <a:pt x="518" y="141"/>
                    <a:pt x="532" y="146"/>
                  </a:cubicBezTo>
                  <a:cubicBezTo>
                    <a:pt x="542" y="148"/>
                    <a:pt x="556" y="151"/>
                    <a:pt x="567" y="153"/>
                  </a:cubicBezTo>
                  <a:cubicBezTo>
                    <a:pt x="579" y="153"/>
                    <a:pt x="590" y="151"/>
                    <a:pt x="602" y="148"/>
                  </a:cubicBezTo>
                  <a:cubicBezTo>
                    <a:pt x="616" y="146"/>
                    <a:pt x="630" y="143"/>
                    <a:pt x="640" y="149"/>
                  </a:cubicBezTo>
                  <a:cubicBezTo>
                    <a:pt x="658" y="159"/>
                    <a:pt x="654" y="181"/>
                    <a:pt x="644" y="214"/>
                  </a:cubicBezTo>
                  <a:cubicBezTo>
                    <a:pt x="641" y="225"/>
                    <a:pt x="640" y="237"/>
                    <a:pt x="638" y="247"/>
                  </a:cubicBezTo>
                  <a:cubicBezTo>
                    <a:pt x="635" y="278"/>
                    <a:pt x="649" y="293"/>
                    <a:pt x="664" y="309"/>
                  </a:cubicBezTo>
                  <a:cubicBezTo>
                    <a:pt x="681" y="329"/>
                    <a:pt x="689" y="349"/>
                    <a:pt x="697" y="375"/>
                  </a:cubicBezTo>
                  <a:lnTo>
                    <a:pt x="700" y="385"/>
                  </a:lnTo>
                  <a:cubicBezTo>
                    <a:pt x="709" y="411"/>
                    <a:pt x="722" y="436"/>
                    <a:pt x="733" y="459"/>
                  </a:cubicBezTo>
                  <a:cubicBezTo>
                    <a:pt x="748" y="494"/>
                    <a:pt x="765" y="525"/>
                    <a:pt x="773" y="560"/>
                  </a:cubicBezTo>
                  <a:cubicBezTo>
                    <a:pt x="780" y="596"/>
                    <a:pt x="789" y="662"/>
                    <a:pt x="758" y="706"/>
                  </a:cubicBezTo>
                  <a:cubicBezTo>
                    <a:pt x="752" y="718"/>
                    <a:pt x="742" y="723"/>
                    <a:pt x="730" y="729"/>
                  </a:cubicBezTo>
                  <a:cubicBezTo>
                    <a:pt x="722" y="733"/>
                    <a:pt x="714" y="738"/>
                    <a:pt x="705" y="744"/>
                  </a:cubicBezTo>
                  <a:cubicBezTo>
                    <a:pt x="687" y="759"/>
                    <a:pt x="679" y="782"/>
                    <a:pt x="672" y="802"/>
                  </a:cubicBezTo>
                  <a:cubicBezTo>
                    <a:pt x="669" y="813"/>
                    <a:pt x="666" y="823"/>
                    <a:pt x="661" y="830"/>
                  </a:cubicBezTo>
                  <a:cubicBezTo>
                    <a:pt x="648" y="858"/>
                    <a:pt x="633" y="874"/>
                    <a:pt x="615" y="881"/>
                  </a:cubicBezTo>
                  <a:cubicBezTo>
                    <a:pt x="607" y="884"/>
                    <a:pt x="600" y="886"/>
                    <a:pt x="593" y="887"/>
                  </a:cubicBezTo>
                  <a:cubicBezTo>
                    <a:pt x="574" y="892"/>
                    <a:pt x="556" y="896"/>
                    <a:pt x="537" y="919"/>
                  </a:cubicBezTo>
                  <a:cubicBezTo>
                    <a:pt x="532" y="927"/>
                    <a:pt x="526" y="937"/>
                    <a:pt x="521" y="945"/>
                  </a:cubicBezTo>
                  <a:cubicBezTo>
                    <a:pt x="511" y="958"/>
                    <a:pt x="503" y="971"/>
                    <a:pt x="491" y="983"/>
                  </a:cubicBezTo>
                  <a:lnTo>
                    <a:pt x="485" y="988"/>
                  </a:lnTo>
                  <a:cubicBezTo>
                    <a:pt x="476" y="993"/>
                    <a:pt x="470" y="998"/>
                    <a:pt x="462" y="1001"/>
                  </a:cubicBezTo>
                  <a:cubicBezTo>
                    <a:pt x="460" y="1001"/>
                    <a:pt x="460" y="1001"/>
                    <a:pt x="460" y="1001"/>
                  </a:cubicBezTo>
                  <a:cubicBezTo>
                    <a:pt x="457" y="1003"/>
                    <a:pt x="453" y="1003"/>
                    <a:pt x="450" y="1004"/>
                  </a:cubicBezTo>
                  <a:cubicBezTo>
                    <a:pt x="442" y="1008"/>
                    <a:pt x="434" y="1011"/>
                    <a:pt x="424" y="1014"/>
                  </a:cubicBezTo>
                  <a:cubicBezTo>
                    <a:pt x="392" y="1029"/>
                    <a:pt x="386" y="1057"/>
                    <a:pt x="381" y="1082"/>
                  </a:cubicBezTo>
                  <a:cubicBezTo>
                    <a:pt x="378" y="1100"/>
                    <a:pt x="373" y="1116"/>
                    <a:pt x="361" y="1130"/>
                  </a:cubicBezTo>
                  <a:cubicBezTo>
                    <a:pt x="330" y="1161"/>
                    <a:pt x="289" y="1156"/>
                    <a:pt x="244" y="1153"/>
                  </a:cubicBezTo>
                  <a:lnTo>
                    <a:pt x="223" y="1151"/>
                  </a:lnTo>
                  <a:cubicBezTo>
                    <a:pt x="201" y="1149"/>
                    <a:pt x="177" y="1148"/>
                    <a:pt x="154" y="1153"/>
                  </a:cubicBezTo>
                  <a:cubicBezTo>
                    <a:pt x="149" y="1154"/>
                    <a:pt x="144" y="1156"/>
                    <a:pt x="139" y="1159"/>
                  </a:cubicBezTo>
                  <a:cubicBezTo>
                    <a:pt x="135" y="1161"/>
                    <a:pt x="132" y="1163"/>
                    <a:pt x="129" y="1164"/>
                  </a:cubicBezTo>
                  <a:cubicBezTo>
                    <a:pt x="119" y="1171"/>
                    <a:pt x="112" y="1179"/>
                    <a:pt x="106" y="1187"/>
                  </a:cubicBezTo>
                  <a:cubicBezTo>
                    <a:pt x="101" y="1194"/>
                    <a:pt x="94" y="1200"/>
                    <a:pt x="89" y="1205"/>
                  </a:cubicBezTo>
                  <a:cubicBezTo>
                    <a:pt x="81" y="1210"/>
                    <a:pt x="73" y="1214"/>
                    <a:pt x="65" y="1212"/>
                  </a:cubicBezTo>
                  <a:cubicBezTo>
                    <a:pt x="48" y="1209"/>
                    <a:pt x="28" y="1191"/>
                    <a:pt x="9" y="1158"/>
                  </a:cubicBezTo>
                  <a:cubicBezTo>
                    <a:pt x="0" y="1144"/>
                    <a:pt x="4" y="1140"/>
                    <a:pt x="9" y="1125"/>
                  </a:cubicBezTo>
                  <a:lnTo>
                    <a:pt x="12" y="1116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5" name="Freeform 71">
              <a:extLst>
                <a:ext uri="{FF2B5EF4-FFF2-40B4-BE49-F238E27FC236}">
                  <a16:creationId xmlns:a16="http://schemas.microsoft.com/office/drawing/2014/main" id="{B994420F-48B4-0242-BDEE-84709BDA86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7125" y="4703763"/>
              <a:ext cx="685800" cy="422275"/>
            </a:xfrm>
            <a:custGeom>
              <a:avLst/>
              <a:gdLst>
                <a:gd name="T0" fmla="*/ 1884 w 1903"/>
                <a:gd name="T1" fmla="*/ 493 h 1174"/>
                <a:gd name="T2" fmla="*/ 1842 w 1903"/>
                <a:gd name="T3" fmla="*/ 542 h 1174"/>
                <a:gd name="T4" fmla="*/ 1777 w 1903"/>
                <a:gd name="T5" fmla="*/ 630 h 1174"/>
                <a:gd name="T6" fmla="*/ 1748 w 1903"/>
                <a:gd name="T7" fmla="*/ 682 h 1174"/>
                <a:gd name="T8" fmla="*/ 1753 w 1903"/>
                <a:gd name="T9" fmla="*/ 898 h 1174"/>
                <a:gd name="T10" fmla="*/ 1585 w 1903"/>
                <a:gd name="T11" fmla="*/ 1160 h 1174"/>
                <a:gd name="T12" fmla="*/ 1388 w 1903"/>
                <a:gd name="T13" fmla="*/ 1088 h 1174"/>
                <a:gd name="T14" fmla="*/ 1173 w 1903"/>
                <a:gd name="T15" fmla="*/ 1076 h 1174"/>
                <a:gd name="T16" fmla="*/ 1039 w 1903"/>
                <a:gd name="T17" fmla="*/ 1005 h 1174"/>
                <a:gd name="T18" fmla="*/ 939 w 1903"/>
                <a:gd name="T19" fmla="*/ 877 h 1174"/>
                <a:gd name="T20" fmla="*/ 832 w 1903"/>
                <a:gd name="T21" fmla="*/ 872 h 1174"/>
                <a:gd name="T22" fmla="*/ 761 w 1903"/>
                <a:gd name="T23" fmla="*/ 837 h 1174"/>
                <a:gd name="T24" fmla="*/ 639 w 1903"/>
                <a:gd name="T25" fmla="*/ 821 h 1174"/>
                <a:gd name="T26" fmla="*/ 573 w 1903"/>
                <a:gd name="T27" fmla="*/ 827 h 1174"/>
                <a:gd name="T28" fmla="*/ 484 w 1903"/>
                <a:gd name="T29" fmla="*/ 855 h 1174"/>
                <a:gd name="T30" fmla="*/ 397 w 1903"/>
                <a:gd name="T31" fmla="*/ 893 h 1174"/>
                <a:gd name="T32" fmla="*/ 262 w 1903"/>
                <a:gd name="T33" fmla="*/ 941 h 1174"/>
                <a:gd name="T34" fmla="*/ 209 w 1903"/>
                <a:gd name="T35" fmla="*/ 964 h 1174"/>
                <a:gd name="T36" fmla="*/ 100 w 1903"/>
                <a:gd name="T37" fmla="*/ 1023 h 1174"/>
                <a:gd name="T38" fmla="*/ 97 w 1903"/>
                <a:gd name="T39" fmla="*/ 967 h 1174"/>
                <a:gd name="T40" fmla="*/ 66 w 1903"/>
                <a:gd name="T41" fmla="*/ 934 h 1174"/>
                <a:gd name="T42" fmla="*/ 97 w 1903"/>
                <a:gd name="T43" fmla="*/ 908 h 1174"/>
                <a:gd name="T44" fmla="*/ 155 w 1903"/>
                <a:gd name="T45" fmla="*/ 850 h 1174"/>
                <a:gd name="T46" fmla="*/ 100 w 1903"/>
                <a:gd name="T47" fmla="*/ 775 h 1174"/>
                <a:gd name="T48" fmla="*/ 24 w 1903"/>
                <a:gd name="T49" fmla="*/ 625 h 1174"/>
                <a:gd name="T50" fmla="*/ 0 w 1903"/>
                <a:gd name="T51" fmla="*/ 537 h 1174"/>
                <a:gd name="T52" fmla="*/ 74 w 1903"/>
                <a:gd name="T53" fmla="*/ 539 h 1174"/>
                <a:gd name="T54" fmla="*/ 240 w 1903"/>
                <a:gd name="T55" fmla="*/ 448 h 1174"/>
                <a:gd name="T56" fmla="*/ 291 w 1903"/>
                <a:gd name="T57" fmla="*/ 389 h 1174"/>
                <a:gd name="T58" fmla="*/ 351 w 1903"/>
                <a:gd name="T59" fmla="*/ 427 h 1174"/>
                <a:gd name="T60" fmla="*/ 466 w 1903"/>
                <a:gd name="T61" fmla="*/ 475 h 1174"/>
                <a:gd name="T62" fmla="*/ 659 w 1903"/>
                <a:gd name="T63" fmla="*/ 539 h 1174"/>
                <a:gd name="T64" fmla="*/ 795 w 1903"/>
                <a:gd name="T65" fmla="*/ 491 h 1174"/>
                <a:gd name="T66" fmla="*/ 855 w 1903"/>
                <a:gd name="T67" fmla="*/ 452 h 1174"/>
                <a:gd name="T68" fmla="*/ 932 w 1903"/>
                <a:gd name="T69" fmla="*/ 374 h 1174"/>
                <a:gd name="T70" fmla="*/ 962 w 1903"/>
                <a:gd name="T71" fmla="*/ 333 h 1174"/>
                <a:gd name="T72" fmla="*/ 1005 w 1903"/>
                <a:gd name="T73" fmla="*/ 275 h 1174"/>
                <a:gd name="T74" fmla="*/ 1051 w 1903"/>
                <a:gd name="T75" fmla="*/ 226 h 1174"/>
                <a:gd name="T76" fmla="*/ 1105 w 1903"/>
                <a:gd name="T77" fmla="*/ 160 h 1174"/>
                <a:gd name="T78" fmla="*/ 1145 w 1903"/>
                <a:gd name="T79" fmla="*/ 91 h 1174"/>
                <a:gd name="T80" fmla="*/ 1214 w 1903"/>
                <a:gd name="T81" fmla="*/ 84 h 1174"/>
                <a:gd name="T82" fmla="*/ 1357 w 1903"/>
                <a:gd name="T83" fmla="*/ 56 h 1174"/>
                <a:gd name="T84" fmla="*/ 1417 w 1903"/>
                <a:gd name="T85" fmla="*/ 50 h 1174"/>
                <a:gd name="T86" fmla="*/ 1473 w 1903"/>
                <a:gd name="T87" fmla="*/ 28 h 1174"/>
                <a:gd name="T88" fmla="*/ 1484 w 1903"/>
                <a:gd name="T89" fmla="*/ 20 h 1174"/>
                <a:gd name="T90" fmla="*/ 1507 w 1903"/>
                <a:gd name="T91" fmla="*/ 9 h 1174"/>
                <a:gd name="T92" fmla="*/ 1632 w 1903"/>
                <a:gd name="T93" fmla="*/ 73 h 1174"/>
                <a:gd name="T94" fmla="*/ 1736 w 1903"/>
                <a:gd name="T95" fmla="*/ 139 h 1174"/>
                <a:gd name="T96" fmla="*/ 1901 w 1903"/>
                <a:gd name="T97" fmla="*/ 196 h 1174"/>
                <a:gd name="T98" fmla="*/ 1866 w 1903"/>
                <a:gd name="T99" fmla="*/ 249 h 1174"/>
                <a:gd name="T100" fmla="*/ 1865 w 1903"/>
                <a:gd name="T101" fmla="*/ 289 h 1174"/>
                <a:gd name="T102" fmla="*/ 1843 w 1903"/>
                <a:gd name="T103" fmla="*/ 325 h 1174"/>
                <a:gd name="T104" fmla="*/ 1889 w 1903"/>
                <a:gd name="T105" fmla="*/ 481 h 1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03" h="1174">
                  <a:moveTo>
                    <a:pt x="1889" y="481"/>
                  </a:moveTo>
                  <a:cubicBezTo>
                    <a:pt x="1888" y="486"/>
                    <a:pt x="1886" y="490"/>
                    <a:pt x="1884" y="493"/>
                  </a:cubicBezTo>
                  <a:cubicBezTo>
                    <a:pt x="1881" y="498"/>
                    <a:pt x="1879" y="503"/>
                    <a:pt x="1876" y="508"/>
                  </a:cubicBezTo>
                  <a:cubicBezTo>
                    <a:pt x="1866" y="523"/>
                    <a:pt x="1855" y="532"/>
                    <a:pt x="1842" y="542"/>
                  </a:cubicBezTo>
                  <a:cubicBezTo>
                    <a:pt x="1832" y="551"/>
                    <a:pt x="1822" y="559"/>
                    <a:pt x="1814" y="569"/>
                  </a:cubicBezTo>
                  <a:cubicBezTo>
                    <a:pt x="1797" y="587"/>
                    <a:pt x="1787" y="608"/>
                    <a:pt x="1777" y="630"/>
                  </a:cubicBezTo>
                  <a:cubicBezTo>
                    <a:pt x="1771" y="643"/>
                    <a:pt x="1766" y="654"/>
                    <a:pt x="1758" y="666"/>
                  </a:cubicBezTo>
                  <a:cubicBezTo>
                    <a:pt x="1754" y="673"/>
                    <a:pt x="1751" y="677"/>
                    <a:pt x="1748" y="682"/>
                  </a:cubicBezTo>
                  <a:cubicBezTo>
                    <a:pt x="1733" y="704"/>
                    <a:pt x="1718" y="727"/>
                    <a:pt x="1715" y="757"/>
                  </a:cubicBezTo>
                  <a:cubicBezTo>
                    <a:pt x="1710" y="804"/>
                    <a:pt x="1731" y="852"/>
                    <a:pt x="1753" y="898"/>
                  </a:cubicBezTo>
                  <a:cubicBezTo>
                    <a:pt x="1784" y="969"/>
                    <a:pt x="1812" y="1030"/>
                    <a:pt x="1746" y="1086"/>
                  </a:cubicBezTo>
                  <a:cubicBezTo>
                    <a:pt x="1706" y="1119"/>
                    <a:pt x="1642" y="1173"/>
                    <a:pt x="1585" y="1160"/>
                  </a:cubicBezTo>
                  <a:cubicBezTo>
                    <a:pt x="1553" y="1154"/>
                    <a:pt x="1525" y="1140"/>
                    <a:pt x="1496" y="1126"/>
                  </a:cubicBezTo>
                  <a:cubicBezTo>
                    <a:pt x="1461" y="1111"/>
                    <a:pt x="1426" y="1094"/>
                    <a:pt x="1388" y="1088"/>
                  </a:cubicBezTo>
                  <a:cubicBezTo>
                    <a:pt x="1354" y="1081"/>
                    <a:pt x="1319" y="1083"/>
                    <a:pt x="1286" y="1084"/>
                  </a:cubicBezTo>
                  <a:cubicBezTo>
                    <a:pt x="1247" y="1086"/>
                    <a:pt x="1211" y="1088"/>
                    <a:pt x="1173" y="1076"/>
                  </a:cubicBezTo>
                  <a:cubicBezTo>
                    <a:pt x="1158" y="1073"/>
                    <a:pt x="1145" y="1070"/>
                    <a:pt x="1132" y="1068"/>
                  </a:cubicBezTo>
                  <a:cubicBezTo>
                    <a:pt x="1080" y="1058"/>
                    <a:pt x="1049" y="1050"/>
                    <a:pt x="1039" y="1005"/>
                  </a:cubicBezTo>
                  <a:lnTo>
                    <a:pt x="1036" y="989"/>
                  </a:lnTo>
                  <a:cubicBezTo>
                    <a:pt x="1024" y="938"/>
                    <a:pt x="1015" y="888"/>
                    <a:pt x="939" y="877"/>
                  </a:cubicBezTo>
                  <a:cubicBezTo>
                    <a:pt x="922" y="873"/>
                    <a:pt x="904" y="875"/>
                    <a:pt x="886" y="875"/>
                  </a:cubicBezTo>
                  <a:cubicBezTo>
                    <a:pt x="866" y="875"/>
                    <a:pt x="848" y="875"/>
                    <a:pt x="832" y="872"/>
                  </a:cubicBezTo>
                  <a:cubicBezTo>
                    <a:pt x="807" y="867"/>
                    <a:pt x="787" y="855"/>
                    <a:pt x="764" y="841"/>
                  </a:cubicBezTo>
                  <a:lnTo>
                    <a:pt x="761" y="837"/>
                  </a:lnTo>
                  <a:cubicBezTo>
                    <a:pt x="741" y="826"/>
                    <a:pt x="720" y="811"/>
                    <a:pt x="693" y="809"/>
                  </a:cubicBezTo>
                  <a:cubicBezTo>
                    <a:pt x="672" y="808"/>
                    <a:pt x="654" y="814"/>
                    <a:pt x="639" y="821"/>
                  </a:cubicBezTo>
                  <a:cubicBezTo>
                    <a:pt x="626" y="826"/>
                    <a:pt x="614" y="831"/>
                    <a:pt x="603" y="831"/>
                  </a:cubicBezTo>
                  <a:cubicBezTo>
                    <a:pt x="593" y="832"/>
                    <a:pt x="583" y="829"/>
                    <a:pt x="573" y="827"/>
                  </a:cubicBezTo>
                  <a:cubicBezTo>
                    <a:pt x="553" y="822"/>
                    <a:pt x="532" y="817"/>
                    <a:pt x="507" y="837"/>
                  </a:cubicBezTo>
                  <a:cubicBezTo>
                    <a:pt x="499" y="842"/>
                    <a:pt x="491" y="849"/>
                    <a:pt x="484" y="855"/>
                  </a:cubicBezTo>
                  <a:cubicBezTo>
                    <a:pt x="473" y="867"/>
                    <a:pt x="463" y="877"/>
                    <a:pt x="449" y="882"/>
                  </a:cubicBezTo>
                  <a:cubicBezTo>
                    <a:pt x="433" y="888"/>
                    <a:pt x="415" y="890"/>
                    <a:pt x="397" y="893"/>
                  </a:cubicBezTo>
                  <a:cubicBezTo>
                    <a:pt x="382" y="897"/>
                    <a:pt x="365" y="900"/>
                    <a:pt x="349" y="903"/>
                  </a:cubicBezTo>
                  <a:cubicBezTo>
                    <a:pt x="319" y="913"/>
                    <a:pt x="290" y="928"/>
                    <a:pt x="262" y="941"/>
                  </a:cubicBezTo>
                  <a:lnTo>
                    <a:pt x="248" y="948"/>
                  </a:lnTo>
                  <a:cubicBezTo>
                    <a:pt x="235" y="954"/>
                    <a:pt x="222" y="959"/>
                    <a:pt x="209" y="964"/>
                  </a:cubicBezTo>
                  <a:cubicBezTo>
                    <a:pt x="168" y="981"/>
                    <a:pt x="127" y="995"/>
                    <a:pt x="104" y="1038"/>
                  </a:cubicBezTo>
                  <a:cubicBezTo>
                    <a:pt x="102" y="1033"/>
                    <a:pt x="100" y="1028"/>
                    <a:pt x="100" y="1023"/>
                  </a:cubicBezTo>
                  <a:cubicBezTo>
                    <a:pt x="100" y="1018"/>
                    <a:pt x="100" y="1014"/>
                    <a:pt x="102" y="1009"/>
                  </a:cubicBezTo>
                  <a:cubicBezTo>
                    <a:pt x="104" y="995"/>
                    <a:pt x="105" y="981"/>
                    <a:pt x="97" y="967"/>
                  </a:cubicBezTo>
                  <a:cubicBezTo>
                    <a:pt x="92" y="958"/>
                    <a:pt x="85" y="951"/>
                    <a:pt x="79" y="946"/>
                  </a:cubicBezTo>
                  <a:cubicBezTo>
                    <a:pt x="72" y="943"/>
                    <a:pt x="69" y="938"/>
                    <a:pt x="66" y="934"/>
                  </a:cubicBezTo>
                  <a:cubicBezTo>
                    <a:pt x="64" y="926"/>
                    <a:pt x="62" y="921"/>
                    <a:pt x="64" y="920"/>
                  </a:cubicBezTo>
                  <a:cubicBezTo>
                    <a:pt x="67" y="913"/>
                    <a:pt x="84" y="910"/>
                    <a:pt x="97" y="908"/>
                  </a:cubicBezTo>
                  <a:cubicBezTo>
                    <a:pt x="118" y="903"/>
                    <a:pt x="140" y="900"/>
                    <a:pt x="150" y="883"/>
                  </a:cubicBezTo>
                  <a:cubicBezTo>
                    <a:pt x="156" y="873"/>
                    <a:pt x="158" y="864"/>
                    <a:pt x="155" y="850"/>
                  </a:cubicBezTo>
                  <a:cubicBezTo>
                    <a:pt x="148" y="824"/>
                    <a:pt x="128" y="803"/>
                    <a:pt x="110" y="783"/>
                  </a:cubicBezTo>
                  <a:lnTo>
                    <a:pt x="100" y="775"/>
                  </a:lnTo>
                  <a:cubicBezTo>
                    <a:pt x="72" y="743"/>
                    <a:pt x="51" y="717"/>
                    <a:pt x="38" y="686"/>
                  </a:cubicBezTo>
                  <a:cubicBezTo>
                    <a:pt x="29" y="666"/>
                    <a:pt x="26" y="646"/>
                    <a:pt x="24" y="625"/>
                  </a:cubicBezTo>
                  <a:cubicBezTo>
                    <a:pt x="23" y="605"/>
                    <a:pt x="21" y="587"/>
                    <a:pt x="15" y="567"/>
                  </a:cubicBezTo>
                  <a:cubicBezTo>
                    <a:pt x="11" y="557"/>
                    <a:pt x="6" y="547"/>
                    <a:pt x="0" y="537"/>
                  </a:cubicBezTo>
                  <a:cubicBezTo>
                    <a:pt x="18" y="534"/>
                    <a:pt x="38" y="536"/>
                    <a:pt x="54" y="537"/>
                  </a:cubicBezTo>
                  <a:lnTo>
                    <a:pt x="74" y="539"/>
                  </a:lnTo>
                  <a:cubicBezTo>
                    <a:pt x="120" y="544"/>
                    <a:pt x="173" y="547"/>
                    <a:pt x="212" y="508"/>
                  </a:cubicBezTo>
                  <a:cubicBezTo>
                    <a:pt x="230" y="491"/>
                    <a:pt x="235" y="468"/>
                    <a:pt x="240" y="448"/>
                  </a:cubicBezTo>
                  <a:cubicBezTo>
                    <a:pt x="245" y="424"/>
                    <a:pt x="250" y="407"/>
                    <a:pt x="268" y="399"/>
                  </a:cubicBezTo>
                  <a:cubicBezTo>
                    <a:pt x="276" y="394"/>
                    <a:pt x="283" y="392"/>
                    <a:pt x="291" y="389"/>
                  </a:cubicBezTo>
                  <a:cubicBezTo>
                    <a:pt x="298" y="388"/>
                    <a:pt x="305" y="384"/>
                    <a:pt x="313" y="381"/>
                  </a:cubicBezTo>
                  <a:cubicBezTo>
                    <a:pt x="326" y="396"/>
                    <a:pt x="337" y="411"/>
                    <a:pt x="351" y="427"/>
                  </a:cubicBezTo>
                  <a:cubicBezTo>
                    <a:pt x="379" y="462"/>
                    <a:pt x="408" y="465"/>
                    <a:pt x="440" y="470"/>
                  </a:cubicBezTo>
                  <a:cubicBezTo>
                    <a:pt x="448" y="470"/>
                    <a:pt x="456" y="472"/>
                    <a:pt x="466" y="475"/>
                  </a:cubicBezTo>
                  <a:cubicBezTo>
                    <a:pt x="497" y="480"/>
                    <a:pt x="525" y="493"/>
                    <a:pt x="553" y="504"/>
                  </a:cubicBezTo>
                  <a:cubicBezTo>
                    <a:pt x="586" y="519"/>
                    <a:pt x="621" y="536"/>
                    <a:pt x="659" y="539"/>
                  </a:cubicBezTo>
                  <a:cubicBezTo>
                    <a:pt x="678" y="541"/>
                    <a:pt x="700" y="541"/>
                    <a:pt x="723" y="534"/>
                  </a:cubicBezTo>
                  <a:cubicBezTo>
                    <a:pt x="753" y="526"/>
                    <a:pt x="776" y="508"/>
                    <a:pt x="795" y="491"/>
                  </a:cubicBezTo>
                  <a:cubicBezTo>
                    <a:pt x="805" y="483"/>
                    <a:pt x="814" y="476"/>
                    <a:pt x="823" y="470"/>
                  </a:cubicBezTo>
                  <a:cubicBezTo>
                    <a:pt x="832" y="463"/>
                    <a:pt x="843" y="458"/>
                    <a:pt x="855" y="452"/>
                  </a:cubicBezTo>
                  <a:cubicBezTo>
                    <a:pt x="879" y="439"/>
                    <a:pt x="904" y="425"/>
                    <a:pt x="921" y="401"/>
                  </a:cubicBezTo>
                  <a:cubicBezTo>
                    <a:pt x="926" y="392"/>
                    <a:pt x="929" y="383"/>
                    <a:pt x="932" y="374"/>
                  </a:cubicBezTo>
                  <a:cubicBezTo>
                    <a:pt x="935" y="364"/>
                    <a:pt x="939" y="356"/>
                    <a:pt x="944" y="350"/>
                  </a:cubicBezTo>
                  <a:cubicBezTo>
                    <a:pt x="949" y="343"/>
                    <a:pt x="955" y="338"/>
                    <a:pt x="962" y="333"/>
                  </a:cubicBezTo>
                  <a:cubicBezTo>
                    <a:pt x="968" y="328"/>
                    <a:pt x="975" y="323"/>
                    <a:pt x="980" y="317"/>
                  </a:cubicBezTo>
                  <a:cubicBezTo>
                    <a:pt x="991" y="303"/>
                    <a:pt x="998" y="289"/>
                    <a:pt x="1005" y="275"/>
                  </a:cubicBezTo>
                  <a:cubicBezTo>
                    <a:pt x="1013" y="256"/>
                    <a:pt x="1019" y="239"/>
                    <a:pt x="1036" y="231"/>
                  </a:cubicBezTo>
                  <a:cubicBezTo>
                    <a:pt x="1043" y="229"/>
                    <a:pt x="1046" y="228"/>
                    <a:pt x="1051" y="226"/>
                  </a:cubicBezTo>
                  <a:cubicBezTo>
                    <a:pt x="1064" y="221"/>
                    <a:pt x="1075" y="216"/>
                    <a:pt x="1089" y="200"/>
                  </a:cubicBezTo>
                  <a:cubicBezTo>
                    <a:pt x="1099" y="188"/>
                    <a:pt x="1102" y="173"/>
                    <a:pt x="1105" y="160"/>
                  </a:cubicBezTo>
                  <a:lnTo>
                    <a:pt x="1108" y="150"/>
                  </a:lnTo>
                  <a:cubicBezTo>
                    <a:pt x="1117" y="124"/>
                    <a:pt x="1123" y="103"/>
                    <a:pt x="1145" y="91"/>
                  </a:cubicBezTo>
                  <a:cubicBezTo>
                    <a:pt x="1160" y="84"/>
                    <a:pt x="1179" y="84"/>
                    <a:pt x="1197" y="84"/>
                  </a:cubicBezTo>
                  <a:cubicBezTo>
                    <a:pt x="1204" y="84"/>
                    <a:pt x="1209" y="84"/>
                    <a:pt x="1214" y="84"/>
                  </a:cubicBezTo>
                  <a:cubicBezTo>
                    <a:pt x="1247" y="84"/>
                    <a:pt x="1268" y="76"/>
                    <a:pt x="1296" y="65"/>
                  </a:cubicBezTo>
                  <a:cubicBezTo>
                    <a:pt x="1314" y="58"/>
                    <a:pt x="1336" y="56"/>
                    <a:pt x="1357" y="56"/>
                  </a:cubicBezTo>
                  <a:cubicBezTo>
                    <a:pt x="1372" y="55"/>
                    <a:pt x="1387" y="55"/>
                    <a:pt x="1400" y="51"/>
                  </a:cubicBezTo>
                  <a:cubicBezTo>
                    <a:pt x="1405" y="51"/>
                    <a:pt x="1410" y="51"/>
                    <a:pt x="1417" y="50"/>
                  </a:cubicBezTo>
                  <a:cubicBezTo>
                    <a:pt x="1425" y="50"/>
                    <a:pt x="1436" y="50"/>
                    <a:pt x="1446" y="46"/>
                  </a:cubicBezTo>
                  <a:cubicBezTo>
                    <a:pt x="1458" y="43"/>
                    <a:pt x="1466" y="35"/>
                    <a:pt x="1473" y="28"/>
                  </a:cubicBezTo>
                  <a:cubicBezTo>
                    <a:pt x="1476" y="25"/>
                    <a:pt x="1479" y="23"/>
                    <a:pt x="1482" y="22"/>
                  </a:cubicBezTo>
                  <a:cubicBezTo>
                    <a:pt x="1482" y="20"/>
                    <a:pt x="1484" y="20"/>
                    <a:pt x="1484" y="20"/>
                  </a:cubicBezTo>
                  <a:cubicBezTo>
                    <a:pt x="1492" y="15"/>
                    <a:pt x="1499" y="10"/>
                    <a:pt x="1505" y="9"/>
                  </a:cubicBezTo>
                  <a:lnTo>
                    <a:pt x="1507" y="9"/>
                  </a:lnTo>
                  <a:cubicBezTo>
                    <a:pt x="1538" y="0"/>
                    <a:pt x="1568" y="23"/>
                    <a:pt x="1609" y="55"/>
                  </a:cubicBezTo>
                  <a:cubicBezTo>
                    <a:pt x="1617" y="61"/>
                    <a:pt x="1624" y="68"/>
                    <a:pt x="1632" y="73"/>
                  </a:cubicBezTo>
                  <a:cubicBezTo>
                    <a:pt x="1649" y="84"/>
                    <a:pt x="1665" y="96"/>
                    <a:pt x="1682" y="104"/>
                  </a:cubicBezTo>
                  <a:cubicBezTo>
                    <a:pt x="1702" y="116"/>
                    <a:pt x="1720" y="126"/>
                    <a:pt x="1736" y="139"/>
                  </a:cubicBezTo>
                  <a:cubicBezTo>
                    <a:pt x="1769" y="165"/>
                    <a:pt x="1797" y="183"/>
                    <a:pt x="1846" y="172"/>
                  </a:cubicBezTo>
                  <a:cubicBezTo>
                    <a:pt x="1884" y="162"/>
                    <a:pt x="1893" y="163"/>
                    <a:pt x="1901" y="196"/>
                  </a:cubicBezTo>
                  <a:cubicBezTo>
                    <a:pt x="1902" y="198"/>
                    <a:pt x="1902" y="201"/>
                    <a:pt x="1902" y="205"/>
                  </a:cubicBezTo>
                  <a:cubicBezTo>
                    <a:pt x="1886" y="213"/>
                    <a:pt x="1871" y="224"/>
                    <a:pt x="1866" y="249"/>
                  </a:cubicBezTo>
                  <a:cubicBezTo>
                    <a:pt x="1865" y="257"/>
                    <a:pt x="1865" y="266"/>
                    <a:pt x="1865" y="272"/>
                  </a:cubicBezTo>
                  <a:cubicBezTo>
                    <a:pt x="1866" y="277"/>
                    <a:pt x="1866" y="284"/>
                    <a:pt x="1865" y="289"/>
                  </a:cubicBezTo>
                  <a:cubicBezTo>
                    <a:pt x="1863" y="297"/>
                    <a:pt x="1858" y="305"/>
                    <a:pt x="1851" y="313"/>
                  </a:cubicBezTo>
                  <a:cubicBezTo>
                    <a:pt x="1850" y="317"/>
                    <a:pt x="1846" y="322"/>
                    <a:pt x="1843" y="325"/>
                  </a:cubicBezTo>
                  <a:cubicBezTo>
                    <a:pt x="1825" y="358"/>
                    <a:pt x="1823" y="384"/>
                    <a:pt x="1840" y="416"/>
                  </a:cubicBezTo>
                  <a:cubicBezTo>
                    <a:pt x="1853" y="442"/>
                    <a:pt x="1871" y="463"/>
                    <a:pt x="1889" y="48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6" name="Freeform 72">
              <a:extLst>
                <a:ext uri="{FF2B5EF4-FFF2-40B4-BE49-F238E27FC236}">
                  <a16:creationId xmlns:a16="http://schemas.microsoft.com/office/drawing/2014/main" id="{338D46E5-C845-934D-B269-0C7D908FAD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1238" y="3025775"/>
              <a:ext cx="984250" cy="1866900"/>
            </a:xfrm>
            <a:custGeom>
              <a:avLst/>
              <a:gdLst>
                <a:gd name="T0" fmla="*/ 753 w 2736"/>
                <a:gd name="T1" fmla="*/ 4932 h 5185"/>
                <a:gd name="T2" fmla="*/ 933 w 2736"/>
                <a:gd name="T3" fmla="*/ 4741 h 5185"/>
                <a:gd name="T4" fmla="*/ 817 w 2736"/>
                <a:gd name="T5" fmla="*/ 4268 h 5185"/>
                <a:gd name="T6" fmla="*/ 638 w 2736"/>
                <a:gd name="T7" fmla="*/ 4135 h 5185"/>
                <a:gd name="T8" fmla="*/ 577 w 2736"/>
                <a:gd name="T9" fmla="*/ 3904 h 5185"/>
                <a:gd name="T10" fmla="*/ 501 w 2736"/>
                <a:gd name="T11" fmla="*/ 3733 h 5185"/>
                <a:gd name="T12" fmla="*/ 493 w 2736"/>
                <a:gd name="T13" fmla="*/ 3588 h 5185"/>
                <a:gd name="T14" fmla="*/ 531 w 2736"/>
                <a:gd name="T15" fmla="*/ 3473 h 5185"/>
                <a:gd name="T16" fmla="*/ 580 w 2736"/>
                <a:gd name="T17" fmla="*/ 3252 h 5185"/>
                <a:gd name="T18" fmla="*/ 547 w 2736"/>
                <a:gd name="T19" fmla="*/ 2975 h 5185"/>
                <a:gd name="T20" fmla="*/ 452 w 2736"/>
                <a:gd name="T21" fmla="*/ 2741 h 5185"/>
                <a:gd name="T22" fmla="*/ 148 w 2736"/>
                <a:gd name="T23" fmla="*/ 2588 h 5185"/>
                <a:gd name="T24" fmla="*/ 76 w 2736"/>
                <a:gd name="T25" fmla="*/ 2262 h 5185"/>
                <a:gd name="T26" fmla="*/ 234 w 2736"/>
                <a:gd name="T27" fmla="*/ 2184 h 5185"/>
                <a:gd name="T28" fmla="*/ 196 w 2736"/>
                <a:gd name="T29" fmla="*/ 2044 h 5185"/>
                <a:gd name="T30" fmla="*/ 181 w 2736"/>
                <a:gd name="T31" fmla="*/ 1820 h 5185"/>
                <a:gd name="T32" fmla="*/ 321 w 2736"/>
                <a:gd name="T33" fmla="*/ 1603 h 5185"/>
                <a:gd name="T34" fmla="*/ 419 w 2736"/>
                <a:gd name="T35" fmla="*/ 1347 h 5185"/>
                <a:gd name="T36" fmla="*/ 369 w 2736"/>
                <a:gd name="T37" fmla="*/ 1105 h 5185"/>
                <a:gd name="T38" fmla="*/ 295 w 2736"/>
                <a:gd name="T39" fmla="*/ 975 h 5185"/>
                <a:gd name="T40" fmla="*/ 213 w 2736"/>
                <a:gd name="T41" fmla="*/ 583 h 5185"/>
                <a:gd name="T42" fmla="*/ 158 w 2736"/>
                <a:gd name="T43" fmla="*/ 336 h 5185"/>
                <a:gd name="T44" fmla="*/ 211 w 2736"/>
                <a:gd name="T45" fmla="*/ 76 h 5185"/>
                <a:gd name="T46" fmla="*/ 283 w 2736"/>
                <a:gd name="T47" fmla="*/ 41 h 5185"/>
                <a:gd name="T48" fmla="*/ 369 w 2736"/>
                <a:gd name="T49" fmla="*/ 291 h 5185"/>
                <a:gd name="T50" fmla="*/ 651 w 2736"/>
                <a:gd name="T51" fmla="*/ 155 h 5185"/>
                <a:gd name="T52" fmla="*/ 852 w 2736"/>
                <a:gd name="T53" fmla="*/ 394 h 5185"/>
                <a:gd name="T54" fmla="*/ 1203 w 2736"/>
                <a:gd name="T55" fmla="*/ 412 h 5185"/>
                <a:gd name="T56" fmla="*/ 967 w 2736"/>
                <a:gd name="T57" fmla="*/ 687 h 5185"/>
                <a:gd name="T58" fmla="*/ 824 w 2736"/>
                <a:gd name="T59" fmla="*/ 959 h 5185"/>
                <a:gd name="T60" fmla="*/ 944 w 2736"/>
                <a:gd name="T61" fmla="*/ 1258 h 5185"/>
                <a:gd name="T62" fmla="*/ 1223 w 2736"/>
                <a:gd name="T63" fmla="*/ 1547 h 5185"/>
                <a:gd name="T64" fmla="*/ 1058 w 2736"/>
                <a:gd name="T65" fmla="*/ 1855 h 5185"/>
                <a:gd name="T66" fmla="*/ 980 w 2736"/>
                <a:gd name="T67" fmla="*/ 2158 h 5185"/>
                <a:gd name="T68" fmla="*/ 1203 w 2736"/>
                <a:gd name="T69" fmla="*/ 2418 h 5185"/>
                <a:gd name="T70" fmla="*/ 1463 w 2736"/>
                <a:gd name="T71" fmla="*/ 2415 h 5185"/>
                <a:gd name="T72" fmla="*/ 1552 w 2736"/>
                <a:gd name="T73" fmla="*/ 2667 h 5185"/>
                <a:gd name="T74" fmla="*/ 1796 w 2736"/>
                <a:gd name="T75" fmla="*/ 2894 h 5185"/>
                <a:gd name="T76" fmla="*/ 2071 w 2736"/>
                <a:gd name="T77" fmla="*/ 2838 h 5185"/>
                <a:gd name="T78" fmla="*/ 2501 w 2736"/>
                <a:gd name="T79" fmla="*/ 2828 h 5185"/>
                <a:gd name="T80" fmla="*/ 2723 w 2736"/>
                <a:gd name="T81" fmla="*/ 3028 h 5185"/>
                <a:gd name="T82" fmla="*/ 2517 w 2736"/>
                <a:gd name="T83" fmla="*/ 3318 h 5185"/>
                <a:gd name="T84" fmla="*/ 2423 w 2736"/>
                <a:gd name="T85" fmla="*/ 3408 h 5185"/>
                <a:gd name="T86" fmla="*/ 2234 w 2736"/>
                <a:gd name="T87" fmla="*/ 3394 h 5185"/>
                <a:gd name="T88" fmla="*/ 1961 w 2736"/>
                <a:gd name="T89" fmla="*/ 3710 h 5185"/>
                <a:gd name="T90" fmla="*/ 1947 w 2736"/>
                <a:gd name="T91" fmla="*/ 3865 h 5185"/>
                <a:gd name="T92" fmla="*/ 1809 w 2736"/>
                <a:gd name="T93" fmla="*/ 4034 h 5185"/>
                <a:gd name="T94" fmla="*/ 1789 w 2736"/>
                <a:gd name="T95" fmla="*/ 4293 h 5185"/>
                <a:gd name="T96" fmla="*/ 1618 w 2736"/>
                <a:gd name="T97" fmla="*/ 4484 h 5185"/>
                <a:gd name="T98" fmla="*/ 1783 w 2736"/>
                <a:gd name="T99" fmla="*/ 4664 h 5185"/>
                <a:gd name="T100" fmla="*/ 1606 w 2736"/>
                <a:gd name="T101" fmla="*/ 4702 h 5185"/>
                <a:gd name="T102" fmla="*/ 1387 w 2736"/>
                <a:gd name="T103" fmla="*/ 4845 h 5185"/>
                <a:gd name="T104" fmla="*/ 1242 w 2736"/>
                <a:gd name="T105" fmla="*/ 4993 h 5185"/>
                <a:gd name="T106" fmla="*/ 1036 w 2736"/>
                <a:gd name="T107" fmla="*/ 5169 h 5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36" h="5185">
                  <a:moveTo>
                    <a:pt x="690" y="5071"/>
                  </a:moveTo>
                  <a:cubicBezTo>
                    <a:pt x="679" y="5056"/>
                    <a:pt x="667" y="5041"/>
                    <a:pt x="656" y="5028"/>
                  </a:cubicBezTo>
                  <a:cubicBezTo>
                    <a:pt x="657" y="5026"/>
                    <a:pt x="659" y="5024"/>
                    <a:pt x="661" y="5023"/>
                  </a:cubicBezTo>
                  <a:cubicBezTo>
                    <a:pt x="676" y="5010"/>
                    <a:pt x="685" y="4993"/>
                    <a:pt x="695" y="4980"/>
                  </a:cubicBezTo>
                  <a:cubicBezTo>
                    <a:pt x="700" y="4972"/>
                    <a:pt x="705" y="4963"/>
                    <a:pt x="712" y="4955"/>
                  </a:cubicBezTo>
                  <a:cubicBezTo>
                    <a:pt x="725" y="4940"/>
                    <a:pt x="737" y="4937"/>
                    <a:pt x="753" y="4932"/>
                  </a:cubicBezTo>
                  <a:cubicBezTo>
                    <a:pt x="760" y="4931"/>
                    <a:pt x="768" y="4929"/>
                    <a:pt x="776" y="4926"/>
                  </a:cubicBezTo>
                  <a:cubicBezTo>
                    <a:pt x="809" y="4914"/>
                    <a:pt x="827" y="4884"/>
                    <a:pt x="839" y="4863"/>
                  </a:cubicBezTo>
                  <a:cubicBezTo>
                    <a:pt x="844" y="4853"/>
                    <a:pt x="847" y="4842"/>
                    <a:pt x="850" y="4832"/>
                  </a:cubicBezTo>
                  <a:cubicBezTo>
                    <a:pt x="857" y="4812"/>
                    <a:pt x="863" y="4795"/>
                    <a:pt x="875" y="4784"/>
                  </a:cubicBezTo>
                  <a:cubicBezTo>
                    <a:pt x="881" y="4779"/>
                    <a:pt x="888" y="4776"/>
                    <a:pt x="895" y="4772"/>
                  </a:cubicBezTo>
                  <a:cubicBezTo>
                    <a:pt x="908" y="4766"/>
                    <a:pt x="921" y="4758"/>
                    <a:pt x="933" y="4741"/>
                  </a:cubicBezTo>
                  <a:cubicBezTo>
                    <a:pt x="969" y="4688"/>
                    <a:pt x="959" y="4614"/>
                    <a:pt x="951" y="4575"/>
                  </a:cubicBezTo>
                  <a:cubicBezTo>
                    <a:pt x="942" y="4537"/>
                    <a:pt x="926" y="4502"/>
                    <a:pt x="910" y="4468"/>
                  </a:cubicBezTo>
                  <a:cubicBezTo>
                    <a:pt x="898" y="4446"/>
                    <a:pt x="886" y="4421"/>
                    <a:pt x="878" y="4397"/>
                  </a:cubicBezTo>
                  <a:lnTo>
                    <a:pt x="875" y="4387"/>
                  </a:lnTo>
                  <a:cubicBezTo>
                    <a:pt x="865" y="4361"/>
                    <a:pt x="858" y="4336"/>
                    <a:pt x="837" y="4313"/>
                  </a:cubicBezTo>
                  <a:cubicBezTo>
                    <a:pt x="822" y="4295"/>
                    <a:pt x="816" y="4288"/>
                    <a:pt x="817" y="4268"/>
                  </a:cubicBezTo>
                  <a:cubicBezTo>
                    <a:pt x="817" y="4260"/>
                    <a:pt x="821" y="4250"/>
                    <a:pt x="824" y="4240"/>
                  </a:cubicBezTo>
                  <a:cubicBezTo>
                    <a:pt x="832" y="4209"/>
                    <a:pt x="844" y="4168"/>
                    <a:pt x="806" y="4146"/>
                  </a:cubicBezTo>
                  <a:cubicBezTo>
                    <a:pt x="786" y="4135"/>
                    <a:pt x="766" y="4138"/>
                    <a:pt x="748" y="4143"/>
                  </a:cubicBezTo>
                  <a:cubicBezTo>
                    <a:pt x="740" y="4145"/>
                    <a:pt x="730" y="4146"/>
                    <a:pt x="722" y="4146"/>
                  </a:cubicBezTo>
                  <a:cubicBezTo>
                    <a:pt x="712" y="4145"/>
                    <a:pt x="702" y="4143"/>
                    <a:pt x="692" y="4140"/>
                  </a:cubicBezTo>
                  <a:cubicBezTo>
                    <a:pt x="676" y="4136"/>
                    <a:pt x="659" y="4132"/>
                    <a:pt x="638" y="4135"/>
                  </a:cubicBezTo>
                  <a:cubicBezTo>
                    <a:pt x="628" y="4135"/>
                    <a:pt x="620" y="4138"/>
                    <a:pt x="610" y="4140"/>
                  </a:cubicBezTo>
                  <a:cubicBezTo>
                    <a:pt x="567" y="4148"/>
                    <a:pt x="542" y="4151"/>
                    <a:pt x="521" y="4117"/>
                  </a:cubicBezTo>
                  <a:lnTo>
                    <a:pt x="501" y="4084"/>
                  </a:lnTo>
                  <a:cubicBezTo>
                    <a:pt x="484" y="4056"/>
                    <a:pt x="468" y="4029"/>
                    <a:pt x="452" y="4003"/>
                  </a:cubicBezTo>
                  <a:cubicBezTo>
                    <a:pt x="475" y="3985"/>
                    <a:pt x="501" y="3970"/>
                    <a:pt x="532" y="3955"/>
                  </a:cubicBezTo>
                  <a:cubicBezTo>
                    <a:pt x="555" y="3945"/>
                    <a:pt x="570" y="3927"/>
                    <a:pt x="577" y="3904"/>
                  </a:cubicBezTo>
                  <a:cubicBezTo>
                    <a:pt x="585" y="3876"/>
                    <a:pt x="580" y="3843"/>
                    <a:pt x="562" y="3815"/>
                  </a:cubicBezTo>
                  <a:cubicBezTo>
                    <a:pt x="559" y="3810"/>
                    <a:pt x="555" y="3807"/>
                    <a:pt x="552" y="3804"/>
                  </a:cubicBezTo>
                  <a:cubicBezTo>
                    <a:pt x="549" y="3799"/>
                    <a:pt x="545" y="3795"/>
                    <a:pt x="544" y="3791"/>
                  </a:cubicBezTo>
                  <a:cubicBezTo>
                    <a:pt x="540" y="3786"/>
                    <a:pt x="540" y="3782"/>
                    <a:pt x="539" y="3779"/>
                  </a:cubicBezTo>
                  <a:cubicBezTo>
                    <a:pt x="537" y="3772"/>
                    <a:pt x="534" y="3764"/>
                    <a:pt x="529" y="3756"/>
                  </a:cubicBezTo>
                  <a:cubicBezTo>
                    <a:pt x="521" y="3746"/>
                    <a:pt x="511" y="3739"/>
                    <a:pt x="501" y="3733"/>
                  </a:cubicBezTo>
                  <a:cubicBezTo>
                    <a:pt x="491" y="3726"/>
                    <a:pt x="483" y="3721"/>
                    <a:pt x="478" y="3711"/>
                  </a:cubicBezTo>
                  <a:cubicBezTo>
                    <a:pt x="470" y="3697"/>
                    <a:pt x="475" y="3687"/>
                    <a:pt x="480" y="3670"/>
                  </a:cubicBezTo>
                  <a:cubicBezTo>
                    <a:pt x="483" y="3664"/>
                    <a:pt x="486" y="3655"/>
                    <a:pt x="488" y="3647"/>
                  </a:cubicBezTo>
                  <a:cubicBezTo>
                    <a:pt x="491" y="3634"/>
                    <a:pt x="491" y="3624"/>
                    <a:pt x="491" y="3614"/>
                  </a:cubicBezTo>
                  <a:lnTo>
                    <a:pt x="491" y="3614"/>
                  </a:lnTo>
                  <a:cubicBezTo>
                    <a:pt x="491" y="3604"/>
                    <a:pt x="491" y="3596"/>
                    <a:pt x="493" y="3588"/>
                  </a:cubicBezTo>
                  <a:cubicBezTo>
                    <a:pt x="494" y="3586"/>
                    <a:pt x="494" y="3583"/>
                    <a:pt x="496" y="3578"/>
                  </a:cubicBezTo>
                  <a:cubicBezTo>
                    <a:pt x="498" y="3576"/>
                    <a:pt x="499" y="3575"/>
                    <a:pt x="501" y="3571"/>
                  </a:cubicBezTo>
                  <a:cubicBezTo>
                    <a:pt x="506" y="3565"/>
                    <a:pt x="511" y="3558"/>
                    <a:pt x="509" y="3545"/>
                  </a:cubicBezTo>
                  <a:cubicBezTo>
                    <a:pt x="508" y="3537"/>
                    <a:pt x="504" y="3530"/>
                    <a:pt x="501" y="3525"/>
                  </a:cubicBezTo>
                  <a:cubicBezTo>
                    <a:pt x="498" y="3522"/>
                    <a:pt x="498" y="3519"/>
                    <a:pt x="498" y="3517"/>
                  </a:cubicBezTo>
                  <a:cubicBezTo>
                    <a:pt x="498" y="3504"/>
                    <a:pt x="517" y="3486"/>
                    <a:pt x="531" y="3473"/>
                  </a:cubicBezTo>
                  <a:cubicBezTo>
                    <a:pt x="537" y="3466"/>
                    <a:pt x="542" y="3461"/>
                    <a:pt x="547" y="3456"/>
                  </a:cubicBezTo>
                  <a:cubicBezTo>
                    <a:pt x="557" y="3445"/>
                    <a:pt x="570" y="3433"/>
                    <a:pt x="582" y="3422"/>
                  </a:cubicBezTo>
                  <a:cubicBezTo>
                    <a:pt x="606" y="3397"/>
                    <a:pt x="631" y="3372"/>
                    <a:pt x="649" y="3342"/>
                  </a:cubicBezTo>
                  <a:cubicBezTo>
                    <a:pt x="656" y="3331"/>
                    <a:pt x="671" y="3306"/>
                    <a:pt x="657" y="3281"/>
                  </a:cubicBezTo>
                  <a:cubicBezTo>
                    <a:pt x="644" y="3257"/>
                    <a:pt x="618" y="3255"/>
                    <a:pt x="600" y="3253"/>
                  </a:cubicBezTo>
                  <a:cubicBezTo>
                    <a:pt x="592" y="3253"/>
                    <a:pt x="585" y="3253"/>
                    <a:pt x="580" y="3252"/>
                  </a:cubicBezTo>
                  <a:cubicBezTo>
                    <a:pt x="564" y="3247"/>
                    <a:pt x="545" y="3237"/>
                    <a:pt x="527" y="3227"/>
                  </a:cubicBezTo>
                  <a:cubicBezTo>
                    <a:pt x="517" y="3222"/>
                    <a:pt x="509" y="3219"/>
                    <a:pt x="501" y="3214"/>
                  </a:cubicBezTo>
                  <a:cubicBezTo>
                    <a:pt x="480" y="3204"/>
                    <a:pt x="466" y="3191"/>
                    <a:pt x="458" y="3168"/>
                  </a:cubicBezTo>
                  <a:cubicBezTo>
                    <a:pt x="442" y="3123"/>
                    <a:pt x="447" y="3077"/>
                    <a:pt x="470" y="3046"/>
                  </a:cubicBezTo>
                  <a:cubicBezTo>
                    <a:pt x="488" y="3021"/>
                    <a:pt x="508" y="3000"/>
                    <a:pt x="527" y="2987"/>
                  </a:cubicBezTo>
                  <a:cubicBezTo>
                    <a:pt x="532" y="2982"/>
                    <a:pt x="539" y="2978"/>
                    <a:pt x="547" y="2975"/>
                  </a:cubicBezTo>
                  <a:cubicBezTo>
                    <a:pt x="562" y="2968"/>
                    <a:pt x="578" y="2960"/>
                    <a:pt x="588" y="2942"/>
                  </a:cubicBezTo>
                  <a:cubicBezTo>
                    <a:pt x="601" y="2917"/>
                    <a:pt x="598" y="2883"/>
                    <a:pt x="582" y="2861"/>
                  </a:cubicBezTo>
                  <a:cubicBezTo>
                    <a:pt x="560" y="2838"/>
                    <a:pt x="536" y="2837"/>
                    <a:pt x="512" y="2837"/>
                  </a:cubicBezTo>
                  <a:lnTo>
                    <a:pt x="503" y="2837"/>
                  </a:lnTo>
                  <a:cubicBezTo>
                    <a:pt x="465" y="2835"/>
                    <a:pt x="463" y="2820"/>
                    <a:pt x="460" y="2787"/>
                  </a:cubicBezTo>
                  <a:cubicBezTo>
                    <a:pt x="458" y="2774"/>
                    <a:pt x="458" y="2758"/>
                    <a:pt x="452" y="2741"/>
                  </a:cubicBezTo>
                  <a:cubicBezTo>
                    <a:pt x="443" y="2718"/>
                    <a:pt x="428" y="2711"/>
                    <a:pt x="415" y="2705"/>
                  </a:cubicBezTo>
                  <a:cubicBezTo>
                    <a:pt x="410" y="2703"/>
                    <a:pt x="405" y="2700"/>
                    <a:pt x="399" y="2697"/>
                  </a:cubicBezTo>
                  <a:cubicBezTo>
                    <a:pt x="391" y="2690"/>
                    <a:pt x="389" y="2683"/>
                    <a:pt x="384" y="2674"/>
                  </a:cubicBezTo>
                  <a:cubicBezTo>
                    <a:pt x="381" y="2665"/>
                    <a:pt x="377" y="2655"/>
                    <a:pt x="369" y="2646"/>
                  </a:cubicBezTo>
                  <a:cubicBezTo>
                    <a:pt x="328" y="2598"/>
                    <a:pt x="229" y="2590"/>
                    <a:pt x="190" y="2588"/>
                  </a:cubicBezTo>
                  <a:cubicBezTo>
                    <a:pt x="178" y="2586"/>
                    <a:pt x="163" y="2588"/>
                    <a:pt x="148" y="2588"/>
                  </a:cubicBezTo>
                  <a:cubicBezTo>
                    <a:pt x="101" y="2590"/>
                    <a:pt x="41" y="2591"/>
                    <a:pt x="17" y="2562"/>
                  </a:cubicBezTo>
                  <a:cubicBezTo>
                    <a:pt x="0" y="2540"/>
                    <a:pt x="12" y="2520"/>
                    <a:pt x="31" y="2491"/>
                  </a:cubicBezTo>
                  <a:cubicBezTo>
                    <a:pt x="45" y="2473"/>
                    <a:pt x="58" y="2451"/>
                    <a:pt x="59" y="2428"/>
                  </a:cubicBezTo>
                  <a:cubicBezTo>
                    <a:pt x="61" y="2385"/>
                    <a:pt x="41" y="2334"/>
                    <a:pt x="22" y="2288"/>
                  </a:cubicBezTo>
                  <a:cubicBezTo>
                    <a:pt x="38" y="2282"/>
                    <a:pt x="54" y="2273"/>
                    <a:pt x="68" y="2267"/>
                  </a:cubicBezTo>
                  <a:lnTo>
                    <a:pt x="76" y="2262"/>
                  </a:lnTo>
                  <a:cubicBezTo>
                    <a:pt x="84" y="2258"/>
                    <a:pt x="92" y="2254"/>
                    <a:pt x="102" y="2249"/>
                  </a:cubicBezTo>
                  <a:cubicBezTo>
                    <a:pt x="115" y="2240"/>
                    <a:pt x="129" y="2230"/>
                    <a:pt x="142" y="2227"/>
                  </a:cubicBezTo>
                  <a:cubicBezTo>
                    <a:pt x="150" y="2225"/>
                    <a:pt x="157" y="2225"/>
                    <a:pt x="165" y="2225"/>
                  </a:cubicBezTo>
                  <a:cubicBezTo>
                    <a:pt x="173" y="2225"/>
                    <a:pt x="183" y="2225"/>
                    <a:pt x="191" y="2222"/>
                  </a:cubicBezTo>
                  <a:cubicBezTo>
                    <a:pt x="214" y="2217"/>
                    <a:pt x="221" y="2207"/>
                    <a:pt x="227" y="2196"/>
                  </a:cubicBezTo>
                  <a:cubicBezTo>
                    <a:pt x="229" y="2193"/>
                    <a:pt x="231" y="2189"/>
                    <a:pt x="234" y="2184"/>
                  </a:cubicBezTo>
                  <a:cubicBezTo>
                    <a:pt x="239" y="2178"/>
                    <a:pt x="244" y="2173"/>
                    <a:pt x="252" y="2168"/>
                  </a:cubicBezTo>
                  <a:cubicBezTo>
                    <a:pt x="255" y="2165"/>
                    <a:pt x="260" y="2161"/>
                    <a:pt x="265" y="2156"/>
                  </a:cubicBezTo>
                  <a:cubicBezTo>
                    <a:pt x="277" y="2146"/>
                    <a:pt x="283" y="2135"/>
                    <a:pt x="282" y="2123"/>
                  </a:cubicBezTo>
                  <a:cubicBezTo>
                    <a:pt x="282" y="2102"/>
                    <a:pt x="260" y="2087"/>
                    <a:pt x="242" y="2074"/>
                  </a:cubicBezTo>
                  <a:lnTo>
                    <a:pt x="236" y="2069"/>
                  </a:lnTo>
                  <a:cubicBezTo>
                    <a:pt x="224" y="2061"/>
                    <a:pt x="211" y="2053"/>
                    <a:pt x="196" y="2044"/>
                  </a:cubicBezTo>
                  <a:cubicBezTo>
                    <a:pt x="167" y="2026"/>
                    <a:pt x="134" y="2006"/>
                    <a:pt x="120" y="1982"/>
                  </a:cubicBezTo>
                  <a:cubicBezTo>
                    <a:pt x="109" y="1960"/>
                    <a:pt x="111" y="1916"/>
                    <a:pt x="119" y="1889"/>
                  </a:cubicBezTo>
                  <a:lnTo>
                    <a:pt x="119" y="1888"/>
                  </a:lnTo>
                  <a:cubicBezTo>
                    <a:pt x="122" y="1880"/>
                    <a:pt x="125" y="1873"/>
                    <a:pt x="132" y="1866"/>
                  </a:cubicBezTo>
                  <a:cubicBezTo>
                    <a:pt x="140" y="1856"/>
                    <a:pt x="150" y="1847"/>
                    <a:pt x="162" y="1837"/>
                  </a:cubicBezTo>
                  <a:cubicBezTo>
                    <a:pt x="168" y="1832"/>
                    <a:pt x="175" y="1825"/>
                    <a:pt x="181" y="1820"/>
                  </a:cubicBezTo>
                  <a:cubicBezTo>
                    <a:pt x="198" y="1804"/>
                    <a:pt x="211" y="1787"/>
                    <a:pt x="224" y="1771"/>
                  </a:cubicBezTo>
                  <a:cubicBezTo>
                    <a:pt x="237" y="1756"/>
                    <a:pt x="249" y="1741"/>
                    <a:pt x="262" y="1728"/>
                  </a:cubicBezTo>
                  <a:lnTo>
                    <a:pt x="269" y="1721"/>
                  </a:lnTo>
                  <a:cubicBezTo>
                    <a:pt x="283" y="1707"/>
                    <a:pt x="300" y="1692"/>
                    <a:pt x="308" y="1667"/>
                  </a:cubicBezTo>
                  <a:cubicBezTo>
                    <a:pt x="313" y="1654"/>
                    <a:pt x="315" y="1642"/>
                    <a:pt x="316" y="1629"/>
                  </a:cubicBezTo>
                  <a:cubicBezTo>
                    <a:pt x="318" y="1619"/>
                    <a:pt x="318" y="1611"/>
                    <a:pt x="321" y="1603"/>
                  </a:cubicBezTo>
                  <a:cubicBezTo>
                    <a:pt x="331" y="1565"/>
                    <a:pt x="320" y="1548"/>
                    <a:pt x="307" y="1532"/>
                  </a:cubicBezTo>
                  <a:cubicBezTo>
                    <a:pt x="302" y="1524"/>
                    <a:pt x="295" y="1515"/>
                    <a:pt x="290" y="1506"/>
                  </a:cubicBezTo>
                  <a:cubicBezTo>
                    <a:pt x="280" y="1483"/>
                    <a:pt x="293" y="1466"/>
                    <a:pt x="316" y="1441"/>
                  </a:cubicBezTo>
                  <a:cubicBezTo>
                    <a:pt x="325" y="1433"/>
                    <a:pt x="330" y="1427"/>
                    <a:pt x="336" y="1420"/>
                  </a:cubicBezTo>
                  <a:cubicBezTo>
                    <a:pt x="344" y="1408"/>
                    <a:pt x="358" y="1400"/>
                    <a:pt x="371" y="1394"/>
                  </a:cubicBezTo>
                  <a:cubicBezTo>
                    <a:pt x="387" y="1384"/>
                    <a:pt x="407" y="1372"/>
                    <a:pt x="419" y="1347"/>
                  </a:cubicBezTo>
                  <a:cubicBezTo>
                    <a:pt x="435" y="1310"/>
                    <a:pt x="437" y="1275"/>
                    <a:pt x="438" y="1239"/>
                  </a:cubicBezTo>
                  <a:cubicBezTo>
                    <a:pt x="438" y="1230"/>
                    <a:pt x="438" y="1222"/>
                    <a:pt x="440" y="1212"/>
                  </a:cubicBezTo>
                  <a:cubicBezTo>
                    <a:pt x="440" y="1209"/>
                    <a:pt x="440" y="1204"/>
                    <a:pt x="440" y="1198"/>
                  </a:cubicBezTo>
                  <a:cubicBezTo>
                    <a:pt x="443" y="1173"/>
                    <a:pt x="447" y="1140"/>
                    <a:pt x="428" y="1118"/>
                  </a:cubicBezTo>
                  <a:cubicBezTo>
                    <a:pt x="414" y="1104"/>
                    <a:pt x="397" y="1104"/>
                    <a:pt x="384" y="1105"/>
                  </a:cubicBezTo>
                  <a:cubicBezTo>
                    <a:pt x="379" y="1105"/>
                    <a:pt x="374" y="1105"/>
                    <a:pt x="369" y="1105"/>
                  </a:cubicBezTo>
                  <a:cubicBezTo>
                    <a:pt x="356" y="1102"/>
                    <a:pt x="349" y="1097"/>
                    <a:pt x="339" y="1084"/>
                  </a:cubicBezTo>
                  <a:cubicBezTo>
                    <a:pt x="323" y="1067"/>
                    <a:pt x="315" y="1061"/>
                    <a:pt x="290" y="1056"/>
                  </a:cubicBezTo>
                  <a:cubicBezTo>
                    <a:pt x="287" y="1054"/>
                    <a:pt x="283" y="1054"/>
                    <a:pt x="279" y="1054"/>
                  </a:cubicBezTo>
                  <a:cubicBezTo>
                    <a:pt x="275" y="1054"/>
                    <a:pt x="270" y="1054"/>
                    <a:pt x="269" y="1053"/>
                  </a:cubicBezTo>
                  <a:cubicBezTo>
                    <a:pt x="252" y="1039"/>
                    <a:pt x="279" y="998"/>
                    <a:pt x="290" y="982"/>
                  </a:cubicBezTo>
                  <a:lnTo>
                    <a:pt x="295" y="975"/>
                  </a:lnTo>
                  <a:cubicBezTo>
                    <a:pt x="323" y="932"/>
                    <a:pt x="328" y="898"/>
                    <a:pt x="310" y="855"/>
                  </a:cubicBezTo>
                  <a:cubicBezTo>
                    <a:pt x="298" y="825"/>
                    <a:pt x="277" y="804"/>
                    <a:pt x="257" y="784"/>
                  </a:cubicBezTo>
                  <a:cubicBezTo>
                    <a:pt x="219" y="746"/>
                    <a:pt x="198" y="721"/>
                    <a:pt x="216" y="679"/>
                  </a:cubicBezTo>
                  <a:lnTo>
                    <a:pt x="218" y="675"/>
                  </a:lnTo>
                  <a:cubicBezTo>
                    <a:pt x="226" y="652"/>
                    <a:pt x="232" y="637"/>
                    <a:pt x="224" y="609"/>
                  </a:cubicBezTo>
                  <a:cubicBezTo>
                    <a:pt x="223" y="600"/>
                    <a:pt x="218" y="591"/>
                    <a:pt x="213" y="583"/>
                  </a:cubicBezTo>
                  <a:cubicBezTo>
                    <a:pt x="208" y="575"/>
                    <a:pt x="203" y="567"/>
                    <a:pt x="203" y="558"/>
                  </a:cubicBezTo>
                  <a:cubicBezTo>
                    <a:pt x="203" y="550"/>
                    <a:pt x="206" y="542"/>
                    <a:pt x="213" y="534"/>
                  </a:cubicBezTo>
                  <a:cubicBezTo>
                    <a:pt x="216" y="527"/>
                    <a:pt x="221" y="519"/>
                    <a:pt x="224" y="511"/>
                  </a:cubicBezTo>
                  <a:cubicBezTo>
                    <a:pt x="231" y="491"/>
                    <a:pt x="231" y="469"/>
                    <a:pt x="226" y="448"/>
                  </a:cubicBezTo>
                  <a:cubicBezTo>
                    <a:pt x="218" y="418"/>
                    <a:pt x="201" y="395"/>
                    <a:pt x="185" y="374"/>
                  </a:cubicBezTo>
                  <a:cubicBezTo>
                    <a:pt x="175" y="361"/>
                    <a:pt x="165" y="349"/>
                    <a:pt x="158" y="336"/>
                  </a:cubicBezTo>
                  <a:cubicBezTo>
                    <a:pt x="143" y="310"/>
                    <a:pt x="150" y="290"/>
                    <a:pt x="160" y="262"/>
                  </a:cubicBezTo>
                  <a:cubicBezTo>
                    <a:pt x="163" y="257"/>
                    <a:pt x="165" y="250"/>
                    <a:pt x="167" y="244"/>
                  </a:cubicBezTo>
                  <a:cubicBezTo>
                    <a:pt x="178" y="209"/>
                    <a:pt x="167" y="186"/>
                    <a:pt x="158" y="165"/>
                  </a:cubicBezTo>
                  <a:cubicBezTo>
                    <a:pt x="152" y="151"/>
                    <a:pt x="147" y="138"/>
                    <a:pt x="145" y="123"/>
                  </a:cubicBezTo>
                  <a:cubicBezTo>
                    <a:pt x="143" y="105"/>
                    <a:pt x="152" y="102"/>
                    <a:pt x="173" y="95"/>
                  </a:cubicBezTo>
                  <a:cubicBezTo>
                    <a:pt x="186" y="90"/>
                    <a:pt x="201" y="86"/>
                    <a:pt x="211" y="76"/>
                  </a:cubicBezTo>
                  <a:cubicBezTo>
                    <a:pt x="221" y="67"/>
                    <a:pt x="227" y="56"/>
                    <a:pt x="234" y="44"/>
                  </a:cubicBezTo>
                  <a:cubicBezTo>
                    <a:pt x="237" y="36"/>
                    <a:pt x="241" y="29"/>
                    <a:pt x="246" y="23"/>
                  </a:cubicBezTo>
                  <a:lnTo>
                    <a:pt x="252" y="16"/>
                  </a:lnTo>
                  <a:cubicBezTo>
                    <a:pt x="257" y="11"/>
                    <a:pt x="260" y="6"/>
                    <a:pt x="265" y="0"/>
                  </a:cubicBezTo>
                  <a:cubicBezTo>
                    <a:pt x="267" y="1"/>
                    <a:pt x="269" y="3"/>
                    <a:pt x="270" y="5"/>
                  </a:cubicBezTo>
                  <a:cubicBezTo>
                    <a:pt x="292" y="21"/>
                    <a:pt x="290" y="25"/>
                    <a:pt x="283" y="41"/>
                  </a:cubicBezTo>
                  <a:cubicBezTo>
                    <a:pt x="280" y="49"/>
                    <a:pt x="275" y="61"/>
                    <a:pt x="274" y="77"/>
                  </a:cubicBezTo>
                  <a:cubicBezTo>
                    <a:pt x="270" y="99"/>
                    <a:pt x="285" y="122"/>
                    <a:pt x="300" y="145"/>
                  </a:cubicBezTo>
                  <a:cubicBezTo>
                    <a:pt x="307" y="156"/>
                    <a:pt x="313" y="166"/>
                    <a:pt x="316" y="176"/>
                  </a:cubicBezTo>
                  <a:cubicBezTo>
                    <a:pt x="323" y="193"/>
                    <a:pt x="333" y="207"/>
                    <a:pt x="341" y="221"/>
                  </a:cubicBezTo>
                  <a:cubicBezTo>
                    <a:pt x="353" y="237"/>
                    <a:pt x="363" y="252"/>
                    <a:pt x="366" y="272"/>
                  </a:cubicBezTo>
                  <a:cubicBezTo>
                    <a:pt x="368" y="278"/>
                    <a:pt x="369" y="285"/>
                    <a:pt x="369" y="291"/>
                  </a:cubicBezTo>
                  <a:cubicBezTo>
                    <a:pt x="374" y="323"/>
                    <a:pt x="379" y="366"/>
                    <a:pt x="420" y="379"/>
                  </a:cubicBezTo>
                  <a:cubicBezTo>
                    <a:pt x="425" y="379"/>
                    <a:pt x="428" y="380"/>
                    <a:pt x="432" y="380"/>
                  </a:cubicBezTo>
                  <a:cubicBezTo>
                    <a:pt x="442" y="382"/>
                    <a:pt x="452" y="379"/>
                    <a:pt x="460" y="374"/>
                  </a:cubicBezTo>
                  <a:cubicBezTo>
                    <a:pt x="483" y="361"/>
                    <a:pt x="489" y="328"/>
                    <a:pt x="493" y="310"/>
                  </a:cubicBezTo>
                  <a:cubicBezTo>
                    <a:pt x="506" y="239"/>
                    <a:pt x="545" y="153"/>
                    <a:pt x="610" y="145"/>
                  </a:cubicBezTo>
                  <a:cubicBezTo>
                    <a:pt x="628" y="143"/>
                    <a:pt x="641" y="146"/>
                    <a:pt x="651" y="155"/>
                  </a:cubicBezTo>
                  <a:cubicBezTo>
                    <a:pt x="681" y="179"/>
                    <a:pt x="684" y="239"/>
                    <a:pt x="687" y="278"/>
                  </a:cubicBezTo>
                  <a:lnTo>
                    <a:pt x="687" y="290"/>
                  </a:lnTo>
                  <a:cubicBezTo>
                    <a:pt x="690" y="324"/>
                    <a:pt x="699" y="374"/>
                    <a:pt x="743" y="390"/>
                  </a:cubicBezTo>
                  <a:cubicBezTo>
                    <a:pt x="761" y="395"/>
                    <a:pt x="776" y="392"/>
                    <a:pt x="789" y="389"/>
                  </a:cubicBezTo>
                  <a:cubicBezTo>
                    <a:pt x="793" y="389"/>
                    <a:pt x="799" y="387"/>
                    <a:pt x="804" y="385"/>
                  </a:cubicBezTo>
                  <a:cubicBezTo>
                    <a:pt x="822" y="384"/>
                    <a:pt x="834" y="389"/>
                    <a:pt x="852" y="394"/>
                  </a:cubicBezTo>
                  <a:lnTo>
                    <a:pt x="855" y="395"/>
                  </a:lnTo>
                  <a:cubicBezTo>
                    <a:pt x="895" y="408"/>
                    <a:pt x="924" y="402"/>
                    <a:pt x="957" y="395"/>
                  </a:cubicBezTo>
                  <a:cubicBezTo>
                    <a:pt x="967" y="394"/>
                    <a:pt x="977" y="390"/>
                    <a:pt x="987" y="389"/>
                  </a:cubicBezTo>
                  <a:cubicBezTo>
                    <a:pt x="1026" y="384"/>
                    <a:pt x="1054" y="389"/>
                    <a:pt x="1094" y="410"/>
                  </a:cubicBezTo>
                  <a:cubicBezTo>
                    <a:pt x="1134" y="431"/>
                    <a:pt x="1160" y="423"/>
                    <a:pt x="1191" y="415"/>
                  </a:cubicBezTo>
                  <a:cubicBezTo>
                    <a:pt x="1195" y="415"/>
                    <a:pt x="1199" y="413"/>
                    <a:pt x="1203" y="412"/>
                  </a:cubicBezTo>
                  <a:cubicBezTo>
                    <a:pt x="1193" y="423"/>
                    <a:pt x="1181" y="435"/>
                    <a:pt x="1171" y="448"/>
                  </a:cubicBezTo>
                  <a:cubicBezTo>
                    <a:pt x="1160" y="464"/>
                    <a:pt x="1152" y="481"/>
                    <a:pt x="1142" y="497"/>
                  </a:cubicBezTo>
                  <a:cubicBezTo>
                    <a:pt x="1129" y="522"/>
                    <a:pt x="1115" y="545"/>
                    <a:pt x="1096" y="567"/>
                  </a:cubicBezTo>
                  <a:cubicBezTo>
                    <a:pt x="1084" y="578"/>
                    <a:pt x="1073" y="593"/>
                    <a:pt x="1061" y="608"/>
                  </a:cubicBezTo>
                  <a:cubicBezTo>
                    <a:pt x="1046" y="628"/>
                    <a:pt x="1028" y="649"/>
                    <a:pt x="1010" y="665"/>
                  </a:cubicBezTo>
                  <a:cubicBezTo>
                    <a:pt x="998" y="675"/>
                    <a:pt x="984" y="682"/>
                    <a:pt x="967" y="687"/>
                  </a:cubicBezTo>
                  <a:cubicBezTo>
                    <a:pt x="946" y="697"/>
                    <a:pt x="923" y="705"/>
                    <a:pt x="908" y="726"/>
                  </a:cubicBezTo>
                  <a:cubicBezTo>
                    <a:pt x="888" y="751"/>
                    <a:pt x="883" y="784"/>
                    <a:pt x="878" y="814"/>
                  </a:cubicBezTo>
                  <a:cubicBezTo>
                    <a:pt x="877" y="822"/>
                    <a:pt x="875" y="832"/>
                    <a:pt x="873" y="840"/>
                  </a:cubicBezTo>
                  <a:cubicBezTo>
                    <a:pt x="868" y="865"/>
                    <a:pt x="862" y="883"/>
                    <a:pt x="849" y="903"/>
                  </a:cubicBezTo>
                  <a:cubicBezTo>
                    <a:pt x="847" y="904"/>
                    <a:pt x="845" y="908"/>
                    <a:pt x="842" y="911"/>
                  </a:cubicBezTo>
                  <a:cubicBezTo>
                    <a:pt x="832" y="924"/>
                    <a:pt x="821" y="939"/>
                    <a:pt x="824" y="959"/>
                  </a:cubicBezTo>
                  <a:cubicBezTo>
                    <a:pt x="827" y="980"/>
                    <a:pt x="845" y="995"/>
                    <a:pt x="862" y="1006"/>
                  </a:cubicBezTo>
                  <a:cubicBezTo>
                    <a:pt x="872" y="1015"/>
                    <a:pt x="880" y="1021"/>
                    <a:pt x="885" y="1028"/>
                  </a:cubicBezTo>
                  <a:cubicBezTo>
                    <a:pt x="906" y="1059"/>
                    <a:pt x="908" y="1092"/>
                    <a:pt x="890" y="1123"/>
                  </a:cubicBezTo>
                  <a:lnTo>
                    <a:pt x="885" y="1133"/>
                  </a:lnTo>
                  <a:cubicBezTo>
                    <a:pt x="867" y="1161"/>
                    <a:pt x="844" y="1199"/>
                    <a:pt x="881" y="1234"/>
                  </a:cubicBezTo>
                  <a:cubicBezTo>
                    <a:pt x="900" y="1249"/>
                    <a:pt x="921" y="1254"/>
                    <a:pt x="944" y="1258"/>
                  </a:cubicBezTo>
                  <a:cubicBezTo>
                    <a:pt x="959" y="1262"/>
                    <a:pt x="972" y="1265"/>
                    <a:pt x="984" y="1272"/>
                  </a:cubicBezTo>
                  <a:cubicBezTo>
                    <a:pt x="1007" y="1283"/>
                    <a:pt x="1026" y="1301"/>
                    <a:pt x="1048" y="1319"/>
                  </a:cubicBezTo>
                  <a:cubicBezTo>
                    <a:pt x="1061" y="1333"/>
                    <a:pt x="1074" y="1344"/>
                    <a:pt x="1089" y="1356"/>
                  </a:cubicBezTo>
                  <a:cubicBezTo>
                    <a:pt x="1101" y="1364"/>
                    <a:pt x="1112" y="1370"/>
                    <a:pt x="1125" y="1379"/>
                  </a:cubicBezTo>
                  <a:cubicBezTo>
                    <a:pt x="1153" y="1397"/>
                    <a:pt x="1183" y="1415"/>
                    <a:pt x="1199" y="1441"/>
                  </a:cubicBezTo>
                  <a:cubicBezTo>
                    <a:pt x="1216" y="1471"/>
                    <a:pt x="1226" y="1515"/>
                    <a:pt x="1223" y="1547"/>
                  </a:cubicBezTo>
                  <a:cubicBezTo>
                    <a:pt x="1219" y="1571"/>
                    <a:pt x="1206" y="1591"/>
                    <a:pt x="1190" y="1613"/>
                  </a:cubicBezTo>
                  <a:cubicBezTo>
                    <a:pt x="1181" y="1627"/>
                    <a:pt x="1171" y="1641"/>
                    <a:pt x="1165" y="1657"/>
                  </a:cubicBezTo>
                  <a:cubicBezTo>
                    <a:pt x="1153" y="1680"/>
                    <a:pt x="1150" y="1705"/>
                    <a:pt x="1145" y="1728"/>
                  </a:cubicBezTo>
                  <a:cubicBezTo>
                    <a:pt x="1143" y="1746"/>
                    <a:pt x="1140" y="1763"/>
                    <a:pt x="1135" y="1779"/>
                  </a:cubicBezTo>
                  <a:cubicBezTo>
                    <a:pt x="1127" y="1802"/>
                    <a:pt x="1110" y="1814"/>
                    <a:pt x="1091" y="1827"/>
                  </a:cubicBezTo>
                  <a:cubicBezTo>
                    <a:pt x="1079" y="1835"/>
                    <a:pt x="1068" y="1843"/>
                    <a:pt x="1058" y="1855"/>
                  </a:cubicBezTo>
                  <a:cubicBezTo>
                    <a:pt x="1023" y="1889"/>
                    <a:pt x="1018" y="1936"/>
                    <a:pt x="1020" y="1972"/>
                  </a:cubicBezTo>
                  <a:cubicBezTo>
                    <a:pt x="1020" y="1983"/>
                    <a:pt x="1022" y="1997"/>
                    <a:pt x="1023" y="2008"/>
                  </a:cubicBezTo>
                  <a:cubicBezTo>
                    <a:pt x="1026" y="2023"/>
                    <a:pt x="1030" y="2038"/>
                    <a:pt x="1028" y="2049"/>
                  </a:cubicBezTo>
                  <a:cubicBezTo>
                    <a:pt x="1028" y="2059"/>
                    <a:pt x="1023" y="2069"/>
                    <a:pt x="1018" y="2081"/>
                  </a:cubicBezTo>
                  <a:cubicBezTo>
                    <a:pt x="1015" y="2087"/>
                    <a:pt x="1013" y="2094"/>
                    <a:pt x="1012" y="2100"/>
                  </a:cubicBezTo>
                  <a:cubicBezTo>
                    <a:pt x="1003" y="2122"/>
                    <a:pt x="994" y="2140"/>
                    <a:pt x="980" y="2158"/>
                  </a:cubicBezTo>
                  <a:cubicBezTo>
                    <a:pt x="974" y="2169"/>
                    <a:pt x="967" y="2181"/>
                    <a:pt x="961" y="2194"/>
                  </a:cubicBezTo>
                  <a:cubicBezTo>
                    <a:pt x="936" y="2242"/>
                    <a:pt x="954" y="2288"/>
                    <a:pt x="970" y="2326"/>
                  </a:cubicBezTo>
                  <a:cubicBezTo>
                    <a:pt x="975" y="2341"/>
                    <a:pt x="979" y="2356"/>
                    <a:pt x="982" y="2374"/>
                  </a:cubicBezTo>
                  <a:cubicBezTo>
                    <a:pt x="987" y="2394"/>
                    <a:pt x="992" y="2413"/>
                    <a:pt x="1000" y="2433"/>
                  </a:cubicBezTo>
                  <a:cubicBezTo>
                    <a:pt x="1013" y="2458"/>
                    <a:pt x="1033" y="2473"/>
                    <a:pt x="1059" y="2478"/>
                  </a:cubicBezTo>
                  <a:cubicBezTo>
                    <a:pt x="1112" y="2487"/>
                    <a:pt x="1176" y="2446"/>
                    <a:pt x="1203" y="2418"/>
                  </a:cubicBezTo>
                  <a:cubicBezTo>
                    <a:pt x="1213" y="2408"/>
                    <a:pt x="1221" y="2390"/>
                    <a:pt x="1231" y="2369"/>
                  </a:cubicBezTo>
                  <a:cubicBezTo>
                    <a:pt x="1242" y="2342"/>
                    <a:pt x="1259" y="2306"/>
                    <a:pt x="1275" y="2303"/>
                  </a:cubicBezTo>
                  <a:cubicBezTo>
                    <a:pt x="1282" y="2303"/>
                    <a:pt x="1288" y="2306"/>
                    <a:pt x="1297" y="2314"/>
                  </a:cubicBezTo>
                  <a:cubicBezTo>
                    <a:pt x="1305" y="2323"/>
                    <a:pt x="1311" y="2331"/>
                    <a:pt x="1318" y="2339"/>
                  </a:cubicBezTo>
                  <a:cubicBezTo>
                    <a:pt x="1330" y="2354"/>
                    <a:pt x="1341" y="2370"/>
                    <a:pt x="1363" y="2384"/>
                  </a:cubicBezTo>
                  <a:cubicBezTo>
                    <a:pt x="1391" y="2402"/>
                    <a:pt x="1425" y="2422"/>
                    <a:pt x="1463" y="2415"/>
                  </a:cubicBezTo>
                  <a:cubicBezTo>
                    <a:pt x="1478" y="2412"/>
                    <a:pt x="1489" y="2407"/>
                    <a:pt x="1499" y="2402"/>
                  </a:cubicBezTo>
                  <a:cubicBezTo>
                    <a:pt x="1521" y="2394"/>
                    <a:pt x="1536" y="2387"/>
                    <a:pt x="1560" y="2398"/>
                  </a:cubicBezTo>
                  <a:cubicBezTo>
                    <a:pt x="1587" y="2410"/>
                    <a:pt x="1608" y="2433"/>
                    <a:pt x="1618" y="2463"/>
                  </a:cubicBezTo>
                  <a:cubicBezTo>
                    <a:pt x="1629" y="2494"/>
                    <a:pt x="1628" y="2532"/>
                    <a:pt x="1610" y="2562"/>
                  </a:cubicBezTo>
                  <a:cubicBezTo>
                    <a:pt x="1605" y="2573"/>
                    <a:pt x="1596" y="2583"/>
                    <a:pt x="1588" y="2593"/>
                  </a:cubicBezTo>
                  <a:cubicBezTo>
                    <a:pt x="1572" y="2614"/>
                    <a:pt x="1555" y="2636"/>
                    <a:pt x="1552" y="2667"/>
                  </a:cubicBezTo>
                  <a:cubicBezTo>
                    <a:pt x="1552" y="2685"/>
                    <a:pt x="1557" y="2702"/>
                    <a:pt x="1562" y="2718"/>
                  </a:cubicBezTo>
                  <a:cubicBezTo>
                    <a:pt x="1564" y="2723"/>
                    <a:pt x="1567" y="2730"/>
                    <a:pt x="1568" y="2736"/>
                  </a:cubicBezTo>
                  <a:cubicBezTo>
                    <a:pt x="1570" y="2746"/>
                    <a:pt x="1570" y="2754"/>
                    <a:pt x="1570" y="2766"/>
                  </a:cubicBezTo>
                  <a:cubicBezTo>
                    <a:pt x="1572" y="2774"/>
                    <a:pt x="1572" y="2786"/>
                    <a:pt x="1573" y="2795"/>
                  </a:cubicBezTo>
                  <a:cubicBezTo>
                    <a:pt x="1580" y="2824"/>
                    <a:pt x="1598" y="2845"/>
                    <a:pt x="1629" y="2860"/>
                  </a:cubicBezTo>
                  <a:cubicBezTo>
                    <a:pt x="1679" y="2883"/>
                    <a:pt x="1741" y="2889"/>
                    <a:pt x="1796" y="2894"/>
                  </a:cubicBezTo>
                  <a:lnTo>
                    <a:pt x="1816" y="2898"/>
                  </a:lnTo>
                  <a:cubicBezTo>
                    <a:pt x="1858" y="2901"/>
                    <a:pt x="1886" y="2888"/>
                    <a:pt x="1916" y="2875"/>
                  </a:cubicBezTo>
                  <a:cubicBezTo>
                    <a:pt x="1926" y="2871"/>
                    <a:pt x="1936" y="2866"/>
                    <a:pt x="1947" y="2861"/>
                  </a:cubicBezTo>
                  <a:cubicBezTo>
                    <a:pt x="1972" y="2853"/>
                    <a:pt x="2000" y="2850"/>
                    <a:pt x="2026" y="2845"/>
                  </a:cubicBezTo>
                  <a:cubicBezTo>
                    <a:pt x="2040" y="2843"/>
                    <a:pt x="2053" y="2842"/>
                    <a:pt x="2066" y="2838"/>
                  </a:cubicBezTo>
                  <a:lnTo>
                    <a:pt x="2071" y="2838"/>
                  </a:lnTo>
                  <a:cubicBezTo>
                    <a:pt x="2114" y="2830"/>
                    <a:pt x="2163" y="2820"/>
                    <a:pt x="2201" y="2791"/>
                  </a:cubicBezTo>
                  <a:cubicBezTo>
                    <a:pt x="2209" y="2784"/>
                    <a:pt x="2218" y="2776"/>
                    <a:pt x="2226" y="2767"/>
                  </a:cubicBezTo>
                  <a:cubicBezTo>
                    <a:pt x="2246" y="2748"/>
                    <a:pt x="2262" y="2731"/>
                    <a:pt x="2287" y="2730"/>
                  </a:cubicBezTo>
                  <a:cubicBezTo>
                    <a:pt x="2315" y="2728"/>
                    <a:pt x="2335" y="2748"/>
                    <a:pt x="2354" y="2767"/>
                  </a:cubicBezTo>
                  <a:cubicBezTo>
                    <a:pt x="2366" y="2777"/>
                    <a:pt x="2377" y="2789"/>
                    <a:pt x="2391" y="2797"/>
                  </a:cubicBezTo>
                  <a:cubicBezTo>
                    <a:pt x="2422" y="2819"/>
                    <a:pt x="2458" y="2828"/>
                    <a:pt x="2501" y="2828"/>
                  </a:cubicBezTo>
                  <a:cubicBezTo>
                    <a:pt x="2516" y="2828"/>
                    <a:pt x="2531" y="2827"/>
                    <a:pt x="2547" y="2827"/>
                  </a:cubicBezTo>
                  <a:cubicBezTo>
                    <a:pt x="2598" y="2822"/>
                    <a:pt x="2657" y="2819"/>
                    <a:pt x="2690" y="2855"/>
                  </a:cubicBezTo>
                  <a:cubicBezTo>
                    <a:pt x="2704" y="2870"/>
                    <a:pt x="2708" y="2889"/>
                    <a:pt x="2712" y="2911"/>
                  </a:cubicBezTo>
                  <a:cubicBezTo>
                    <a:pt x="2715" y="2927"/>
                    <a:pt x="2718" y="2944"/>
                    <a:pt x="2727" y="2960"/>
                  </a:cubicBezTo>
                  <a:lnTo>
                    <a:pt x="2727" y="2960"/>
                  </a:lnTo>
                  <a:cubicBezTo>
                    <a:pt x="2708" y="2985"/>
                    <a:pt x="2717" y="3008"/>
                    <a:pt x="2723" y="3028"/>
                  </a:cubicBezTo>
                  <a:cubicBezTo>
                    <a:pt x="2730" y="3041"/>
                    <a:pt x="2735" y="3054"/>
                    <a:pt x="2732" y="3069"/>
                  </a:cubicBezTo>
                  <a:cubicBezTo>
                    <a:pt x="2730" y="3082"/>
                    <a:pt x="2718" y="3095"/>
                    <a:pt x="2705" y="3109"/>
                  </a:cubicBezTo>
                  <a:cubicBezTo>
                    <a:pt x="2700" y="3115"/>
                    <a:pt x="2695" y="3122"/>
                    <a:pt x="2690" y="3128"/>
                  </a:cubicBezTo>
                  <a:cubicBezTo>
                    <a:pt x="2676" y="3150"/>
                    <a:pt x="2662" y="3165"/>
                    <a:pt x="2638" y="3176"/>
                  </a:cubicBezTo>
                  <a:cubicBezTo>
                    <a:pt x="2585" y="3201"/>
                    <a:pt x="2547" y="3260"/>
                    <a:pt x="2534" y="3285"/>
                  </a:cubicBezTo>
                  <a:cubicBezTo>
                    <a:pt x="2527" y="3295"/>
                    <a:pt x="2522" y="3306"/>
                    <a:pt x="2517" y="3318"/>
                  </a:cubicBezTo>
                  <a:cubicBezTo>
                    <a:pt x="2512" y="3329"/>
                    <a:pt x="2507" y="3342"/>
                    <a:pt x="2499" y="3354"/>
                  </a:cubicBezTo>
                  <a:cubicBezTo>
                    <a:pt x="2483" y="3382"/>
                    <a:pt x="2483" y="3400"/>
                    <a:pt x="2488" y="3430"/>
                  </a:cubicBezTo>
                  <a:cubicBezTo>
                    <a:pt x="2493" y="3459"/>
                    <a:pt x="2491" y="3484"/>
                    <a:pt x="2484" y="3487"/>
                  </a:cubicBezTo>
                  <a:cubicBezTo>
                    <a:pt x="2483" y="3489"/>
                    <a:pt x="2478" y="3489"/>
                    <a:pt x="2471" y="3484"/>
                  </a:cubicBezTo>
                  <a:cubicBezTo>
                    <a:pt x="2453" y="3474"/>
                    <a:pt x="2442" y="3450"/>
                    <a:pt x="2433" y="3430"/>
                  </a:cubicBezTo>
                  <a:cubicBezTo>
                    <a:pt x="2430" y="3422"/>
                    <a:pt x="2427" y="3415"/>
                    <a:pt x="2423" y="3408"/>
                  </a:cubicBezTo>
                  <a:cubicBezTo>
                    <a:pt x="2415" y="3394"/>
                    <a:pt x="2405" y="3379"/>
                    <a:pt x="2395" y="3366"/>
                  </a:cubicBezTo>
                  <a:cubicBezTo>
                    <a:pt x="2389" y="3356"/>
                    <a:pt x="2382" y="3347"/>
                    <a:pt x="2377" y="3337"/>
                  </a:cubicBezTo>
                  <a:lnTo>
                    <a:pt x="2372" y="3331"/>
                  </a:lnTo>
                  <a:cubicBezTo>
                    <a:pt x="2363" y="3314"/>
                    <a:pt x="2353" y="3298"/>
                    <a:pt x="2323" y="3301"/>
                  </a:cubicBezTo>
                  <a:cubicBezTo>
                    <a:pt x="2290" y="3306"/>
                    <a:pt x="2275" y="3333"/>
                    <a:pt x="2264" y="3356"/>
                  </a:cubicBezTo>
                  <a:cubicBezTo>
                    <a:pt x="2255" y="3372"/>
                    <a:pt x="2247" y="3387"/>
                    <a:pt x="2234" y="3394"/>
                  </a:cubicBezTo>
                  <a:cubicBezTo>
                    <a:pt x="2204" y="3410"/>
                    <a:pt x="2168" y="3402"/>
                    <a:pt x="2132" y="3394"/>
                  </a:cubicBezTo>
                  <a:cubicBezTo>
                    <a:pt x="2119" y="3390"/>
                    <a:pt x="2104" y="3389"/>
                    <a:pt x="2092" y="3387"/>
                  </a:cubicBezTo>
                  <a:cubicBezTo>
                    <a:pt x="2015" y="3379"/>
                    <a:pt x="1985" y="3428"/>
                    <a:pt x="1967" y="3473"/>
                  </a:cubicBezTo>
                  <a:cubicBezTo>
                    <a:pt x="1964" y="3481"/>
                    <a:pt x="1961" y="3491"/>
                    <a:pt x="1956" y="3501"/>
                  </a:cubicBezTo>
                  <a:cubicBezTo>
                    <a:pt x="1936" y="3547"/>
                    <a:pt x="1918" y="3594"/>
                    <a:pt x="1924" y="3646"/>
                  </a:cubicBezTo>
                  <a:cubicBezTo>
                    <a:pt x="1929" y="3674"/>
                    <a:pt x="1941" y="3690"/>
                    <a:pt x="1961" y="3710"/>
                  </a:cubicBezTo>
                  <a:cubicBezTo>
                    <a:pt x="1977" y="3726"/>
                    <a:pt x="1979" y="3736"/>
                    <a:pt x="1982" y="3759"/>
                  </a:cubicBezTo>
                  <a:lnTo>
                    <a:pt x="1987" y="3777"/>
                  </a:lnTo>
                  <a:cubicBezTo>
                    <a:pt x="1992" y="3799"/>
                    <a:pt x="1992" y="3804"/>
                    <a:pt x="1979" y="3817"/>
                  </a:cubicBezTo>
                  <a:cubicBezTo>
                    <a:pt x="1977" y="3819"/>
                    <a:pt x="1975" y="3820"/>
                    <a:pt x="1972" y="3822"/>
                  </a:cubicBezTo>
                  <a:cubicBezTo>
                    <a:pt x="1967" y="3825"/>
                    <a:pt x="1961" y="3830"/>
                    <a:pt x="1956" y="3837"/>
                  </a:cubicBezTo>
                  <a:cubicBezTo>
                    <a:pt x="1951" y="3847"/>
                    <a:pt x="1947" y="3856"/>
                    <a:pt x="1947" y="3865"/>
                  </a:cubicBezTo>
                  <a:cubicBezTo>
                    <a:pt x="1946" y="3870"/>
                    <a:pt x="1944" y="3875"/>
                    <a:pt x="1942" y="3879"/>
                  </a:cubicBezTo>
                  <a:cubicBezTo>
                    <a:pt x="1936" y="3898"/>
                    <a:pt x="1931" y="3898"/>
                    <a:pt x="1913" y="3901"/>
                  </a:cubicBezTo>
                  <a:cubicBezTo>
                    <a:pt x="1909" y="3901"/>
                    <a:pt x="1905" y="3901"/>
                    <a:pt x="1900" y="3903"/>
                  </a:cubicBezTo>
                  <a:cubicBezTo>
                    <a:pt x="1862" y="3909"/>
                    <a:pt x="1849" y="3927"/>
                    <a:pt x="1834" y="3960"/>
                  </a:cubicBezTo>
                  <a:cubicBezTo>
                    <a:pt x="1832" y="3967"/>
                    <a:pt x="1829" y="3972"/>
                    <a:pt x="1827" y="3978"/>
                  </a:cubicBezTo>
                  <a:cubicBezTo>
                    <a:pt x="1819" y="3996"/>
                    <a:pt x="1807" y="4016"/>
                    <a:pt x="1809" y="4034"/>
                  </a:cubicBezTo>
                  <a:cubicBezTo>
                    <a:pt x="1809" y="4051"/>
                    <a:pt x="1814" y="4064"/>
                    <a:pt x="1819" y="4077"/>
                  </a:cubicBezTo>
                  <a:cubicBezTo>
                    <a:pt x="1824" y="4090"/>
                    <a:pt x="1830" y="4102"/>
                    <a:pt x="1829" y="4117"/>
                  </a:cubicBezTo>
                  <a:cubicBezTo>
                    <a:pt x="1827" y="4132"/>
                    <a:pt x="1819" y="4145"/>
                    <a:pt x="1812" y="4158"/>
                  </a:cubicBezTo>
                  <a:cubicBezTo>
                    <a:pt x="1804" y="4171"/>
                    <a:pt x="1796" y="4186"/>
                    <a:pt x="1793" y="4202"/>
                  </a:cubicBezTo>
                  <a:cubicBezTo>
                    <a:pt x="1789" y="4217"/>
                    <a:pt x="1791" y="4232"/>
                    <a:pt x="1793" y="4247"/>
                  </a:cubicBezTo>
                  <a:cubicBezTo>
                    <a:pt x="1793" y="4263"/>
                    <a:pt x="1794" y="4278"/>
                    <a:pt x="1789" y="4293"/>
                  </a:cubicBezTo>
                  <a:cubicBezTo>
                    <a:pt x="1783" y="4313"/>
                    <a:pt x="1774" y="4336"/>
                    <a:pt x="1765" y="4352"/>
                  </a:cubicBezTo>
                  <a:cubicBezTo>
                    <a:pt x="1755" y="4374"/>
                    <a:pt x="1748" y="4374"/>
                    <a:pt x="1720" y="4370"/>
                  </a:cubicBezTo>
                  <a:cubicBezTo>
                    <a:pt x="1684" y="4367"/>
                    <a:pt x="1671" y="4382"/>
                    <a:pt x="1659" y="4400"/>
                  </a:cubicBezTo>
                  <a:cubicBezTo>
                    <a:pt x="1656" y="4405"/>
                    <a:pt x="1651" y="4410"/>
                    <a:pt x="1646" y="4417"/>
                  </a:cubicBezTo>
                  <a:cubicBezTo>
                    <a:pt x="1641" y="4420"/>
                    <a:pt x="1636" y="4423"/>
                    <a:pt x="1631" y="4428"/>
                  </a:cubicBezTo>
                  <a:cubicBezTo>
                    <a:pt x="1618" y="4438"/>
                    <a:pt x="1598" y="4453"/>
                    <a:pt x="1618" y="4484"/>
                  </a:cubicBezTo>
                  <a:cubicBezTo>
                    <a:pt x="1624" y="4496"/>
                    <a:pt x="1636" y="4506"/>
                    <a:pt x="1648" y="4514"/>
                  </a:cubicBezTo>
                  <a:cubicBezTo>
                    <a:pt x="1656" y="4520"/>
                    <a:pt x="1664" y="4525"/>
                    <a:pt x="1669" y="4534"/>
                  </a:cubicBezTo>
                  <a:cubicBezTo>
                    <a:pt x="1679" y="4543"/>
                    <a:pt x="1685" y="4555"/>
                    <a:pt x="1692" y="4566"/>
                  </a:cubicBezTo>
                  <a:cubicBezTo>
                    <a:pt x="1704" y="4585"/>
                    <a:pt x="1715" y="4603"/>
                    <a:pt x="1732" y="4619"/>
                  </a:cubicBezTo>
                  <a:cubicBezTo>
                    <a:pt x="1743" y="4631"/>
                    <a:pt x="1755" y="4641"/>
                    <a:pt x="1766" y="4650"/>
                  </a:cubicBezTo>
                  <a:cubicBezTo>
                    <a:pt x="1771" y="4655"/>
                    <a:pt x="1778" y="4659"/>
                    <a:pt x="1783" y="4664"/>
                  </a:cubicBezTo>
                  <a:cubicBezTo>
                    <a:pt x="1779" y="4665"/>
                    <a:pt x="1778" y="4667"/>
                    <a:pt x="1776" y="4669"/>
                  </a:cubicBezTo>
                  <a:cubicBezTo>
                    <a:pt x="1769" y="4675"/>
                    <a:pt x="1763" y="4680"/>
                    <a:pt x="1756" y="4682"/>
                  </a:cubicBezTo>
                  <a:cubicBezTo>
                    <a:pt x="1750" y="4685"/>
                    <a:pt x="1743" y="4685"/>
                    <a:pt x="1735" y="4685"/>
                  </a:cubicBezTo>
                  <a:cubicBezTo>
                    <a:pt x="1728" y="4685"/>
                    <a:pt x="1722" y="4685"/>
                    <a:pt x="1715" y="4687"/>
                  </a:cubicBezTo>
                  <a:cubicBezTo>
                    <a:pt x="1704" y="4688"/>
                    <a:pt x="1689" y="4688"/>
                    <a:pt x="1676" y="4690"/>
                  </a:cubicBezTo>
                  <a:cubicBezTo>
                    <a:pt x="1651" y="4692"/>
                    <a:pt x="1628" y="4692"/>
                    <a:pt x="1606" y="4702"/>
                  </a:cubicBezTo>
                  <a:cubicBezTo>
                    <a:pt x="1580" y="4711"/>
                    <a:pt x="1562" y="4718"/>
                    <a:pt x="1534" y="4718"/>
                  </a:cubicBezTo>
                  <a:cubicBezTo>
                    <a:pt x="1529" y="4718"/>
                    <a:pt x="1522" y="4718"/>
                    <a:pt x="1517" y="4718"/>
                  </a:cubicBezTo>
                  <a:cubicBezTo>
                    <a:pt x="1498" y="4718"/>
                    <a:pt x="1473" y="4718"/>
                    <a:pt x="1452" y="4728"/>
                  </a:cubicBezTo>
                  <a:cubicBezTo>
                    <a:pt x="1420" y="4744"/>
                    <a:pt x="1410" y="4776"/>
                    <a:pt x="1402" y="4804"/>
                  </a:cubicBezTo>
                  <a:lnTo>
                    <a:pt x="1400" y="4814"/>
                  </a:lnTo>
                  <a:cubicBezTo>
                    <a:pt x="1397" y="4825"/>
                    <a:pt x="1394" y="4837"/>
                    <a:pt x="1387" y="4845"/>
                  </a:cubicBezTo>
                  <a:cubicBezTo>
                    <a:pt x="1379" y="4855"/>
                    <a:pt x="1372" y="4858"/>
                    <a:pt x="1363" y="4861"/>
                  </a:cubicBezTo>
                  <a:cubicBezTo>
                    <a:pt x="1356" y="4863"/>
                    <a:pt x="1351" y="4865"/>
                    <a:pt x="1344" y="4868"/>
                  </a:cubicBezTo>
                  <a:cubicBezTo>
                    <a:pt x="1318" y="4881"/>
                    <a:pt x="1308" y="4904"/>
                    <a:pt x="1300" y="4924"/>
                  </a:cubicBezTo>
                  <a:cubicBezTo>
                    <a:pt x="1293" y="4937"/>
                    <a:pt x="1288" y="4950"/>
                    <a:pt x="1280" y="4959"/>
                  </a:cubicBezTo>
                  <a:cubicBezTo>
                    <a:pt x="1275" y="4963"/>
                    <a:pt x="1270" y="4968"/>
                    <a:pt x="1265" y="4972"/>
                  </a:cubicBezTo>
                  <a:cubicBezTo>
                    <a:pt x="1257" y="4978"/>
                    <a:pt x="1249" y="4985"/>
                    <a:pt x="1242" y="4993"/>
                  </a:cubicBezTo>
                  <a:cubicBezTo>
                    <a:pt x="1234" y="5005"/>
                    <a:pt x="1231" y="5015"/>
                    <a:pt x="1227" y="5026"/>
                  </a:cubicBezTo>
                  <a:cubicBezTo>
                    <a:pt x="1224" y="5033"/>
                    <a:pt x="1221" y="5041"/>
                    <a:pt x="1218" y="5046"/>
                  </a:cubicBezTo>
                  <a:cubicBezTo>
                    <a:pt x="1204" y="5066"/>
                    <a:pt x="1183" y="5077"/>
                    <a:pt x="1162" y="5089"/>
                  </a:cubicBezTo>
                  <a:cubicBezTo>
                    <a:pt x="1150" y="5095"/>
                    <a:pt x="1138" y="5102"/>
                    <a:pt x="1127" y="5108"/>
                  </a:cubicBezTo>
                  <a:cubicBezTo>
                    <a:pt x="1117" y="5115"/>
                    <a:pt x="1109" y="5123"/>
                    <a:pt x="1099" y="5130"/>
                  </a:cubicBezTo>
                  <a:cubicBezTo>
                    <a:pt x="1079" y="5148"/>
                    <a:pt x="1061" y="5163"/>
                    <a:pt x="1036" y="5169"/>
                  </a:cubicBezTo>
                  <a:cubicBezTo>
                    <a:pt x="979" y="5184"/>
                    <a:pt x="933" y="5163"/>
                    <a:pt x="883" y="5141"/>
                  </a:cubicBezTo>
                  <a:cubicBezTo>
                    <a:pt x="853" y="5128"/>
                    <a:pt x="824" y="5115"/>
                    <a:pt x="791" y="5108"/>
                  </a:cubicBezTo>
                  <a:cubicBezTo>
                    <a:pt x="781" y="5107"/>
                    <a:pt x="771" y="5105"/>
                    <a:pt x="763" y="5104"/>
                  </a:cubicBezTo>
                  <a:cubicBezTo>
                    <a:pt x="732" y="5099"/>
                    <a:pt x="712" y="5097"/>
                    <a:pt x="690" y="507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7" name="Freeform 73">
              <a:extLst>
                <a:ext uri="{FF2B5EF4-FFF2-40B4-BE49-F238E27FC236}">
                  <a16:creationId xmlns:a16="http://schemas.microsoft.com/office/drawing/2014/main" id="{B9471474-6A6C-574C-828C-4B53065C2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4888" y="1974850"/>
              <a:ext cx="1265237" cy="1196975"/>
            </a:xfrm>
            <a:custGeom>
              <a:avLst/>
              <a:gdLst>
                <a:gd name="T0" fmla="*/ 371 w 3515"/>
                <a:gd name="T1" fmla="*/ 1797 h 3325"/>
                <a:gd name="T2" fmla="*/ 388 w 3515"/>
                <a:gd name="T3" fmla="*/ 2150 h 3325"/>
                <a:gd name="T4" fmla="*/ 457 w 3515"/>
                <a:gd name="T5" fmla="*/ 2186 h 3325"/>
                <a:gd name="T6" fmla="*/ 526 w 3515"/>
                <a:gd name="T7" fmla="*/ 2158 h 3325"/>
                <a:gd name="T8" fmla="*/ 369 w 3515"/>
                <a:gd name="T9" fmla="*/ 1499 h 3325"/>
                <a:gd name="T10" fmla="*/ 730 w 3515"/>
                <a:gd name="T11" fmla="*/ 1240 h 3325"/>
                <a:gd name="T12" fmla="*/ 1018 w 3515"/>
                <a:gd name="T13" fmla="*/ 1147 h 3325"/>
                <a:gd name="T14" fmla="*/ 1045 w 3515"/>
                <a:gd name="T15" fmla="*/ 990 h 3325"/>
                <a:gd name="T16" fmla="*/ 1383 w 3515"/>
                <a:gd name="T17" fmla="*/ 700 h 3325"/>
                <a:gd name="T18" fmla="*/ 1616 w 3515"/>
                <a:gd name="T19" fmla="*/ 608 h 3325"/>
                <a:gd name="T20" fmla="*/ 1897 w 3515"/>
                <a:gd name="T21" fmla="*/ 623 h 3325"/>
                <a:gd name="T22" fmla="*/ 2102 w 3515"/>
                <a:gd name="T23" fmla="*/ 758 h 3325"/>
                <a:gd name="T24" fmla="*/ 2200 w 3515"/>
                <a:gd name="T25" fmla="*/ 1000 h 3325"/>
                <a:gd name="T26" fmla="*/ 2145 w 3515"/>
                <a:gd name="T27" fmla="*/ 1214 h 3325"/>
                <a:gd name="T28" fmla="*/ 2341 w 3515"/>
                <a:gd name="T29" fmla="*/ 1272 h 3325"/>
                <a:gd name="T30" fmla="*/ 2437 w 3515"/>
                <a:gd name="T31" fmla="*/ 1077 h 3325"/>
                <a:gd name="T32" fmla="*/ 2605 w 3515"/>
                <a:gd name="T33" fmla="*/ 913 h 3325"/>
                <a:gd name="T34" fmla="*/ 2338 w 3515"/>
                <a:gd name="T35" fmla="*/ 1043 h 3325"/>
                <a:gd name="T36" fmla="*/ 2116 w 3515"/>
                <a:gd name="T37" fmla="*/ 725 h 3325"/>
                <a:gd name="T38" fmla="*/ 2285 w 3515"/>
                <a:gd name="T39" fmla="*/ 438 h 3325"/>
                <a:gd name="T40" fmla="*/ 2238 w 3515"/>
                <a:gd name="T41" fmla="*/ 265 h 3325"/>
                <a:gd name="T42" fmla="*/ 2386 w 3515"/>
                <a:gd name="T43" fmla="*/ 35 h 3325"/>
                <a:gd name="T44" fmla="*/ 2475 w 3515"/>
                <a:gd name="T45" fmla="*/ 206 h 3325"/>
                <a:gd name="T46" fmla="*/ 2664 w 3515"/>
                <a:gd name="T47" fmla="*/ 382 h 3325"/>
                <a:gd name="T48" fmla="*/ 3071 w 3515"/>
                <a:gd name="T49" fmla="*/ 287 h 3325"/>
                <a:gd name="T50" fmla="*/ 3279 w 3515"/>
                <a:gd name="T51" fmla="*/ 486 h 3325"/>
                <a:gd name="T52" fmla="*/ 3251 w 3515"/>
                <a:gd name="T53" fmla="*/ 815 h 3325"/>
                <a:gd name="T54" fmla="*/ 3063 w 3515"/>
                <a:gd name="T55" fmla="*/ 1117 h 3325"/>
                <a:gd name="T56" fmla="*/ 2765 w 3515"/>
                <a:gd name="T57" fmla="*/ 1461 h 3325"/>
                <a:gd name="T58" fmla="*/ 2710 w 3515"/>
                <a:gd name="T59" fmla="*/ 1603 h 3325"/>
                <a:gd name="T60" fmla="*/ 2839 w 3515"/>
                <a:gd name="T61" fmla="*/ 1474 h 3325"/>
                <a:gd name="T62" fmla="*/ 3152 w 3515"/>
                <a:gd name="T63" fmla="*/ 1267 h 3325"/>
                <a:gd name="T64" fmla="*/ 3211 w 3515"/>
                <a:gd name="T65" fmla="*/ 1171 h 3325"/>
                <a:gd name="T66" fmla="*/ 3185 w 3515"/>
                <a:gd name="T67" fmla="*/ 1325 h 3325"/>
                <a:gd name="T68" fmla="*/ 3285 w 3515"/>
                <a:gd name="T69" fmla="*/ 1657 h 3325"/>
                <a:gd name="T70" fmla="*/ 3476 w 3515"/>
                <a:gd name="T71" fmla="*/ 1990 h 3325"/>
                <a:gd name="T72" fmla="*/ 3297 w 3515"/>
                <a:gd name="T73" fmla="*/ 2242 h 3325"/>
                <a:gd name="T74" fmla="*/ 3252 w 3515"/>
                <a:gd name="T75" fmla="*/ 2441 h 3325"/>
                <a:gd name="T76" fmla="*/ 3089 w 3515"/>
                <a:gd name="T77" fmla="*/ 2578 h 3325"/>
                <a:gd name="T78" fmla="*/ 2903 w 3515"/>
                <a:gd name="T79" fmla="*/ 2680 h 3325"/>
                <a:gd name="T80" fmla="*/ 2677 w 3515"/>
                <a:gd name="T81" fmla="*/ 2731 h 3325"/>
                <a:gd name="T82" fmla="*/ 2404 w 3515"/>
                <a:gd name="T83" fmla="*/ 2662 h 3325"/>
                <a:gd name="T84" fmla="*/ 2155 w 3515"/>
                <a:gd name="T85" fmla="*/ 2616 h 3325"/>
                <a:gd name="T86" fmla="*/ 1735 w 3515"/>
                <a:gd name="T87" fmla="*/ 2774 h 3325"/>
                <a:gd name="T88" fmla="*/ 1590 w 3515"/>
                <a:gd name="T89" fmla="*/ 2997 h 3325"/>
                <a:gd name="T90" fmla="*/ 1259 w 3515"/>
                <a:gd name="T91" fmla="*/ 3300 h 3325"/>
                <a:gd name="T92" fmla="*/ 1004 w 3515"/>
                <a:gd name="T93" fmla="*/ 3285 h 3325"/>
                <a:gd name="T94" fmla="*/ 773 w 3515"/>
                <a:gd name="T95" fmla="*/ 3287 h 3325"/>
                <a:gd name="T96" fmla="*/ 467 w 3515"/>
                <a:gd name="T97" fmla="*/ 3273 h 3325"/>
                <a:gd name="T98" fmla="*/ 341 w 3515"/>
                <a:gd name="T99" fmla="*/ 3051 h 3325"/>
                <a:gd name="T100" fmla="*/ 295 w 3515"/>
                <a:gd name="T101" fmla="*/ 2865 h 3325"/>
                <a:gd name="T102" fmla="*/ 310 w 3515"/>
                <a:gd name="T103" fmla="*/ 2687 h 3325"/>
                <a:gd name="T104" fmla="*/ 271 w 3515"/>
                <a:gd name="T105" fmla="*/ 2593 h 3325"/>
                <a:gd name="T106" fmla="*/ 45 w 3515"/>
                <a:gd name="T107" fmla="*/ 2453 h 3325"/>
                <a:gd name="T108" fmla="*/ 206 w 3515"/>
                <a:gd name="T109" fmla="*/ 1957 h 3325"/>
                <a:gd name="T110" fmla="*/ 238 w 3515"/>
                <a:gd name="T111" fmla="*/ 1670 h 3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15" h="3325">
                  <a:moveTo>
                    <a:pt x="175" y="1580"/>
                  </a:moveTo>
                  <a:cubicBezTo>
                    <a:pt x="172" y="1565"/>
                    <a:pt x="170" y="1552"/>
                    <a:pt x="172" y="1539"/>
                  </a:cubicBezTo>
                  <a:cubicBezTo>
                    <a:pt x="195" y="1545"/>
                    <a:pt x="223" y="1552"/>
                    <a:pt x="238" y="1570"/>
                  </a:cubicBezTo>
                  <a:cubicBezTo>
                    <a:pt x="257" y="1595"/>
                    <a:pt x="259" y="1618"/>
                    <a:pt x="284" y="1638"/>
                  </a:cubicBezTo>
                  <a:cubicBezTo>
                    <a:pt x="313" y="1661"/>
                    <a:pt x="328" y="1675"/>
                    <a:pt x="340" y="1712"/>
                  </a:cubicBezTo>
                  <a:cubicBezTo>
                    <a:pt x="350" y="1741"/>
                    <a:pt x="353" y="1773"/>
                    <a:pt x="371" y="1797"/>
                  </a:cubicBezTo>
                  <a:cubicBezTo>
                    <a:pt x="409" y="1852"/>
                    <a:pt x="483" y="1797"/>
                    <a:pt x="531" y="1842"/>
                  </a:cubicBezTo>
                  <a:cubicBezTo>
                    <a:pt x="575" y="1885"/>
                    <a:pt x="486" y="1931"/>
                    <a:pt x="462" y="1952"/>
                  </a:cubicBezTo>
                  <a:cubicBezTo>
                    <a:pt x="425" y="1985"/>
                    <a:pt x="411" y="2025"/>
                    <a:pt x="404" y="2071"/>
                  </a:cubicBezTo>
                  <a:cubicBezTo>
                    <a:pt x="401" y="2084"/>
                    <a:pt x="396" y="2097"/>
                    <a:pt x="394" y="2110"/>
                  </a:cubicBezTo>
                  <a:cubicBezTo>
                    <a:pt x="392" y="2120"/>
                    <a:pt x="391" y="2130"/>
                    <a:pt x="389" y="2140"/>
                  </a:cubicBezTo>
                  <a:cubicBezTo>
                    <a:pt x="389" y="2145"/>
                    <a:pt x="389" y="2145"/>
                    <a:pt x="388" y="2150"/>
                  </a:cubicBezTo>
                  <a:cubicBezTo>
                    <a:pt x="388" y="2153"/>
                    <a:pt x="388" y="2160"/>
                    <a:pt x="396" y="2160"/>
                  </a:cubicBezTo>
                  <a:cubicBezTo>
                    <a:pt x="402" y="2161"/>
                    <a:pt x="409" y="2145"/>
                    <a:pt x="411" y="2140"/>
                  </a:cubicBezTo>
                  <a:cubicBezTo>
                    <a:pt x="417" y="2130"/>
                    <a:pt x="420" y="2120"/>
                    <a:pt x="427" y="2112"/>
                  </a:cubicBezTo>
                  <a:cubicBezTo>
                    <a:pt x="434" y="2100"/>
                    <a:pt x="439" y="2086"/>
                    <a:pt x="452" y="2081"/>
                  </a:cubicBezTo>
                  <a:cubicBezTo>
                    <a:pt x="465" y="2074"/>
                    <a:pt x="473" y="2089"/>
                    <a:pt x="478" y="2099"/>
                  </a:cubicBezTo>
                  <a:cubicBezTo>
                    <a:pt x="488" y="2127"/>
                    <a:pt x="467" y="2161"/>
                    <a:pt x="457" y="2186"/>
                  </a:cubicBezTo>
                  <a:cubicBezTo>
                    <a:pt x="442" y="2222"/>
                    <a:pt x="435" y="2250"/>
                    <a:pt x="411" y="2280"/>
                  </a:cubicBezTo>
                  <a:cubicBezTo>
                    <a:pt x="397" y="2296"/>
                    <a:pt x="379" y="2329"/>
                    <a:pt x="397" y="2349"/>
                  </a:cubicBezTo>
                  <a:cubicBezTo>
                    <a:pt x="420" y="2372"/>
                    <a:pt x="434" y="2346"/>
                    <a:pt x="439" y="2326"/>
                  </a:cubicBezTo>
                  <a:cubicBezTo>
                    <a:pt x="442" y="2315"/>
                    <a:pt x="440" y="2301"/>
                    <a:pt x="450" y="2293"/>
                  </a:cubicBezTo>
                  <a:cubicBezTo>
                    <a:pt x="463" y="2282"/>
                    <a:pt x="483" y="2290"/>
                    <a:pt x="498" y="2280"/>
                  </a:cubicBezTo>
                  <a:cubicBezTo>
                    <a:pt x="532" y="2259"/>
                    <a:pt x="528" y="2193"/>
                    <a:pt x="526" y="2158"/>
                  </a:cubicBezTo>
                  <a:cubicBezTo>
                    <a:pt x="519" y="2077"/>
                    <a:pt x="485" y="2010"/>
                    <a:pt x="546" y="1937"/>
                  </a:cubicBezTo>
                  <a:cubicBezTo>
                    <a:pt x="570" y="1908"/>
                    <a:pt x="595" y="1893"/>
                    <a:pt x="577" y="1850"/>
                  </a:cubicBezTo>
                  <a:cubicBezTo>
                    <a:pt x="562" y="1817"/>
                    <a:pt x="534" y="1809"/>
                    <a:pt x="511" y="1786"/>
                  </a:cubicBezTo>
                  <a:cubicBezTo>
                    <a:pt x="472" y="1750"/>
                    <a:pt x="500" y="1687"/>
                    <a:pt x="463" y="1649"/>
                  </a:cubicBezTo>
                  <a:cubicBezTo>
                    <a:pt x="439" y="1624"/>
                    <a:pt x="406" y="1614"/>
                    <a:pt x="383" y="1588"/>
                  </a:cubicBezTo>
                  <a:cubicBezTo>
                    <a:pt x="358" y="1558"/>
                    <a:pt x="363" y="1534"/>
                    <a:pt x="369" y="1499"/>
                  </a:cubicBezTo>
                  <a:cubicBezTo>
                    <a:pt x="378" y="1460"/>
                    <a:pt x="406" y="1418"/>
                    <a:pt x="402" y="1379"/>
                  </a:cubicBezTo>
                  <a:cubicBezTo>
                    <a:pt x="401" y="1353"/>
                    <a:pt x="379" y="1333"/>
                    <a:pt x="379" y="1308"/>
                  </a:cubicBezTo>
                  <a:cubicBezTo>
                    <a:pt x="379" y="1277"/>
                    <a:pt x="409" y="1245"/>
                    <a:pt x="432" y="1229"/>
                  </a:cubicBezTo>
                  <a:cubicBezTo>
                    <a:pt x="462" y="1204"/>
                    <a:pt x="490" y="1212"/>
                    <a:pt x="526" y="1214"/>
                  </a:cubicBezTo>
                  <a:cubicBezTo>
                    <a:pt x="567" y="1216"/>
                    <a:pt x="590" y="1199"/>
                    <a:pt x="630" y="1217"/>
                  </a:cubicBezTo>
                  <a:cubicBezTo>
                    <a:pt x="659" y="1234"/>
                    <a:pt x="696" y="1240"/>
                    <a:pt x="730" y="1240"/>
                  </a:cubicBezTo>
                  <a:cubicBezTo>
                    <a:pt x="752" y="1240"/>
                    <a:pt x="773" y="1231"/>
                    <a:pt x="793" y="1231"/>
                  </a:cubicBezTo>
                  <a:cubicBezTo>
                    <a:pt x="814" y="1231"/>
                    <a:pt x="821" y="1249"/>
                    <a:pt x="839" y="1254"/>
                  </a:cubicBezTo>
                  <a:cubicBezTo>
                    <a:pt x="867" y="1264"/>
                    <a:pt x="888" y="1239"/>
                    <a:pt x="911" y="1229"/>
                  </a:cubicBezTo>
                  <a:cubicBezTo>
                    <a:pt x="941" y="1214"/>
                    <a:pt x="971" y="1226"/>
                    <a:pt x="1002" y="1219"/>
                  </a:cubicBezTo>
                  <a:cubicBezTo>
                    <a:pt x="1018" y="1216"/>
                    <a:pt x="1046" y="1198"/>
                    <a:pt x="1045" y="1178"/>
                  </a:cubicBezTo>
                  <a:cubicBezTo>
                    <a:pt x="1045" y="1166"/>
                    <a:pt x="1025" y="1156"/>
                    <a:pt x="1018" y="1147"/>
                  </a:cubicBezTo>
                  <a:cubicBezTo>
                    <a:pt x="1010" y="1137"/>
                    <a:pt x="1007" y="1122"/>
                    <a:pt x="999" y="1112"/>
                  </a:cubicBezTo>
                  <a:cubicBezTo>
                    <a:pt x="989" y="1099"/>
                    <a:pt x="939" y="1054"/>
                    <a:pt x="979" y="1041"/>
                  </a:cubicBezTo>
                  <a:cubicBezTo>
                    <a:pt x="1004" y="1031"/>
                    <a:pt x="1025" y="1072"/>
                    <a:pt x="1045" y="1076"/>
                  </a:cubicBezTo>
                  <a:cubicBezTo>
                    <a:pt x="1058" y="1079"/>
                    <a:pt x="1063" y="1072"/>
                    <a:pt x="1060" y="1061"/>
                  </a:cubicBezTo>
                  <a:cubicBezTo>
                    <a:pt x="1058" y="1044"/>
                    <a:pt x="1040" y="1046"/>
                    <a:pt x="1032" y="1036"/>
                  </a:cubicBezTo>
                  <a:cubicBezTo>
                    <a:pt x="1005" y="1010"/>
                    <a:pt x="1035" y="1011"/>
                    <a:pt x="1045" y="990"/>
                  </a:cubicBezTo>
                  <a:cubicBezTo>
                    <a:pt x="1050" y="980"/>
                    <a:pt x="1040" y="980"/>
                    <a:pt x="1043" y="970"/>
                  </a:cubicBezTo>
                  <a:cubicBezTo>
                    <a:pt x="1045" y="959"/>
                    <a:pt x="1056" y="949"/>
                    <a:pt x="1063" y="939"/>
                  </a:cubicBezTo>
                  <a:cubicBezTo>
                    <a:pt x="1099" y="878"/>
                    <a:pt x="1157" y="855"/>
                    <a:pt x="1211" y="812"/>
                  </a:cubicBezTo>
                  <a:cubicBezTo>
                    <a:pt x="1234" y="794"/>
                    <a:pt x="1243" y="764"/>
                    <a:pt x="1266" y="746"/>
                  </a:cubicBezTo>
                  <a:cubicBezTo>
                    <a:pt x="1292" y="726"/>
                    <a:pt x="1323" y="746"/>
                    <a:pt x="1346" y="726"/>
                  </a:cubicBezTo>
                  <a:cubicBezTo>
                    <a:pt x="1363" y="713"/>
                    <a:pt x="1359" y="705"/>
                    <a:pt x="1383" y="700"/>
                  </a:cubicBezTo>
                  <a:cubicBezTo>
                    <a:pt x="1397" y="697"/>
                    <a:pt x="1412" y="700"/>
                    <a:pt x="1427" y="700"/>
                  </a:cubicBezTo>
                  <a:cubicBezTo>
                    <a:pt x="1462" y="702"/>
                    <a:pt x="1483" y="692"/>
                    <a:pt x="1516" y="679"/>
                  </a:cubicBezTo>
                  <a:cubicBezTo>
                    <a:pt x="1546" y="666"/>
                    <a:pt x="1575" y="656"/>
                    <a:pt x="1607" y="654"/>
                  </a:cubicBezTo>
                  <a:cubicBezTo>
                    <a:pt x="1618" y="654"/>
                    <a:pt x="1631" y="662"/>
                    <a:pt x="1656" y="644"/>
                  </a:cubicBezTo>
                  <a:cubicBezTo>
                    <a:pt x="1664" y="639"/>
                    <a:pt x="1671" y="633"/>
                    <a:pt x="1671" y="619"/>
                  </a:cubicBezTo>
                  <a:cubicBezTo>
                    <a:pt x="1668" y="601"/>
                    <a:pt x="1626" y="614"/>
                    <a:pt x="1616" y="608"/>
                  </a:cubicBezTo>
                  <a:cubicBezTo>
                    <a:pt x="1593" y="591"/>
                    <a:pt x="1615" y="580"/>
                    <a:pt x="1633" y="577"/>
                  </a:cubicBezTo>
                  <a:cubicBezTo>
                    <a:pt x="1692" y="562"/>
                    <a:pt x="1752" y="562"/>
                    <a:pt x="1813" y="557"/>
                  </a:cubicBezTo>
                  <a:cubicBezTo>
                    <a:pt x="1847" y="555"/>
                    <a:pt x="1855" y="575"/>
                    <a:pt x="1844" y="605"/>
                  </a:cubicBezTo>
                  <a:cubicBezTo>
                    <a:pt x="1834" y="628"/>
                    <a:pt x="1836" y="631"/>
                    <a:pt x="1850" y="623"/>
                  </a:cubicBezTo>
                  <a:cubicBezTo>
                    <a:pt x="1862" y="616"/>
                    <a:pt x="1864" y="600"/>
                    <a:pt x="1882" y="605"/>
                  </a:cubicBezTo>
                  <a:cubicBezTo>
                    <a:pt x="1892" y="608"/>
                    <a:pt x="1890" y="619"/>
                    <a:pt x="1897" y="623"/>
                  </a:cubicBezTo>
                  <a:cubicBezTo>
                    <a:pt x="1916" y="638"/>
                    <a:pt x="1915" y="623"/>
                    <a:pt x="1928" y="603"/>
                  </a:cubicBezTo>
                  <a:cubicBezTo>
                    <a:pt x="1949" y="568"/>
                    <a:pt x="1954" y="608"/>
                    <a:pt x="1981" y="601"/>
                  </a:cubicBezTo>
                  <a:cubicBezTo>
                    <a:pt x="1995" y="598"/>
                    <a:pt x="2017" y="560"/>
                    <a:pt x="2033" y="549"/>
                  </a:cubicBezTo>
                  <a:cubicBezTo>
                    <a:pt x="2061" y="530"/>
                    <a:pt x="2096" y="530"/>
                    <a:pt x="2126" y="552"/>
                  </a:cubicBezTo>
                  <a:cubicBezTo>
                    <a:pt x="2150" y="570"/>
                    <a:pt x="2149" y="601"/>
                    <a:pt x="2142" y="629"/>
                  </a:cubicBezTo>
                  <a:cubicBezTo>
                    <a:pt x="2132" y="677"/>
                    <a:pt x="2055" y="703"/>
                    <a:pt x="2102" y="758"/>
                  </a:cubicBezTo>
                  <a:cubicBezTo>
                    <a:pt x="2112" y="769"/>
                    <a:pt x="2127" y="776"/>
                    <a:pt x="2139" y="787"/>
                  </a:cubicBezTo>
                  <a:cubicBezTo>
                    <a:pt x="2150" y="801"/>
                    <a:pt x="2147" y="812"/>
                    <a:pt x="2154" y="822"/>
                  </a:cubicBezTo>
                  <a:cubicBezTo>
                    <a:pt x="2158" y="830"/>
                    <a:pt x="2168" y="834"/>
                    <a:pt x="2173" y="843"/>
                  </a:cubicBezTo>
                  <a:cubicBezTo>
                    <a:pt x="2180" y="855"/>
                    <a:pt x="2177" y="867"/>
                    <a:pt x="2178" y="878"/>
                  </a:cubicBezTo>
                  <a:cubicBezTo>
                    <a:pt x="2186" y="901"/>
                    <a:pt x="2214" y="904"/>
                    <a:pt x="2216" y="926"/>
                  </a:cubicBezTo>
                  <a:cubicBezTo>
                    <a:pt x="2219" y="955"/>
                    <a:pt x="2190" y="965"/>
                    <a:pt x="2200" y="1000"/>
                  </a:cubicBezTo>
                  <a:cubicBezTo>
                    <a:pt x="2208" y="1028"/>
                    <a:pt x="2234" y="1041"/>
                    <a:pt x="2218" y="1071"/>
                  </a:cubicBezTo>
                  <a:cubicBezTo>
                    <a:pt x="2208" y="1086"/>
                    <a:pt x="2186" y="1109"/>
                    <a:pt x="2170" y="1114"/>
                  </a:cubicBezTo>
                  <a:cubicBezTo>
                    <a:pt x="2162" y="1117"/>
                    <a:pt x="2135" y="1110"/>
                    <a:pt x="2129" y="1115"/>
                  </a:cubicBezTo>
                  <a:cubicBezTo>
                    <a:pt x="2116" y="1125"/>
                    <a:pt x="2127" y="1130"/>
                    <a:pt x="2132" y="1140"/>
                  </a:cubicBezTo>
                  <a:cubicBezTo>
                    <a:pt x="2139" y="1153"/>
                    <a:pt x="2144" y="1155"/>
                    <a:pt x="2144" y="1171"/>
                  </a:cubicBezTo>
                  <a:cubicBezTo>
                    <a:pt x="2142" y="1189"/>
                    <a:pt x="2137" y="1198"/>
                    <a:pt x="2145" y="1214"/>
                  </a:cubicBezTo>
                  <a:cubicBezTo>
                    <a:pt x="2150" y="1227"/>
                    <a:pt x="2178" y="1268"/>
                    <a:pt x="2195" y="1250"/>
                  </a:cubicBezTo>
                  <a:cubicBezTo>
                    <a:pt x="2211" y="1236"/>
                    <a:pt x="2188" y="1211"/>
                    <a:pt x="2183" y="1196"/>
                  </a:cubicBezTo>
                  <a:cubicBezTo>
                    <a:pt x="2177" y="1173"/>
                    <a:pt x="2183" y="1138"/>
                    <a:pt x="2216" y="1145"/>
                  </a:cubicBezTo>
                  <a:cubicBezTo>
                    <a:pt x="2228" y="1147"/>
                    <a:pt x="2275" y="1178"/>
                    <a:pt x="2279" y="1188"/>
                  </a:cubicBezTo>
                  <a:cubicBezTo>
                    <a:pt x="2297" y="1226"/>
                    <a:pt x="2251" y="1277"/>
                    <a:pt x="2292" y="1295"/>
                  </a:cubicBezTo>
                  <a:cubicBezTo>
                    <a:pt x="2318" y="1306"/>
                    <a:pt x="2341" y="1306"/>
                    <a:pt x="2341" y="1272"/>
                  </a:cubicBezTo>
                  <a:cubicBezTo>
                    <a:pt x="2341" y="1240"/>
                    <a:pt x="2318" y="1214"/>
                    <a:pt x="2302" y="1191"/>
                  </a:cubicBezTo>
                  <a:cubicBezTo>
                    <a:pt x="2294" y="1178"/>
                    <a:pt x="2269" y="1142"/>
                    <a:pt x="2299" y="1138"/>
                  </a:cubicBezTo>
                  <a:cubicBezTo>
                    <a:pt x="2312" y="1137"/>
                    <a:pt x="2328" y="1156"/>
                    <a:pt x="2338" y="1163"/>
                  </a:cubicBezTo>
                  <a:cubicBezTo>
                    <a:pt x="2351" y="1171"/>
                    <a:pt x="2376" y="1184"/>
                    <a:pt x="2384" y="1160"/>
                  </a:cubicBezTo>
                  <a:cubicBezTo>
                    <a:pt x="2391" y="1138"/>
                    <a:pt x="2356" y="1124"/>
                    <a:pt x="2369" y="1099"/>
                  </a:cubicBezTo>
                  <a:cubicBezTo>
                    <a:pt x="2381" y="1076"/>
                    <a:pt x="2415" y="1089"/>
                    <a:pt x="2437" y="1077"/>
                  </a:cubicBezTo>
                  <a:cubicBezTo>
                    <a:pt x="2448" y="1071"/>
                    <a:pt x="2455" y="1058"/>
                    <a:pt x="2468" y="1051"/>
                  </a:cubicBezTo>
                  <a:cubicBezTo>
                    <a:pt x="2486" y="1044"/>
                    <a:pt x="2499" y="1044"/>
                    <a:pt x="2518" y="1031"/>
                  </a:cubicBezTo>
                  <a:cubicBezTo>
                    <a:pt x="2532" y="1020"/>
                    <a:pt x="2542" y="1013"/>
                    <a:pt x="2559" y="1005"/>
                  </a:cubicBezTo>
                  <a:cubicBezTo>
                    <a:pt x="2572" y="998"/>
                    <a:pt x="2577" y="993"/>
                    <a:pt x="2588" y="985"/>
                  </a:cubicBezTo>
                  <a:cubicBezTo>
                    <a:pt x="2598" y="977"/>
                    <a:pt x="2668" y="970"/>
                    <a:pt x="2669" y="959"/>
                  </a:cubicBezTo>
                  <a:cubicBezTo>
                    <a:pt x="2672" y="944"/>
                    <a:pt x="2613" y="921"/>
                    <a:pt x="2605" y="913"/>
                  </a:cubicBezTo>
                  <a:cubicBezTo>
                    <a:pt x="2592" y="899"/>
                    <a:pt x="2575" y="857"/>
                    <a:pt x="2559" y="853"/>
                  </a:cubicBezTo>
                  <a:cubicBezTo>
                    <a:pt x="2519" y="843"/>
                    <a:pt x="2513" y="911"/>
                    <a:pt x="2521" y="932"/>
                  </a:cubicBezTo>
                  <a:cubicBezTo>
                    <a:pt x="2532" y="962"/>
                    <a:pt x="2537" y="962"/>
                    <a:pt x="2509" y="982"/>
                  </a:cubicBezTo>
                  <a:cubicBezTo>
                    <a:pt x="2481" y="1003"/>
                    <a:pt x="2450" y="1028"/>
                    <a:pt x="2415" y="1031"/>
                  </a:cubicBezTo>
                  <a:cubicBezTo>
                    <a:pt x="2399" y="1031"/>
                    <a:pt x="2384" y="1026"/>
                    <a:pt x="2368" y="1030"/>
                  </a:cubicBezTo>
                  <a:cubicBezTo>
                    <a:pt x="2356" y="1035"/>
                    <a:pt x="2351" y="1041"/>
                    <a:pt x="2338" y="1043"/>
                  </a:cubicBezTo>
                  <a:cubicBezTo>
                    <a:pt x="2312" y="1046"/>
                    <a:pt x="2275" y="1030"/>
                    <a:pt x="2257" y="1011"/>
                  </a:cubicBezTo>
                  <a:cubicBezTo>
                    <a:pt x="2249" y="1002"/>
                    <a:pt x="2238" y="987"/>
                    <a:pt x="2234" y="977"/>
                  </a:cubicBezTo>
                  <a:cubicBezTo>
                    <a:pt x="2229" y="962"/>
                    <a:pt x="2234" y="955"/>
                    <a:pt x="2234" y="941"/>
                  </a:cubicBezTo>
                  <a:cubicBezTo>
                    <a:pt x="2236" y="909"/>
                    <a:pt x="2210" y="878"/>
                    <a:pt x="2191" y="853"/>
                  </a:cubicBezTo>
                  <a:cubicBezTo>
                    <a:pt x="2175" y="830"/>
                    <a:pt x="2172" y="801"/>
                    <a:pt x="2154" y="779"/>
                  </a:cubicBezTo>
                  <a:cubicBezTo>
                    <a:pt x="2140" y="761"/>
                    <a:pt x="2121" y="746"/>
                    <a:pt x="2116" y="725"/>
                  </a:cubicBezTo>
                  <a:cubicBezTo>
                    <a:pt x="2111" y="694"/>
                    <a:pt x="2135" y="674"/>
                    <a:pt x="2149" y="651"/>
                  </a:cubicBezTo>
                  <a:cubicBezTo>
                    <a:pt x="2182" y="598"/>
                    <a:pt x="2150" y="552"/>
                    <a:pt x="2117" y="509"/>
                  </a:cubicBezTo>
                  <a:cubicBezTo>
                    <a:pt x="2107" y="498"/>
                    <a:pt x="2050" y="427"/>
                    <a:pt x="2089" y="422"/>
                  </a:cubicBezTo>
                  <a:cubicBezTo>
                    <a:pt x="2099" y="422"/>
                    <a:pt x="2112" y="438"/>
                    <a:pt x="2122" y="441"/>
                  </a:cubicBezTo>
                  <a:cubicBezTo>
                    <a:pt x="2137" y="446"/>
                    <a:pt x="2154" y="441"/>
                    <a:pt x="2168" y="440"/>
                  </a:cubicBezTo>
                  <a:cubicBezTo>
                    <a:pt x="2210" y="433"/>
                    <a:pt x="2244" y="425"/>
                    <a:pt x="2285" y="438"/>
                  </a:cubicBezTo>
                  <a:cubicBezTo>
                    <a:pt x="2290" y="440"/>
                    <a:pt x="2317" y="451"/>
                    <a:pt x="2318" y="445"/>
                  </a:cubicBezTo>
                  <a:cubicBezTo>
                    <a:pt x="2322" y="437"/>
                    <a:pt x="2295" y="422"/>
                    <a:pt x="2290" y="420"/>
                  </a:cubicBezTo>
                  <a:cubicBezTo>
                    <a:pt x="2264" y="405"/>
                    <a:pt x="2249" y="413"/>
                    <a:pt x="2247" y="377"/>
                  </a:cubicBezTo>
                  <a:cubicBezTo>
                    <a:pt x="2246" y="357"/>
                    <a:pt x="2249" y="348"/>
                    <a:pt x="2241" y="328"/>
                  </a:cubicBezTo>
                  <a:cubicBezTo>
                    <a:pt x="2236" y="316"/>
                    <a:pt x="2228" y="308"/>
                    <a:pt x="2228" y="295"/>
                  </a:cubicBezTo>
                  <a:cubicBezTo>
                    <a:pt x="2228" y="283"/>
                    <a:pt x="2234" y="275"/>
                    <a:pt x="2238" y="265"/>
                  </a:cubicBezTo>
                  <a:cubicBezTo>
                    <a:pt x="2242" y="249"/>
                    <a:pt x="2244" y="231"/>
                    <a:pt x="2252" y="216"/>
                  </a:cubicBezTo>
                  <a:cubicBezTo>
                    <a:pt x="2259" y="203"/>
                    <a:pt x="2267" y="194"/>
                    <a:pt x="2274" y="180"/>
                  </a:cubicBezTo>
                  <a:cubicBezTo>
                    <a:pt x="2280" y="165"/>
                    <a:pt x="2294" y="158"/>
                    <a:pt x="2300" y="143"/>
                  </a:cubicBezTo>
                  <a:cubicBezTo>
                    <a:pt x="2305" y="133"/>
                    <a:pt x="2302" y="120"/>
                    <a:pt x="2307" y="109"/>
                  </a:cubicBezTo>
                  <a:cubicBezTo>
                    <a:pt x="2310" y="100"/>
                    <a:pt x="2320" y="96"/>
                    <a:pt x="2325" y="87"/>
                  </a:cubicBezTo>
                  <a:cubicBezTo>
                    <a:pt x="2348" y="64"/>
                    <a:pt x="2356" y="49"/>
                    <a:pt x="2386" y="35"/>
                  </a:cubicBezTo>
                  <a:cubicBezTo>
                    <a:pt x="2417" y="20"/>
                    <a:pt x="2447" y="0"/>
                    <a:pt x="2481" y="18"/>
                  </a:cubicBezTo>
                  <a:cubicBezTo>
                    <a:pt x="2496" y="26"/>
                    <a:pt x="2506" y="38"/>
                    <a:pt x="2524" y="43"/>
                  </a:cubicBezTo>
                  <a:cubicBezTo>
                    <a:pt x="2537" y="46"/>
                    <a:pt x="2551" y="43"/>
                    <a:pt x="2564" y="48"/>
                  </a:cubicBezTo>
                  <a:cubicBezTo>
                    <a:pt x="2590" y="58"/>
                    <a:pt x="2598" y="82"/>
                    <a:pt x="2587" y="109"/>
                  </a:cubicBezTo>
                  <a:cubicBezTo>
                    <a:pt x="2577" y="132"/>
                    <a:pt x="2551" y="150"/>
                    <a:pt x="2531" y="165"/>
                  </a:cubicBezTo>
                  <a:cubicBezTo>
                    <a:pt x="2524" y="170"/>
                    <a:pt x="2471" y="198"/>
                    <a:pt x="2475" y="206"/>
                  </a:cubicBezTo>
                  <a:cubicBezTo>
                    <a:pt x="2478" y="216"/>
                    <a:pt x="2551" y="201"/>
                    <a:pt x="2567" y="208"/>
                  </a:cubicBezTo>
                  <a:cubicBezTo>
                    <a:pt x="2579" y="213"/>
                    <a:pt x="2585" y="221"/>
                    <a:pt x="2600" y="222"/>
                  </a:cubicBezTo>
                  <a:cubicBezTo>
                    <a:pt x="2616" y="224"/>
                    <a:pt x="2630" y="213"/>
                    <a:pt x="2644" y="209"/>
                  </a:cubicBezTo>
                  <a:cubicBezTo>
                    <a:pt x="2669" y="204"/>
                    <a:pt x="2705" y="213"/>
                    <a:pt x="2714" y="239"/>
                  </a:cubicBezTo>
                  <a:cubicBezTo>
                    <a:pt x="2724" y="273"/>
                    <a:pt x="2696" y="306"/>
                    <a:pt x="2674" y="329"/>
                  </a:cubicBezTo>
                  <a:cubicBezTo>
                    <a:pt x="2661" y="346"/>
                    <a:pt x="2636" y="367"/>
                    <a:pt x="2664" y="382"/>
                  </a:cubicBezTo>
                  <a:cubicBezTo>
                    <a:pt x="2681" y="392"/>
                    <a:pt x="2704" y="381"/>
                    <a:pt x="2720" y="377"/>
                  </a:cubicBezTo>
                  <a:cubicBezTo>
                    <a:pt x="2748" y="369"/>
                    <a:pt x="2770" y="367"/>
                    <a:pt x="2771" y="334"/>
                  </a:cubicBezTo>
                  <a:cubicBezTo>
                    <a:pt x="2773" y="311"/>
                    <a:pt x="2761" y="306"/>
                    <a:pt x="2793" y="297"/>
                  </a:cubicBezTo>
                  <a:cubicBezTo>
                    <a:pt x="2827" y="285"/>
                    <a:pt x="2865" y="278"/>
                    <a:pt x="2901" y="277"/>
                  </a:cubicBezTo>
                  <a:cubicBezTo>
                    <a:pt x="2913" y="275"/>
                    <a:pt x="2925" y="272"/>
                    <a:pt x="2934" y="269"/>
                  </a:cubicBezTo>
                  <a:cubicBezTo>
                    <a:pt x="2976" y="255"/>
                    <a:pt x="3037" y="262"/>
                    <a:pt x="3071" y="287"/>
                  </a:cubicBezTo>
                  <a:cubicBezTo>
                    <a:pt x="3106" y="311"/>
                    <a:pt x="3091" y="328"/>
                    <a:pt x="3126" y="339"/>
                  </a:cubicBezTo>
                  <a:cubicBezTo>
                    <a:pt x="3165" y="354"/>
                    <a:pt x="3157" y="361"/>
                    <a:pt x="3162" y="395"/>
                  </a:cubicBezTo>
                  <a:cubicBezTo>
                    <a:pt x="3162" y="404"/>
                    <a:pt x="3188" y="445"/>
                    <a:pt x="3191" y="437"/>
                  </a:cubicBezTo>
                  <a:cubicBezTo>
                    <a:pt x="3196" y="422"/>
                    <a:pt x="3137" y="374"/>
                    <a:pt x="3195" y="381"/>
                  </a:cubicBezTo>
                  <a:cubicBezTo>
                    <a:pt x="3221" y="384"/>
                    <a:pt x="3246" y="428"/>
                    <a:pt x="3254" y="451"/>
                  </a:cubicBezTo>
                  <a:cubicBezTo>
                    <a:pt x="3262" y="469"/>
                    <a:pt x="3267" y="473"/>
                    <a:pt x="3279" y="486"/>
                  </a:cubicBezTo>
                  <a:cubicBezTo>
                    <a:pt x="3290" y="499"/>
                    <a:pt x="3300" y="509"/>
                    <a:pt x="3300" y="527"/>
                  </a:cubicBezTo>
                  <a:cubicBezTo>
                    <a:pt x="3300" y="582"/>
                    <a:pt x="3254" y="572"/>
                    <a:pt x="3223" y="552"/>
                  </a:cubicBezTo>
                  <a:cubicBezTo>
                    <a:pt x="3195" y="534"/>
                    <a:pt x="3180" y="539"/>
                    <a:pt x="3208" y="568"/>
                  </a:cubicBezTo>
                  <a:cubicBezTo>
                    <a:pt x="3233" y="591"/>
                    <a:pt x="3269" y="591"/>
                    <a:pt x="3294" y="613"/>
                  </a:cubicBezTo>
                  <a:cubicBezTo>
                    <a:pt x="3338" y="656"/>
                    <a:pt x="3287" y="717"/>
                    <a:pt x="3275" y="761"/>
                  </a:cubicBezTo>
                  <a:cubicBezTo>
                    <a:pt x="3269" y="786"/>
                    <a:pt x="3269" y="799"/>
                    <a:pt x="3251" y="815"/>
                  </a:cubicBezTo>
                  <a:cubicBezTo>
                    <a:pt x="3241" y="825"/>
                    <a:pt x="3231" y="830"/>
                    <a:pt x="3226" y="845"/>
                  </a:cubicBezTo>
                  <a:cubicBezTo>
                    <a:pt x="3211" y="880"/>
                    <a:pt x="3213" y="895"/>
                    <a:pt x="3182" y="921"/>
                  </a:cubicBezTo>
                  <a:cubicBezTo>
                    <a:pt x="3170" y="931"/>
                    <a:pt x="3152" y="939"/>
                    <a:pt x="3142" y="951"/>
                  </a:cubicBezTo>
                  <a:cubicBezTo>
                    <a:pt x="3134" y="960"/>
                    <a:pt x="3132" y="972"/>
                    <a:pt x="3126" y="983"/>
                  </a:cubicBezTo>
                  <a:cubicBezTo>
                    <a:pt x="3112" y="1007"/>
                    <a:pt x="3066" y="1028"/>
                    <a:pt x="3061" y="1054"/>
                  </a:cubicBezTo>
                  <a:cubicBezTo>
                    <a:pt x="3058" y="1081"/>
                    <a:pt x="3086" y="1089"/>
                    <a:pt x="3063" y="1117"/>
                  </a:cubicBezTo>
                  <a:cubicBezTo>
                    <a:pt x="3048" y="1138"/>
                    <a:pt x="3018" y="1147"/>
                    <a:pt x="3002" y="1168"/>
                  </a:cubicBezTo>
                  <a:cubicBezTo>
                    <a:pt x="2981" y="1199"/>
                    <a:pt x="2976" y="1236"/>
                    <a:pt x="2956" y="1267"/>
                  </a:cubicBezTo>
                  <a:cubicBezTo>
                    <a:pt x="2934" y="1301"/>
                    <a:pt x="2901" y="1303"/>
                    <a:pt x="2869" y="1323"/>
                  </a:cubicBezTo>
                  <a:cubicBezTo>
                    <a:pt x="2832" y="1346"/>
                    <a:pt x="2847" y="1379"/>
                    <a:pt x="2827" y="1409"/>
                  </a:cubicBezTo>
                  <a:cubicBezTo>
                    <a:pt x="2817" y="1423"/>
                    <a:pt x="2804" y="1422"/>
                    <a:pt x="2791" y="1430"/>
                  </a:cubicBezTo>
                  <a:cubicBezTo>
                    <a:pt x="2778" y="1438"/>
                    <a:pt x="2771" y="1448"/>
                    <a:pt x="2765" y="1461"/>
                  </a:cubicBezTo>
                  <a:cubicBezTo>
                    <a:pt x="2747" y="1493"/>
                    <a:pt x="2756" y="1521"/>
                    <a:pt x="2747" y="1552"/>
                  </a:cubicBezTo>
                  <a:cubicBezTo>
                    <a:pt x="2742" y="1562"/>
                    <a:pt x="2735" y="1570"/>
                    <a:pt x="2727" y="1578"/>
                  </a:cubicBezTo>
                  <a:cubicBezTo>
                    <a:pt x="2724" y="1581"/>
                    <a:pt x="2719" y="1585"/>
                    <a:pt x="2715" y="1590"/>
                  </a:cubicBezTo>
                  <a:cubicBezTo>
                    <a:pt x="2714" y="1591"/>
                    <a:pt x="2712" y="1593"/>
                    <a:pt x="2710" y="1596"/>
                  </a:cubicBezTo>
                  <a:cubicBezTo>
                    <a:pt x="2709" y="1596"/>
                    <a:pt x="2709" y="1598"/>
                    <a:pt x="2709" y="1600"/>
                  </a:cubicBezTo>
                  <a:lnTo>
                    <a:pt x="2710" y="1603"/>
                  </a:lnTo>
                  <a:cubicBezTo>
                    <a:pt x="2710" y="1603"/>
                    <a:pt x="2710" y="1605"/>
                    <a:pt x="2710" y="1606"/>
                  </a:cubicBezTo>
                  <a:cubicBezTo>
                    <a:pt x="2719" y="1606"/>
                    <a:pt x="2722" y="1603"/>
                    <a:pt x="2727" y="1601"/>
                  </a:cubicBezTo>
                  <a:cubicBezTo>
                    <a:pt x="2728" y="1600"/>
                    <a:pt x="2732" y="1598"/>
                    <a:pt x="2735" y="1595"/>
                  </a:cubicBezTo>
                  <a:cubicBezTo>
                    <a:pt x="2745" y="1586"/>
                    <a:pt x="2760" y="1570"/>
                    <a:pt x="2768" y="1558"/>
                  </a:cubicBezTo>
                  <a:cubicBezTo>
                    <a:pt x="2780" y="1535"/>
                    <a:pt x="2758" y="1517"/>
                    <a:pt x="2770" y="1496"/>
                  </a:cubicBezTo>
                  <a:cubicBezTo>
                    <a:pt x="2781" y="1478"/>
                    <a:pt x="2819" y="1479"/>
                    <a:pt x="2839" y="1474"/>
                  </a:cubicBezTo>
                  <a:cubicBezTo>
                    <a:pt x="2880" y="1466"/>
                    <a:pt x="2915" y="1461"/>
                    <a:pt x="2951" y="1437"/>
                  </a:cubicBezTo>
                  <a:cubicBezTo>
                    <a:pt x="2966" y="1425"/>
                    <a:pt x="2977" y="1410"/>
                    <a:pt x="2992" y="1400"/>
                  </a:cubicBezTo>
                  <a:cubicBezTo>
                    <a:pt x="3005" y="1390"/>
                    <a:pt x="3022" y="1387"/>
                    <a:pt x="3033" y="1376"/>
                  </a:cubicBezTo>
                  <a:cubicBezTo>
                    <a:pt x="3043" y="1367"/>
                    <a:pt x="3048" y="1353"/>
                    <a:pt x="3058" y="1344"/>
                  </a:cubicBezTo>
                  <a:cubicBezTo>
                    <a:pt x="3073" y="1331"/>
                    <a:pt x="3081" y="1338"/>
                    <a:pt x="3096" y="1333"/>
                  </a:cubicBezTo>
                  <a:cubicBezTo>
                    <a:pt x="3127" y="1321"/>
                    <a:pt x="3130" y="1287"/>
                    <a:pt x="3152" y="1267"/>
                  </a:cubicBezTo>
                  <a:cubicBezTo>
                    <a:pt x="3163" y="1255"/>
                    <a:pt x="3195" y="1231"/>
                    <a:pt x="3165" y="1229"/>
                  </a:cubicBezTo>
                  <a:cubicBezTo>
                    <a:pt x="3132" y="1226"/>
                    <a:pt x="3061" y="1303"/>
                    <a:pt x="3055" y="1236"/>
                  </a:cubicBezTo>
                  <a:cubicBezTo>
                    <a:pt x="3051" y="1194"/>
                    <a:pt x="3094" y="1142"/>
                    <a:pt x="3135" y="1147"/>
                  </a:cubicBezTo>
                  <a:cubicBezTo>
                    <a:pt x="3167" y="1150"/>
                    <a:pt x="3173" y="1156"/>
                    <a:pt x="3198" y="1133"/>
                  </a:cubicBezTo>
                  <a:cubicBezTo>
                    <a:pt x="3206" y="1128"/>
                    <a:pt x="3233" y="1102"/>
                    <a:pt x="3229" y="1130"/>
                  </a:cubicBezTo>
                  <a:cubicBezTo>
                    <a:pt x="3228" y="1152"/>
                    <a:pt x="3201" y="1143"/>
                    <a:pt x="3211" y="1171"/>
                  </a:cubicBezTo>
                  <a:cubicBezTo>
                    <a:pt x="3214" y="1178"/>
                    <a:pt x="3218" y="1184"/>
                    <a:pt x="3223" y="1189"/>
                  </a:cubicBezTo>
                  <a:cubicBezTo>
                    <a:pt x="3210" y="1203"/>
                    <a:pt x="3198" y="1219"/>
                    <a:pt x="3195" y="1237"/>
                  </a:cubicBezTo>
                  <a:cubicBezTo>
                    <a:pt x="3193" y="1252"/>
                    <a:pt x="3198" y="1262"/>
                    <a:pt x="3201" y="1270"/>
                  </a:cubicBezTo>
                  <a:cubicBezTo>
                    <a:pt x="3203" y="1275"/>
                    <a:pt x="3206" y="1280"/>
                    <a:pt x="3206" y="1283"/>
                  </a:cubicBezTo>
                  <a:cubicBezTo>
                    <a:pt x="3206" y="1293"/>
                    <a:pt x="3201" y="1300"/>
                    <a:pt x="3195" y="1310"/>
                  </a:cubicBezTo>
                  <a:cubicBezTo>
                    <a:pt x="3191" y="1315"/>
                    <a:pt x="3188" y="1320"/>
                    <a:pt x="3185" y="1325"/>
                  </a:cubicBezTo>
                  <a:cubicBezTo>
                    <a:pt x="3160" y="1374"/>
                    <a:pt x="3175" y="1405"/>
                    <a:pt x="3208" y="1440"/>
                  </a:cubicBezTo>
                  <a:cubicBezTo>
                    <a:pt x="3224" y="1456"/>
                    <a:pt x="3223" y="1473"/>
                    <a:pt x="3219" y="1496"/>
                  </a:cubicBezTo>
                  <a:cubicBezTo>
                    <a:pt x="3219" y="1506"/>
                    <a:pt x="3218" y="1517"/>
                    <a:pt x="3219" y="1529"/>
                  </a:cubicBezTo>
                  <a:cubicBezTo>
                    <a:pt x="3221" y="1572"/>
                    <a:pt x="3238" y="1588"/>
                    <a:pt x="3259" y="1614"/>
                  </a:cubicBezTo>
                  <a:lnTo>
                    <a:pt x="3266" y="1621"/>
                  </a:lnTo>
                  <a:cubicBezTo>
                    <a:pt x="3275" y="1631"/>
                    <a:pt x="3280" y="1644"/>
                    <a:pt x="3285" y="1657"/>
                  </a:cubicBezTo>
                  <a:cubicBezTo>
                    <a:pt x="3294" y="1677"/>
                    <a:pt x="3302" y="1695"/>
                    <a:pt x="3322" y="1712"/>
                  </a:cubicBezTo>
                  <a:cubicBezTo>
                    <a:pt x="3330" y="1718"/>
                    <a:pt x="3338" y="1725"/>
                    <a:pt x="3348" y="1730"/>
                  </a:cubicBezTo>
                  <a:cubicBezTo>
                    <a:pt x="3374" y="1748"/>
                    <a:pt x="3394" y="1763"/>
                    <a:pt x="3404" y="1794"/>
                  </a:cubicBezTo>
                  <a:cubicBezTo>
                    <a:pt x="3409" y="1814"/>
                    <a:pt x="3411" y="1835"/>
                    <a:pt x="3411" y="1857"/>
                  </a:cubicBezTo>
                  <a:cubicBezTo>
                    <a:pt x="3411" y="1880"/>
                    <a:pt x="3412" y="1903"/>
                    <a:pt x="3419" y="1926"/>
                  </a:cubicBezTo>
                  <a:cubicBezTo>
                    <a:pt x="3427" y="1954"/>
                    <a:pt x="3453" y="1974"/>
                    <a:pt x="3476" y="1990"/>
                  </a:cubicBezTo>
                  <a:cubicBezTo>
                    <a:pt x="3495" y="2005"/>
                    <a:pt x="3514" y="2020"/>
                    <a:pt x="3514" y="2033"/>
                  </a:cubicBezTo>
                  <a:cubicBezTo>
                    <a:pt x="3514" y="2044"/>
                    <a:pt x="3501" y="2056"/>
                    <a:pt x="3491" y="2064"/>
                  </a:cubicBezTo>
                  <a:lnTo>
                    <a:pt x="3467" y="2084"/>
                  </a:lnTo>
                  <a:cubicBezTo>
                    <a:pt x="3435" y="2109"/>
                    <a:pt x="3406" y="2133"/>
                    <a:pt x="3374" y="2156"/>
                  </a:cubicBezTo>
                  <a:lnTo>
                    <a:pt x="3364" y="2163"/>
                  </a:lnTo>
                  <a:cubicBezTo>
                    <a:pt x="3338" y="2181"/>
                    <a:pt x="3302" y="2208"/>
                    <a:pt x="3297" y="2242"/>
                  </a:cubicBezTo>
                  <a:cubicBezTo>
                    <a:pt x="3294" y="2254"/>
                    <a:pt x="3298" y="2265"/>
                    <a:pt x="3302" y="2277"/>
                  </a:cubicBezTo>
                  <a:cubicBezTo>
                    <a:pt x="3303" y="2283"/>
                    <a:pt x="3307" y="2290"/>
                    <a:pt x="3305" y="2296"/>
                  </a:cubicBezTo>
                  <a:cubicBezTo>
                    <a:pt x="3305" y="2305"/>
                    <a:pt x="3300" y="2310"/>
                    <a:pt x="3289" y="2316"/>
                  </a:cubicBezTo>
                  <a:lnTo>
                    <a:pt x="3284" y="2321"/>
                  </a:lnTo>
                  <a:cubicBezTo>
                    <a:pt x="3257" y="2344"/>
                    <a:pt x="3223" y="2371"/>
                    <a:pt x="3242" y="2420"/>
                  </a:cubicBezTo>
                  <a:cubicBezTo>
                    <a:pt x="3246" y="2427"/>
                    <a:pt x="3249" y="2433"/>
                    <a:pt x="3252" y="2441"/>
                  </a:cubicBezTo>
                  <a:cubicBezTo>
                    <a:pt x="3269" y="2473"/>
                    <a:pt x="3274" y="2489"/>
                    <a:pt x="3257" y="2506"/>
                  </a:cubicBezTo>
                  <a:cubicBezTo>
                    <a:pt x="3244" y="2517"/>
                    <a:pt x="3229" y="2516"/>
                    <a:pt x="3208" y="2511"/>
                  </a:cubicBezTo>
                  <a:cubicBezTo>
                    <a:pt x="3193" y="2509"/>
                    <a:pt x="3177" y="2506"/>
                    <a:pt x="3160" y="2509"/>
                  </a:cubicBezTo>
                  <a:cubicBezTo>
                    <a:pt x="3134" y="2516"/>
                    <a:pt x="3127" y="2530"/>
                    <a:pt x="3122" y="2545"/>
                  </a:cubicBezTo>
                  <a:cubicBezTo>
                    <a:pt x="3119" y="2550"/>
                    <a:pt x="3117" y="2555"/>
                    <a:pt x="3114" y="2560"/>
                  </a:cubicBezTo>
                  <a:cubicBezTo>
                    <a:pt x="3109" y="2570"/>
                    <a:pt x="3099" y="2573"/>
                    <a:pt x="3089" y="2578"/>
                  </a:cubicBezTo>
                  <a:cubicBezTo>
                    <a:pt x="3084" y="2580"/>
                    <a:pt x="3081" y="2581"/>
                    <a:pt x="3076" y="2585"/>
                  </a:cubicBezTo>
                  <a:cubicBezTo>
                    <a:pt x="3061" y="2593"/>
                    <a:pt x="3050" y="2601"/>
                    <a:pt x="3040" y="2609"/>
                  </a:cubicBezTo>
                  <a:cubicBezTo>
                    <a:pt x="3020" y="2623"/>
                    <a:pt x="3002" y="2634"/>
                    <a:pt x="2977" y="2641"/>
                  </a:cubicBezTo>
                  <a:cubicBezTo>
                    <a:pt x="2956" y="2646"/>
                    <a:pt x="2941" y="2656"/>
                    <a:pt x="2925" y="2665"/>
                  </a:cubicBezTo>
                  <a:cubicBezTo>
                    <a:pt x="2921" y="2667"/>
                    <a:pt x="2918" y="2670"/>
                    <a:pt x="2915" y="2672"/>
                  </a:cubicBezTo>
                  <a:cubicBezTo>
                    <a:pt x="2911" y="2675"/>
                    <a:pt x="2908" y="2679"/>
                    <a:pt x="2903" y="2680"/>
                  </a:cubicBezTo>
                  <a:cubicBezTo>
                    <a:pt x="2893" y="2689"/>
                    <a:pt x="2883" y="2695"/>
                    <a:pt x="2870" y="2698"/>
                  </a:cubicBezTo>
                  <a:cubicBezTo>
                    <a:pt x="2855" y="2703"/>
                    <a:pt x="2844" y="2698"/>
                    <a:pt x="2829" y="2690"/>
                  </a:cubicBezTo>
                  <a:cubicBezTo>
                    <a:pt x="2814" y="2684"/>
                    <a:pt x="2798" y="2674"/>
                    <a:pt x="2778" y="2679"/>
                  </a:cubicBezTo>
                  <a:cubicBezTo>
                    <a:pt x="2756" y="2684"/>
                    <a:pt x="2745" y="2698"/>
                    <a:pt x="2733" y="2712"/>
                  </a:cubicBezTo>
                  <a:cubicBezTo>
                    <a:pt x="2724" y="2725"/>
                    <a:pt x="2715" y="2735"/>
                    <a:pt x="2704" y="2738"/>
                  </a:cubicBezTo>
                  <a:cubicBezTo>
                    <a:pt x="2696" y="2740"/>
                    <a:pt x="2687" y="2735"/>
                    <a:pt x="2677" y="2731"/>
                  </a:cubicBezTo>
                  <a:cubicBezTo>
                    <a:pt x="2674" y="2730"/>
                    <a:pt x="2671" y="2730"/>
                    <a:pt x="2669" y="2728"/>
                  </a:cubicBezTo>
                  <a:cubicBezTo>
                    <a:pt x="2643" y="2718"/>
                    <a:pt x="2628" y="2722"/>
                    <a:pt x="2607" y="2726"/>
                  </a:cubicBezTo>
                  <a:lnTo>
                    <a:pt x="2600" y="2726"/>
                  </a:lnTo>
                  <a:cubicBezTo>
                    <a:pt x="2564" y="2735"/>
                    <a:pt x="2554" y="2723"/>
                    <a:pt x="2531" y="2700"/>
                  </a:cubicBezTo>
                  <a:cubicBezTo>
                    <a:pt x="2527" y="2695"/>
                    <a:pt x="2523" y="2692"/>
                    <a:pt x="2518" y="2687"/>
                  </a:cubicBezTo>
                  <a:cubicBezTo>
                    <a:pt x="2485" y="2654"/>
                    <a:pt x="2443" y="2659"/>
                    <a:pt x="2404" y="2662"/>
                  </a:cubicBezTo>
                  <a:lnTo>
                    <a:pt x="2391" y="2664"/>
                  </a:lnTo>
                  <a:cubicBezTo>
                    <a:pt x="2368" y="2667"/>
                    <a:pt x="2341" y="2670"/>
                    <a:pt x="2325" y="2656"/>
                  </a:cubicBezTo>
                  <a:cubicBezTo>
                    <a:pt x="2317" y="2647"/>
                    <a:pt x="2312" y="2637"/>
                    <a:pt x="2307" y="2626"/>
                  </a:cubicBezTo>
                  <a:cubicBezTo>
                    <a:pt x="2297" y="2609"/>
                    <a:pt x="2287" y="2588"/>
                    <a:pt x="2262" y="2578"/>
                  </a:cubicBezTo>
                  <a:cubicBezTo>
                    <a:pt x="2221" y="2560"/>
                    <a:pt x="2198" y="2580"/>
                    <a:pt x="2177" y="2598"/>
                  </a:cubicBezTo>
                  <a:cubicBezTo>
                    <a:pt x="2170" y="2605"/>
                    <a:pt x="2163" y="2611"/>
                    <a:pt x="2155" y="2616"/>
                  </a:cubicBezTo>
                  <a:cubicBezTo>
                    <a:pt x="2134" y="2629"/>
                    <a:pt x="2107" y="2623"/>
                    <a:pt x="2081" y="2618"/>
                  </a:cubicBezTo>
                  <a:cubicBezTo>
                    <a:pt x="2068" y="2614"/>
                    <a:pt x="2053" y="2611"/>
                    <a:pt x="2042" y="2611"/>
                  </a:cubicBezTo>
                  <a:cubicBezTo>
                    <a:pt x="1984" y="2608"/>
                    <a:pt x="1953" y="2639"/>
                    <a:pt x="1925" y="2667"/>
                  </a:cubicBezTo>
                  <a:cubicBezTo>
                    <a:pt x="1901" y="2690"/>
                    <a:pt x="1877" y="2707"/>
                    <a:pt x="1842" y="2722"/>
                  </a:cubicBezTo>
                  <a:cubicBezTo>
                    <a:pt x="1834" y="2725"/>
                    <a:pt x="1826" y="2728"/>
                    <a:pt x="1819" y="2731"/>
                  </a:cubicBezTo>
                  <a:cubicBezTo>
                    <a:pt x="1789" y="2743"/>
                    <a:pt x="1760" y="2754"/>
                    <a:pt x="1735" y="2774"/>
                  </a:cubicBezTo>
                  <a:cubicBezTo>
                    <a:pt x="1712" y="2792"/>
                    <a:pt x="1699" y="2817"/>
                    <a:pt x="1686" y="2842"/>
                  </a:cubicBezTo>
                  <a:cubicBezTo>
                    <a:pt x="1681" y="2852"/>
                    <a:pt x="1674" y="2863"/>
                    <a:pt x="1668" y="2873"/>
                  </a:cubicBezTo>
                  <a:cubicBezTo>
                    <a:pt x="1659" y="2885"/>
                    <a:pt x="1649" y="2894"/>
                    <a:pt x="1640" y="2906"/>
                  </a:cubicBezTo>
                  <a:cubicBezTo>
                    <a:pt x="1633" y="2914"/>
                    <a:pt x="1626" y="2921"/>
                    <a:pt x="1621" y="2929"/>
                  </a:cubicBezTo>
                  <a:cubicBezTo>
                    <a:pt x="1603" y="2950"/>
                    <a:pt x="1598" y="2967"/>
                    <a:pt x="1593" y="2988"/>
                  </a:cubicBezTo>
                  <a:lnTo>
                    <a:pt x="1590" y="2997"/>
                  </a:lnTo>
                  <a:cubicBezTo>
                    <a:pt x="1582" y="3030"/>
                    <a:pt x="1567" y="3035"/>
                    <a:pt x="1531" y="3038"/>
                  </a:cubicBezTo>
                  <a:cubicBezTo>
                    <a:pt x="1486" y="3039"/>
                    <a:pt x="1463" y="3043"/>
                    <a:pt x="1437" y="3086"/>
                  </a:cubicBezTo>
                  <a:cubicBezTo>
                    <a:pt x="1414" y="3122"/>
                    <a:pt x="1389" y="3145"/>
                    <a:pt x="1358" y="3168"/>
                  </a:cubicBezTo>
                  <a:cubicBezTo>
                    <a:pt x="1327" y="3193"/>
                    <a:pt x="1312" y="3217"/>
                    <a:pt x="1297" y="3245"/>
                  </a:cubicBezTo>
                  <a:cubicBezTo>
                    <a:pt x="1290" y="3255"/>
                    <a:pt x="1285" y="3265"/>
                    <a:pt x="1279" y="3275"/>
                  </a:cubicBezTo>
                  <a:cubicBezTo>
                    <a:pt x="1272" y="3285"/>
                    <a:pt x="1266" y="3292"/>
                    <a:pt x="1259" y="3300"/>
                  </a:cubicBezTo>
                  <a:lnTo>
                    <a:pt x="1259" y="3300"/>
                  </a:lnTo>
                  <a:lnTo>
                    <a:pt x="1259" y="3300"/>
                  </a:lnTo>
                  <a:cubicBezTo>
                    <a:pt x="1249" y="3301"/>
                    <a:pt x="1241" y="3301"/>
                    <a:pt x="1231" y="3305"/>
                  </a:cubicBezTo>
                  <a:cubicBezTo>
                    <a:pt x="1221" y="3306"/>
                    <a:pt x="1213" y="3310"/>
                    <a:pt x="1205" y="3311"/>
                  </a:cubicBezTo>
                  <a:cubicBezTo>
                    <a:pt x="1175" y="3320"/>
                    <a:pt x="1157" y="3324"/>
                    <a:pt x="1127" y="3308"/>
                  </a:cubicBezTo>
                  <a:cubicBezTo>
                    <a:pt x="1091" y="3288"/>
                    <a:pt x="1055" y="3277"/>
                    <a:pt x="1004" y="3285"/>
                  </a:cubicBezTo>
                  <a:cubicBezTo>
                    <a:pt x="992" y="3287"/>
                    <a:pt x="982" y="3288"/>
                    <a:pt x="972" y="3290"/>
                  </a:cubicBezTo>
                  <a:cubicBezTo>
                    <a:pt x="941" y="3296"/>
                    <a:pt x="916" y="3301"/>
                    <a:pt x="883" y="3292"/>
                  </a:cubicBezTo>
                  <a:lnTo>
                    <a:pt x="880" y="3290"/>
                  </a:lnTo>
                  <a:cubicBezTo>
                    <a:pt x="862" y="3283"/>
                    <a:pt x="845" y="3278"/>
                    <a:pt x="821" y="3282"/>
                  </a:cubicBezTo>
                  <a:cubicBezTo>
                    <a:pt x="814" y="3282"/>
                    <a:pt x="808" y="3283"/>
                    <a:pt x="803" y="3285"/>
                  </a:cubicBezTo>
                  <a:cubicBezTo>
                    <a:pt x="791" y="3287"/>
                    <a:pt x="783" y="3290"/>
                    <a:pt x="773" y="3287"/>
                  </a:cubicBezTo>
                  <a:cubicBezTo>
                    <a:pt x="750" y="3278"/>
                    <a:pt x="737" y="3254"/>
                    <a:pt x="733" y="3209"/>
                  </a:cubicBezTo>
                  <a:lnTo>
                    <a:pt x="733" y="3198"/>
                  </a:lnTo>
                  <a:cubicBezTo>
                    <a:pt x="730" y="3151"/>
                    <a:pt x="725" y="3087"/>
                    <a:pt x="689" y="3056"/>
                  </a:cubicBezTo>
                  <a:cubicBezTo>
                    <a:pt x="673" y="3043"/>
                    <a:pt x="651" y="3038"/>
                    <a:pt x="626" y="3039"/>
                  </a:cubicBezTo>
                  <a:cubicBezTo>
                    <a:pt x="526" y="3051"/>
                    <a:pt x="493" y="3196"/>
                    <a:pt x="486" y="3226"/>
                  </a:cubicBezTo>
                  <a:cubicBezTo>
                    <a:pt x="485" y="3239"/>
                    <a:pt x="480" y="3265"/>
                    <a:pt x="467" y="3273"/>
                  </a:cubicBezTo>
                  <a:cubicBezTo>
                    <a:pt x="462" y="3275"/>
                    <a:pt x="457" y="3277"/>
                    <a:pt x="448" y="3273"/>
                  </a:cubicBezTo>
                  <a:cubicBezTo>
                    <a:pt x="425" y="3268"/>
                    <a:pt x="420" y="3244"/>
                    <a:pt x="416" y="3209"/>
                  </a:cubicBezTo>
                  <a:cubicBezTo>
                    <a:pt x="416" y="3203"/>
                    <a:pt x="414" y="3194"/>
                    <a:pt x="412" y="3188"/>
                  </a:cubicBezTo>
                  <a:cubicBezTo>
                    <a:pt x="407" y="3163"/>
                    <a:pt x="396" y="3145"/>
                    <a:pt x="384" y="3127"/>
                  </a:cubicBezTo>
                  <a:cubicBezTo>
                    <a:pt x="374" y="3115"/>
                    <a:pt x="366" y="3102"/>
                    <a:pt x="361" y="3087"/>
                  </a:cubicBezTo>
                  <a:cubicBezTo>
                    <a:pt x="358" y="3076"/>
                    <a:pt x="350" y="3064"/>
                    <a:pt x="341" y="3051"/>
                  </a:cubicBezTo>
                  <a:cubicBezTo>
                    <a:pt x="330" y="3035"/>
                    <a:pt x="318" y="3015"/>
                    <a:pt x="320" y="3000"/>
                  </a:cubicBezTo>
                  <a:cubicBezTo>
                    <a:pt x="320" y="2988"/>
                    <a:pt x="325" y="2980"/>
                    <a:pt x="328" y="2972"/>
                  </a:cubicBezTo>
                  <a:cubicBezTo>
                    <a:pt x="338" y="2950"/>
                    <a:pt x="341" y="2932"/>
                    <a:pt x="307" y="2906"/>
                  </a:cubicBezTo>
                  <a:cubicBezTo>
                    <a:pt x="303" y="2903"/>
                    <a:pt x="300" y="2899"/>
                    <a:pt x="295" y="2896"/>
                  </a:cubicBezTo>
                  <a:cubicBezTo>
                    <a:pt x="297" y="2894"/>
                    <a:pt x="297" y="2891"/>
                    <a:pt x="297" y="2888"/>
                  </a:cubicBezTo>
                  <a:cubicBezTo>
                    <a:pt x="299" y="2880"/>
                    <a:pt x="297" y="2871"/>
                    <a:pt x="295" y="2865"/>
                  </a:cubicBezTo>
                  <a:cubicBezTo>
                    <a:pt x="294" y="2857"/>
                    <a:pt x="294" y="2850"/>
                    <a:pt x="295" y="2843"/>
                  </a:cubicBezTo>
                  <a:cubicBezTo>
                    <a:pt x="297" y="2838"/>
                    <a:pt x="300" y="2837"/>
                    <a:pt x="305" y="2832"/>
                  </a:cubicBezTo>
                  <a:cubicBezTo>
                    <a:pt x="308" y="2830"/>
                    <a:pt x="313" y="2827"/>
                    <a:pt x="317" y="2822"/>
                  </a:cubicBezTo>
                  <a:cubicBezTo>
                    <a:pt x="343" y="2794"/>
                    <a:pt x="331" y="2761"/>
                    <a:pt x="322" y="2736"/>
                  </a:cubicBezTo>
                  <a:cubicBezTo>
                    <a:pt x="318" y="2728"/>
                    <a:pt x="315" y="2718"/>
                    <a:pt x="312" y="2710"/>
                  </a:cubicBezTo>
                  <a:cubicBezTo>
                    <a:pt x="312" y="2703"/>
                    <a:pt x="310" y="2695"/>
                    <a:pt x="310" y="2687"/>
                  </a:cubicBezTo>
                  <a:cubicBezTo>
                    <a:pt x="310" y="2675"/>
                    <a:pt x="310" y="2664"/>
                    <a:pt x="305" y="2654"/>
                  </a:cubicBezTo>
                  <a:cubicBezTo>
                    <a:pt x="302" y="2642"/>
                    <a:pt x="299" y="2639"/>
                    <a:pt x="294" y="2634"/>
                  </a:cubicBezTo>
                  <a:cubicBezTo>
                    <a:pt x="294" y="2633"/>
                    <a:pt x="292" y="2631"/>
                    <a:pt x="289" y="2629"/>
                  </a:cubicBezTo>
                  <a:cubicBezTo>
                    <a:pt x="285" y="2624"/>
                    <a:pt x="284" y="2623"/>
                    <a:pt x="280" y="2621"/>
                  </a:cubicBezTo>
                  <a:cubicBezTo>
                    <a:pt x="275" y="2614"/>
                    <a:pt x="274" y="2613"/>
                    <a:pt x="272" y="2601"/>
                  </a:cubicBezTo>
                  <a:cubicBezTo>
                    <a:pt x="271" y="2600"/>
                    <a:pt x="271" y="2596"/>
                    <a:pt x="271" y="2593"/>
                  </a:cubicBezTo>
                  <a:cubicBezTo>
                    <a:pt x="271" y="2581"/>
                    <a:pt x="269" y="2567"/>
                    <a:pt x="252" y="2557"/>
                  </a:cubicBezTo>
                  <a:cubicBezTo>
                    <a:pt x="234" y="2547"/>
                    <a:pt x="213" y="2557"/>
                    <a:pt x="195" y="2565"/>
                  </a:cubicBezTo>
                  <a:cubicBezTo>
                    <a:pt x="185" y="2568"/>
                    <a:pt x="177" y="2573"/>
                    <a:pt x="170" y="2573"/>
                  </a:cubicBezTo>
                  <a:cubicBezTo>
                    <a:pt x="157" y="2575"/>
                    <a:pt x="147" y="2565"/>
                    <a:pt x="134" y="2549"/>
                  </a:cubicBezTo>
                  <a:cubicBezTo>
                    <a:pt x="124" y="2537"/>
                    <a:pt x="114" y="2525"/>
                    <a:pt x="101" y="2519"/>
                  </a:cubicBezTo>
                  <a:cubicBezTo>
                    <a:pt x="63" y="2497"/>
                    <a:pt x="55" y="2493"/>
                    <a:pt x="45" y="2453"/>
                  </a:cubicBezTo>
                  <a:cubicBezTo>
                    <a:pt x="42" y="2437"/>
                    <a:pt x="32" y="2422"/>
                    <a:pt x="23" y="2408"/>
                  </a:cubicBezTo>
                  <a:cubicBezTo>
                    <a:pt x="15" y="2392"/>
                    <a:pt x="5" y="2379"/>
                    <a:pt x="4" y="2366"/>
                  </a:cubicBezTo>
                  <a:cubicBezTo>
                    <a:pt x="0" y="2333"/>
                    <a:pt x="40" y="2303"/>
                    <a:pt x="61" y="2287"/>
                  </a:cubicBezTo>
                  <a:cubicBezTo>
                    <a:pt x="94" y="2259"/>
                    <a:pt x="129" y="2245"/>
                    <a:pt x="172" y="2227"/>
                  </a:cubicBezTo>
                  <a:cubicBezTo>
                    <a:pt x="208" y="2212"/>
                    <a:pt x="231" y="2189"/>
                    <a:pt x="246" y="2155"/>
                  </a:cubicBezTo>
                  <a:cubicBezTo>
                    <a:pt x="277" y="2077"/>
                    <a:pt x="262" y="2000"/>
                    <a:pt x="206" y="1957"/>
                  </a:cubicBezTo>
                  <a:lnTo>
                    <a:pt x="196" y="1951"/>
                  </a:lnTo>
                  <a:cubicBezTo>
                    <a:pt x="168" y="1931"/>
                    <a:pt x="150" y="1914"/>
                    <a:pt x="154" y="1891"/>
                  </a:cubicBezTo>
                  <a:cubicBezTo>
                    <a:pt x="159" y="1863"/>
                    <a:pt x="190" y="1847"/>
                    <a:pt x="216" y="1835"/>
                  </a:cubicBezTo>
                  <a:lnTo>
                    <a:pt x="223" y="1832"/>
                  </a:lnTo>
                  <a:cubicBezTo>
                    <a:pt x="267" y="1809"/>
                    <a:pt x="290" y="1781"/>
                    <a:pt x="290" y="1743"/>
                  </a:cubicBezTo>
                  <a:cubicBezTo>
                    <a:pt x="290" y="1703"/>
                    <a:pt x="261" y="1685"/>
                    <a:pt x="238" y="1670"/>
                  </a:cubicBezTo>
                  <a:cubicBezTo>
                    <a:pt x="231" y="1667"/>
                    <a:pt x="224" y="1662"/>
                    <a:pt x="219" y="1659"/>
                  </a:cubicBezTo>
                  <a:cubicBezTo>
                    <a:pt x="193" y="1639"/>
                    <a:pt x="185" y="1616"/>
                    <a:pt x="175" y="1580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8" name="Freeform 74">
              <a:extLst>
                <a:ext uri="{FF2B5EF4-FFF2-40B4-BE49-F238E27FC236}">
                  <a16:creationId xmlns:a16="http://schemas.microsoft.com/office/drawing/2014/main" id="{94C475BF-B4F5-D84E-8E4D-14092212AD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625" y="2906713"/>
              <a:ext cx="917575" cy="1231900"/>
            </a:xfrm>
            <a:custGeom>
              <a:avLst/>
              <a:gdLst>
                <a:gd name="T0" fmla="*/ 2204 w 2551"/>
                <a:gd name="T1" fmla="*/ 732 h 3420"/>
                <a:gd name="T2" fmla="*/ 2149 w 2551"/>
                <a:gd name="T3" fmla="*/ 918 h 3420"/>
                <a:gd name="T4" fmla="*/ 2200 w 2551"/>
                <a:gd name="T5" fmla="*/ 1127 h 3420"/>
                <a:gd name="T6" fmla="*/ 2258 w 2551"/>
                <a:gd name="T7" fmla="*/ 1285 h 3420"/>
                <a:gd name="T8" fmla="*/ 2233 w 2551"/>
                <a:gd name="T9" fmla="*/ 1394 h 3420"/>
                <a:gd name="T10" fmla="*/ 2205 w 2551"/>
                <a:gd name="T11" fmla="*/ 1488 h 3420"/>
                <a:gd name="T12" fmla="*/ 2298 w 2551"/>
                <a:gd name="T13" fmla="*/ 1640 h 3420"/>
                <a:gd name="T14" fmla="*/ 2513 w 2551"/>
                <a:gd name="T15" fmla="*/ 1679 h 3420"/>
                <a:gd name="T16" fmla="*/ 2494 w 2551"/>
                <a:gd name="T17" fmla="*/ 1733 h 3420"/>
                <a:gd name="T18" fmla="*/ 2420 w 2551"/>
                <a:gd name="T19" fmla="*/ 1763 h 3420"/>
                <a:gd name="T20" fmla="*/ 2354 w 2551"/>
                <a:gd name="T21" fmla="*/ 1936 h 3420"/>
                <a:gd name="T22" fmla="*/ 2322 w 2551"/>
                <a:gd name="T23" fmla="*/ 2033 h 3420"/>
                <a:gd name="T24" fmla="*/ 2387 w 2551"/>
                <a:gd name="T25" fmla="*/ 2201 h 3420"/>
                <a:gd name="T26" fmla="*/ 2364 w 2551"/>
                <a:gd name="T27" fmla="*/ 2320 h 3420"/>
                <a:gd name="T28" fmla="*/ 2304 w 2551"/>
                <a:gd name="T29" fmla="*/ 2460 h 3420"/>
                <a:gd name="T30" fmla="*/ 2214 w 2551"/>
                <a:gd name="T31" fmla="*/ 2555 h 3420"/>
                <a:gd name="T32" fmla="*/ 2181 w 2551"/>
                <a:gd name="T33" fmla="*/ 2623 h 3420"/>
                <a:gd name="T34" fmla="*/ 2136 w 2551"/>
                <a:gd name="T35" fmla="*/ 2770 h 3420"/>
                <a:gd name="T36" fmla="*/ 2257 w 2551"/>
                <a:gd name="T37" fmla="*/ 3046 h 3420"/>
                <a:gd name="T38" fmla="*/ 2294 w 2551"/>
                <a:gd name="T39" fmla="*/ 3277 h 3420"/>
                <a:gd name="T40" fmla="*/ 2240 w 2551"/>
                <a:gd name="T41" fmla="*/ 3399 h 3420"/>
                <a:gd name="T42" fmla="*/ 2018 w 2551"/>
                <a:gd name="T43" fmla="*/ 3284 h 3420"/>
                <a:gd name="T44" fmla="*/ 1889 w 2551"/>
                <a:gd name="T45" fmla="*/ 3236 h 3420"/>
                <a:gd name="T46" fmla="*/ 1556 w 2551"/>
                <a:gd name="T47" fmla="*/ 3104 h 3420"/>
                <a:gd name="T48" fmla="*/ 1336 w 2551"/>
                <a:gd name="T49" fmla="*/ 3099 h 3420"/>
                <a:gd name="T50" fmla="*/ 1088 w 2551"/>
                <a:gd name="T51" fmla="*/ 3167 h 3420"/>
                <a:gd name="T52" fmla="*/ 792 w 2551"/>
                <a:gd name="T53" fmla="*/ 3165 h 3420"/>
                <a:gd name="T54" fmla="*/ 739 w 2551"/>
                <a:gd name="T55" fmla="*/ 3038 h 3420"/>
                <a:gd name="T56" fmla="*/ 795 w 2551"/>
                <a:gd name="T57" fmla="*/ 2783 h 3420"/>
                <a:gd name="T58" fmla="*/ 528 w 2551"/>
                <a:gd name="T59" fmla="*/ 2691 h 3420"/>
                <a:gd name="T60" fmla="*/ 357 w 2551"/>
                <a:gd name="T61" fmla="*/ 2687 h 3420"/>
                <a:gd name="T62" fmla="*/ 159 w 2551"/>
                <a:gd name="T63" fmla="*/ 2697 h 3420"/>
                <a:gd name="T64" fmla="*/ 187 w 2551"/>
                <a:gd name="T65" fmla="*/ 2437 h 3420"/>
                <a:gd name="T66" fmla="*/ 197 w 2551"/>
                <a:gd name="T67" fmla="*/ 2300 h 3420"/>
                <a:gd name="T68" fmla="*/ 324 w 2551"/>
                <a:gd name="T69" fmla="*/ 2063 h 3420"/>
                <a:gd name="T70" fmla="*/ 374 w 2551"/>
                <a:gd name="T71" fmla="*/ 1758 h 3420"/>
                <a:gd name="T72" fmla="*/ 148 w 2551"/>
                <a:gd name="T73" fmla="*/ 1577 h 3420"/>
                <a:gd name="T74" fmla="*/ 64 w 2551"/>
                <a:gd name="T75" fmla="*/ 1467 h 3420"/>
                <a:gd name="T76" fmla="*/ 14 w 2551"/>
                <a:gd name="T77" fmla="*/ 1256 h 3420"/>
                <a:gd name="T78" fmla="*/ 80 w 2551"/>
                <a:gd name="T79" fmla="*/ 1071 h 3420"/>
                <a:gd name="T80" fmla="*/ 266 w 2551"/>
                <a:gd name="T81" fmla="*/ 915 h 3420"/>
                <a:gd name="T82" fmla="*/ 402 w 2551"/>
                <a:gd name="T83" fmla="*/ 733 h 3420"/>
                <a:gd name="T84" fmla="*/ 505 w 2551"/>
                <a:gd name="T85" fmla="*/ 598 h 3420"/>
                <a:gd name="T86" fmla="*/ 749 w 2551"/>
                <a:gd name="T87" fmla="*/ 404 h 3420"/>
                <a:gd name="T88" fmla="*/ 840 w 2551"/>
                <a:gd name="T89" fmla="*/ 262 h 3420"/>
                <a:gd name="T90" fmla="*/ 1074 w 2551"/>
                <a:gd name="T91" fmla="*/ 94 h 3420"/>
                <a:gd name="T92" fmla="*/ 1326 w 2551"/>
                <a:gd name="T93" fmla="*/ 27 h 3420"/>
                <a:gd name="T94" fmla="*/ 1525 w 2551"/>
                <a:gd name="T95" fmla="*/ 98 h 3420"/>
                <a:gd name="T96" fmla="*/ 1736 w 2551"/>
                <a:gd name="T97" fmla="*/ 162 h 3420"/>
                <a:gd name="T98" fmla="*/ 1840 w 2551"/>
                <a:gd name="T99" fmla="*/ 172 h 3420"/>
                <a:gd name="T100" fmla="*/ 2009 w 2551"/>
                <a:gd name="T101" fmla="*/ 132 h 3420"/>
                <a:gd name="T102" fmla="*/ 2189 w 2551"/>
                <a:gd name="T103" fmla="*/ 444 h 3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51" h="3420">
                  <a:moveTo>
                    <a:pt x="2194" y="607"/>
                  </a:moveTo>
                  <a:lnTo>
                    <a:pt x="2194" y="610"/>
                  </a:lnTo>
                  <a:cubicBezTo>
                    <a:pt x="2194" y="626"/>
                    <a:pt x="2197" y="644"/>
                    <a:pt x="2200" y="663"/>
                  </a:cubicBezTo>
                  <a:cubicBezTo>
                    <a:pt x="2205" y="689"/>
                    <a:pt x="2210" y="715"/>
                    <a:pt x="2204" y="732"/>
                  </a:cubicBezTo>
                  <a:cubicBezTo>
                    <a:pt x="2199" y="743"/>
                    <a:pt x="2181" y="758"/>
                    <a:pt x="2163" y="773"/>
                  </a:cubicBezTo>
                  <a:cubicBezTo>
                    <a:pt x="2131" y="798"/>
                    <a:pt x="2100" y="824"/>
                    <a:pt x="2098" y="857"/>
                  </a:cubicBezTo>
                  <a:cubicBezTo>
                    <a:pt x="2098" y="872"/>
                    <a:pt x="2105" y="885"/>
                    <a:pt x="2120" y="898"/>
                  </a:cubicBezTo>
                  <a:cubicBezTo>
                    <a:pt x="2130" y="906"/>
                    <a:pt x="2140" y="913"/>
                    <a:pt x="2149" y="918"/>
                  </a:cubicBezTo>
                  <a:cubicBezTo>
                    <a:pt x="2166" y="928"/>
                    <a:pt x="2181" y="936"/>
                    <a:pt x="2184" y="958"/>
                  </a:cubicBezTo>
                  <a:cubicBezTo>
                    <a:pt x="2189" y="976"/>
                    <a:pt x="2184" y="994"/>
                    <a:pt x="2179" y="1014"/>
                  </a:cubicBezTo>
                  <a:cubicBezTo>
                    <a:pt x="2174" y="1032"/>
                    <a:pt x="2169" y="1050"/>
                    <a:pt x="2171" y="1071"/>
                  </a:cubicBezTo>
                  <a:cubicBezTo>
                    <a:pt x="2174" y="1098"/>
                    <a:pt x="2189" y="1114"/>
                    <a:pt x="2200" y="1127"/>
                  </a:cubicBezTo>
                  <a:cubicBezTo>
                    <a:pt x="2210" y="1137"/>
                    <a:pt x="2219" y="1147"/>
                    <a:pt x="2222" y="1158"/>
                  </a:cubicBezTo>
                  <a:cubicBezTo>
                    <a:pt x="2227" y="1170"/>
                    <a:pt x="2225" y="1183"/>
                    <a:pt x="2225" y="1196"/>
                  </a:cubicBezTo>
                  <a:cubicBezTo>
                    <a:pt x="2225" y="1215"/>
                    <a:pt x="2224" y="1234"/>
                    <a:pt x="2233" y="1254"/>
                  </a:cubicBezTo>
                  <a:cubicBezTo>
                    <a:pt x="2240" y="1266"/>
                    <a:pt x="2248" y="1275"/>
                    <a:pt x="2258" y="1285"/>
                  </a:cubicBezTo>
                  <a:cubicBezTo>
                    <a:pt x="2278" y="1305"/>
                    <a:pt x="2288" y="1317"/>
                    <a:pt x="2278" y="1336"/>
                  </a:cubicBezTo>
                  <a:cubicBezTo>
                    <a:pt x="2275" y="1341"/>
                    <a:pt x="2270" y="1346"/>
                    <a:pt x="2263" y="1353"/>
                  </a:cubicBezTo>
                  <a:cubicBezTo>
                    <a:pt x="2258" y="1358"/>
                    <a:pt x="2253" y="1363"/>
                    <a:pt x="2248" y="1369"/>
                  </a:cubicBezTo>
                  <a:cubicBezTo>
                    <a:pt x="2243" y="1376"/>
                    <a:pt x="2238" y="1386"/>
                    <a:pt x="2233" y="1394"/>
                  </a:cubicBezTo>
                  <a:cubicBezTo>
                    <a:pt x="2230" y="1402"/>
                    <a:pt x="2227" y="1409"/>
                    <a:pt x="2222" y="1415"/>
                  </a:cubicBezTo>
                  <a:lnTo>
                    <a:pt x="2220" y="1419"/>
                  </a:lnTo>
                  <a:cubicBezTo>
                    <a:pt x="2207" y="1437"/>
                    <a:pt x="2199" y="1450"/>
                    <a:pt x="2204" y="1478"/>
                  </a:cubicBezTo>
                  <a:lnTo>
                    <a:pt x="2205" y="1488"/>
                  </a:lnTo>
                  <a:cubicBezTo>
                    <a:pt x="2209" y="1503"/>
                    <a:pt x="2210" y="1511"/>
                    <a:pt x="2207" y="1526"/>
                  </a:cubicBezTo>
                  <a:cubicBezTo>
                    <a:pt x="2205" y="1531"/>
                    <a:pt x="2204" y="1536"/>
                    <a:pt x="2202" y="1542"/>
                  </a:cubicBezTo>
                  <a:cubicBezTo>
                    <a:pt x="2192" y="1570"/>
                    <a:pt x="2179" y="1608"/>
                    <a:pt x="2217" y="1635"/>
                  </a:cubicBezTo>
                  <a:cubicBezTo>
                    <a:pt x="2243" y="1653"/>
                    <a:pt x="2273" y="1644"/>
                    <a:pt x="2298" y="1640"/>
                  </a:cubicBezTo>
                  <a:cubicBezTo>
                    <a:pt x="2311" y="1636"/>
                    <a:pt x="2324" y="1633"/>
                    <a:pt x="2337" y="1633"/>
                  </a:cubicBezTo>
                  <a:cubicBezTo>
                    <a:pt x="2354" y="1635"/>
                    <a:pt x="2370" y="1644"/>
                    <a:pt x="2388" y="1654"/>
                  </a:cubicBezTo>
                  <a:cubicBezTo>
                    <a:pt x="2403" y="1663"/>
                    <a:pt x="2420" y="1672"/>
                    <a:pt x="2438" y="1676"/>
                  </a:cubicBezTo>
                  <a:cubicBezTo>
                    <a:pt x="2464" y="1684"/>
                    <a:pt x="2490" y="1684"/>
                    <a:pt x="2513" y="1679"/>
                  </a:cubicBezTo>
                  <a:cubicBezTo>
                    <a:pt x="2520" y="1677"/>
                    <a:pt x="2527" y="1676"/>
                    <a:pt x="2533" y="1672"/>
                  </a:cubicBezTo>
                  <a:cubicBezTo>
                    <a:pt x="2538" y="1671"/>
                    <a:pt x="2543" y="1668"/>
                    <a:pt x="2550" y="1666"/>
                  </a:cubicBezTo>
                  <a:cubicBezTo>
                    <a:pt x="2545" y="1682"/>
                    <a:pt x="2540" y="1697"/>
                    <a:pt x="2530" y="1709"/>
                  </a:cubicBezTo>
                  <a:cubicBezTo>
                    <a:pt x="2522" y="1720"/>
                    <a:pt x="2509" y="1727"/>
                    <a:pt x="2494" y="1733"/>
                  </a:cubicBezTo>
                  <a:cubicBezTo>
                    <a:pt x="2489" y="1737"/>
                    <a:pt x="2482" y="1738"/>
                    <a:pt x="2477" y="1742"/>
                  </a:cubicBezTo>
                  <a:cubicBezTo>
                    <a:pt x="2472" y="1745"/>
                    <a:pt x="2469" y="1747"/>
                    <a:pt x="2464" y="1750"/>
                  </a:cubicBezTo>
                  <a:cubicBezTo>
                    <a:pt x="2457" y="1755"/>
                    <a:pt x="2451" y="1758"/>
                    <a:pt x="2444" y="1761"/>
                  </a:cubicBezTo>
                  <a:cubicBezTo>
                    <a:pt x="2438" y="1763"/>
                    <a:pt x="2428" y="1763"/>
                    <a:pt x="2420" y="1763"/>
                  </a:cubicBezTo>
                  <a:cubicBezTo>
                    <a:pt x="2410" y="1763"/>
                    <a:pt x="2400" y="1763"/>
                    <a:pt x="2390" y="1766"/>
                  </a:cubicBezTo>
                  <a:cubicBezTo>
                    <a:pt x="2352" y="1776"/>
                    <a:pt x="2331" y="1816"/>
                    <a:pt x="2332" y="1870"/>
                  </a:cubicBezTo>
                  <a:cubicBezTo>
                    <a:pt x="2334" y="1888"/>
                    <a:pt x="2339" y="1901"/>
                    <a:pt x="2345" y="1913"/>
                  </a:cubicBezTo>
                  <a:cubicBezTo>
                    <a:pt x="2349" y="1921"/>
                    <a:pt x="2352" y="1928"/>
                    <a:pt x="2354" y="1936"/>
                  </a:cubicBezTo>
                  <a:cubicBezTo>
                    <a:pt x="2357" y="1951"/>
                    <a:pt x="2355" y="1953"/>
                    <a:pt x="2347" y="1959"/>
                  </a:cubicBezTo>
                  <a:cubicBezTo>
                    <a:pt x="2341" y="1964"/>
                    <a:pt x="2331" y="1971"/>
                    <a:pt x="2324" y="1984"/>
                  </a:cubicBezTo>
                  <a:cubicBezTo>
                    <a:pt x="2319" y="1995"/>
                    <a:pt x="2321" y="2007"/>
                    <a:pt x="2322" y="2017"/>
                  </a:cubicBezTo>
                  <a:cubicBezTo>
                    <a:pt x="2322" y="2023"/>
                    <a:pt x="2324" y="2028"/>
                    <a:pt x="2322" y="2033"/>
                  </a:cubicBezTo>
                  <a:cubicBezTo>
                    <a:pt x="2321" y="2040"/>
                    <a:pt x="2319" y="2045"/>
                    <a:pt x="2316" y="2050"/>
                  </a:cubicBezTo>
                  <a:cubicBezTo>
                    <a:pt x="2309" y="2060"/>
                    <a:pt x="2301" y="2074"/>
                    <a:pt x="2311" y="2096"/>
                  </a:cubicBezTo>
                  <a:cubicBezTo>
                    <a:pt x="2319" y="2116"/>
                    <a:pt x="2336" y="2130"/>
                    <a:pt x="2350" y="2144"/>
                  </a:cubicBezTo>
                  <a:cubicBezTo>
                    <a:pt x="2370" y="2162"/>
                    <a:pt x="2388" y="2177"/>
                    <a:pt x="2387" y="2201"/>
                  </a:cubicBezTo>
                  <a:cubicBezTo>
                    <a:pt x="2387" y="2214"/>
                    <a:pt x="2378" y="2226"/>
                    <a:pt x="2370" y="2238"/>
                  </a:cubicBezTo>
                  <a:cubicBezTo>
                    <a:pt x="2369" y="2241"/>
                    <a:pt x="2365" y="2244"/>
                    <a:pt x="2364" y="2249"/>
                  </a:cubicBezTo>
                  <a:cubicBezTo>
                    <a:pt x="2345" y="2274"/>
                    <a:pt x="2352" y="2289"/>
                    <a:pt x="2357" y="2302"/>
                  </a:cubicBezTo>
                  <a:cubicBezTo>
                    <a:pt x="2360" y="2307"/>
                    <a:pt x="2362" y="2313"/>
                    <a:pt x="2364" y="2320"/>
                  </a:cubicBezTo>
                  <a:cubicBezTo>
                    <a:pt x="2367" y="2338"/>
                    <a:pt x="2360" y="2346"/>
                    <a:pt x="2347" y="2359"/>
                  </a:cubicBezTo>
                  <a:cubicBezTo>
                    <a:pt x="2344" y="2364"/>
                    <a:pt x="2341" y="2368"/>
                    <a:pt x="2337" y="2373"/>
                  </a:cubicBezTo>
                  <a:cubicBezTo>
                    <a:pt x="2322" y="2392"/>
                    <a:pt x="2317" y="2411"/>
                    <a:pt x="2314" y="2429"/>
                  </a:cubicBezTo>
                  <a:cubicBezTo>
                    <a:pt x="2311" y="2440"/>
                    <a:pt x="2309" y="2450"/>
                    <a:pt x="2304" y="2460"/>
                  </a:cubicBezTo>
                  <a:cubicBezTo>
                    <a:pt x="2299" y="2473"/>
                    <a:pt x="2288" y="2483"/>
                    <a:pt x="2276" y="2495"/>
                  </a:cubicBezTo>
                  <a:cubicBezTo>
                    <a:pt x="2270" y="2501"/>
                    <a:pt x="2261" y="2506"/>
                    <a:pt x="2255" y="2514"/>
                  </a:cubicBezTo>
                  <a:lnTo>
                    <a:pt x="2248" y="2524"/>
                  </a:lnTo>
                  <a:cubicBezTo>
                    <a:pt x="2237" y="2536"/>
                    <a:pt x="2228" y="2547"/>
                    <a:pt x="2214" y="2555"/>
                  </a:cubicBezTo>
                  <a:cubicBezTo>
                    <a:pt x="2210" y="2559"/>
                    <a:pt x="2205" y="2560"/>
                    <a:pt x="2202" y="2562"/>
                  </a:cubicBezTo>
                  <a:cubicBezTo>
                    <a:pt x="2189" y="2567"/>
                    <a:pt x="2174" y="2574"/>
                    <a:pt x="2171" y="2595"/>
                  </a:cubicBezTo>
                  <a:cubicBezTo>
                    <a:pt x="2169" y="2603"/>
                    <a:pt x="2174" y="2610"/>
                    <a:pt x="2177" y="2618"/>
                  </a:cubicBezTo>
                  <a:cubicBezTo>
                    <a:pt x="2179" y="2620"/>
                    <a:pt x="2179" y="2621"/>
                    <a:pt x="2181" y="2623"/>
                  </a:cubicBezTo>
                  <a:cubicBezTo>
                    <a:pt x="2182" y="2633"/>
                    <a:pt x="2182" y="2633"/>
                    <a:pt x="2172" y="2644"/>
                  </a:cubicBezTo>
                  <a:cubicBezTo>
                    <a:pt x="2169" y="2648"/>
                    <a:pt x="2166" y="2651"/>
                    <a:pt x="2163" y="2654"/>
                  </a:cubicBezTo>
                  <a:cubicBezTo>
                    <a:pt x="2151" y="2668"/>
                    <a:pt x="2140" y="2679"/>
                    <a:pt x="2135" y="2704"/>
                  </a:cubicBezTo>
                  <a:cubicBezTo>
                    <a:pt x="2131" y="2722"/>
                    <a:pt x="2131" y="2743"/>
                    <a:pt x="2136" y="2770"/>
                  </a:cubicBezTo>
                  <a:cubicBezTo>
                    <a:pt x="2143" y="2809"/>
                    <a:pt x="2159" y="2878"/>
                    <a:pt x="2197" y="2910"/>
                  </a:cubicBezTo>
                  <a:cubicBezTo>
                    <a:pt x="2217" y="2926"/>
                    <a:pt x="2238" y="2925"/>
                    <a:pt x="2257" y="2923"/>
                  </a:cubicBezTo>
                  <a:cubicBezTo>
                    <a:pt x="2280" y="2921"/>
                    <a:pt x="2288" y="2921"/>
                    <a:pt x="2294" y="2941"/>
                  </a:cubicBezTo>
                  <a:cubicBezTo>
                    <a:pt x="2309" y="2985"/>
                    <a:pt x="2299" y="3013"/>
                    <a:pt x="2257" y="3046"/>
                  </a:cubicBezTo>
                  <a:cubicBezTo>
                    <a:pt x="2238" y="3061"/>
                    <a:pt x="2214" y="3081"/>
                    <a:pt x="2215" y="3116"/>
                  </a:cubicBezTo>
                  <a:cubicBezTo>
                    <a:pt x="2217" y="3150"/>
                    <a:pt x="2238" y="3160"/>
                    <a:pt x="2258" y="3170"/>
                  </a:cubicBezTo>
                  <a:cubicBezTo>
                    <a:pt x="2263" y="3173"/>
                    <a:pt x="2266" y="3175"/>
                    <a:pt x="2270" y="3177"/>
                  </a:cubicBezTo>
                  <a:cubicBezTo>
                    <a:pt x="2306" y="3196"/>
                    <a:pt x="2316" y="3238"/>
                    <a:pt x="2294" y="3277"/>
                  </a:cubicBezTo>
                  <a:cubicBezTo>
                    <a:pt x="2289" y="3287"/>
                    <a:pt x="2283" y="3294"/>
                    <a:pt x="2275" y="3303"/>
                  </a:cubicBezTo>
                  <a:cubicBezTo>
                    <a:pt x="2266" y="3312"/>
                    <a:pt x="2257" y="3322"/>
                    <a:pt x="2250" y="3333"/>
                  </a:cubicBezTo>
                  <a:cubicBezTo>
                    <a:pt x="2242" y="3350"/>
                    <a:pt x="2242" y="3364"/>
                    <a:pt x="2242" y="3378"/>
                  </a:cubicBezTo>
                  <a:cubicBezTo>
                    <a:pt x="2243" y="3386"/>
                    <a:pt x="2243" y="3392"/>
                    <a:pt x="2240" y="3399"/>
                  </a:cubicBezTo>
                  <a:cubicBezTo>
                    <a:pt x="2238" y="3407"/>
                    <a:pt x="2233" y="3411"/>
                    <a:pt x="2230" y="3411"/>
                  </a:cubicBezTo>
                  <a:cubicBezTo>
                    <a:pt x="2212" y="3419"/>
                    <a:pt x="2171" y="3394"/>
                    <a:pt x="2146" y="3379"/>
                  </a:cubicBezTo>
                  <a:cubicBezTo>
                    <a:pt x="2135" y="3373"/>
                    <a:pt x="2125" y="3368"/>
                    <a:pt x="2118" y="3364"/>
                  </a:cubicBezTo>
                  <a:cubicBezTo>
                    <a:pt x="2077" y="3346"/>
                    <a:pt x="2039" y="3325"/>
                    <a:pt x="2018" y="3284"/>
                  </a:cubicBezTo>
                  <a:cubicBezTo>
                    <a:pt x="2016" y="3280"/>
                    <a:pt x="2014" y="3277"/>
                    <a:pt x="2013" y="3274"/>
                  </a:cubicBezTo>
                  <a:cubicBezTo>
                    <a:pt x="2008" y="3261"/>
                    <a:pt x="2001" y="3247"/>
                    <a:pt x="1978" y="3241"/>
                  </a:cubicBezTo>
                  <a:cubicBezTo>
                    <a:pt x="1957" y="3236"/>
                    <a:pt x="1929" y="3246"/>
                    <a:pt x="1897" y="3270"/>
                  </a:cubicBezTo>
                  <a:cubicBezTo>
                    <a:pt x="1894" y="3259"/>
                    <a:pt x="1892" y="3247"/>
                    <a:pt x="1889" y="3236"/>
                  </a:cubicBezTo>
                  <a:cubicBezTo>
                    <a:pt x="1884" y="3211"/>
                    <a:pt x="1879" y="3186"/>
                    <a:pt x="1861" y="3165"/>
                  </a:cubicBezTo>
                  <a:cubicBezTo>
                    <a:pt x="1820" y="3121"/>
                    <a:pt x="1754" y="3125"/>
                    <a:pt x="1696" y="3130"/>
                  </a:cubicBezTo>
                  <a:cubicBezTo>
                    <a:pt x="1682" y="3130"/>
                    <a:pt x="1667" y="3132"/>
                    <a:pt x="1654" y="3132"/>
                  </a:cubicBezTo>
                  <a:cubicBezTo>
                    <a:pt x="1614" y="3130"/>
                    <a:pt x="1583" y="3122"/>
                    <a:pt x="1556" y="3104"/>
                  </a:cubicBezTo>
                  <a:cubicBezTo>
                    <a:pt x="1545" y="3097"/>
                    <a:pt x="1535" y="3089"/>
                    <a:pt x="1525" y="3078"/>
                  </a:cubicBezTo>
                  <a:cubicBezTo>
                    <a:pt x="1502" y="3056"/>
                    <a:pt x="1476" y="3032"/>
                    <a:pt x="1438" y="3033"/>
                  </a:cubicBezTo>
                  <a:cubicBezTo>
                    <a:pt x="1401" y="3037"/>
                    <a:pt x="1378" y="3058"/>
                    <a:pt x="1359" y="3079"/>
                  </a:cubicBezTo>
                  <a:cubicBezTo>
                    <a:pt x="1350" y="3086"/>
                    <a:pt x="1344" y="3093"/>
                    <a:pt x="1336" y="3099"/>
                  </a:cubicBezTo>
                  <a:cubicBezTo>
                    <a:pt x="1304" y="3125"/>
                    <a:pt x="1258" y="3134"/>
                    <a:pt x="1217" y="3142"/>
                  </a:cubicBezTo>
                  <a:lnTo>
                    <a:pt x="1212" y="3142"/>
                  </a:lnTo>
                  <a:cubicBezTo>
                    <a:pt x="1201" y="3145"/>
                    <a:pt x="1187" y="3147"/>
                    <a:pt x="1174" y="3149"/>
                  </a:cubicBezTo>
                  <a:cubicBezTo>
                    <a:pt x="1146" y="3154"/>
                    <a:pt x="1116" y="3157"/>
                    <a:pt x="1088" y="3167"/>
                  </a:cubicBezTo>
                  <a:cubicBezTo>
                    <a:pt x="1077" y="3172"/>
                    <a:pt x="1067" y="3177"/>
                    <a:pt x="1056" y="3182"/>
                  </a:cubicBezTo>
                  <a:cubicBezTo>
                    <a:pt x="1028" y="3193"/>
                    <a:pt x="1006" y="3205"/>
                    <a:pt x="970" y="3200"/>
                  </a:cubicBezTo>
                  <a:lnTo>
                    <a:pt x="950" y="3198"/>
                  </a:lnTo>
                  <a:cubicBezTo>
                    <a:pt x="897" y="3193"/>
                    <a:pt x="838" y="3186"/>
                    <a:pt x="792" y="3165"/>
                  </a:cubicBezTo>
                  <a:cubicBezTo>
                    <a:pt x="769" y="3154"/>
                    <a:pt x="756" y="3139"/>
                    <a:pt x="751" y="3119"/>
                  </a:cubicBezTo>
                  <a:cubicBezTo>
                    <a:pt x="749" y="3111"/>
                    <a:pt x="749" y="3102"/>
                    <a:pt x="749" y="3094"/>
                  </a:cubicBezTo>
                  <a:cubicBezTo>
                    <a:pt x="749" y="3083"/>
                    <a:pt x="747" y="3071"/>
                    <a:pt x="744" y="3058"/>
                  </a:cubicBezTo>
                  <a:cubicBezTo>
                    <a:pt x="743" y="3051"/>
                    <a:pt x="741" y="3046"/>
                    <a:pt x="739" y="3038"/>
                  </a:cubicBezTo>
                  <a:cubicBezTo>
                    <a:pt x="734" y="3025"/>
                    <a:pt x="729" y="3012"/>
                    <a:pt x="731" y="2997"/>
                  </a:cubicBezTo>
                  <a:cubicBezTo>
                    <a:pt x="731" y="2976"/>
                    <a:pt x="746" y="2957"/>
                    <a:pt x="761" y="2938"/>
                  </a:cubicBezTo>
                  <a:cubicBezTo>
                    <a:pt x="769" y="2928"/>
                    <a:pt x="779" y="2916"/>
                    <a:pt x="785" y="2905"/>
                  </a:cubicBezTo>
                  <a:cubicBezTo>
                    <a:pt x="805" y="2867"/>
                    <a:pt x="808" y="2822"/>
                    <a:pt x="795" y="2783"/>
                  </a:cubicBezTo>
                  <a:cubicBezTo>
                    <a:pt x="782" y="2747"/>
                    <a:pt x="756" y="2717"/>
                    <a:pt x="721" y="2702"/>
                  </a:cubicBezTo>
                  <a:cubicBezTo>
                    <a:pt x="687" y="2687"/>
                    <a:pt x="663" y="2697"/>
                    <a:pt x="640" y="2707"/>
                  </a:cubicBezTo>
                  <a:cubicBezTo>
                    <a:pt x="631" y="2710"/>
                    <a:pt x="621" y="2715"/>
                    <a:pt x="609" y="2719"/>
                  </a:cubicBezTo>
                  <a:cubicBezTo>
                    <a:pt x="583" y="2724"/>
                    <a:pt x="553" y="2705"/>
                    <a:pt x="528" y="2691"/>
                  </a:cubicBezTo>
                  <a:cubicBezTo>
                    <a:pt x="510" y="2681"/>
                    <a:pt x="500" y="2668"/>
                    <a:pt x="490" y="2653"/>
                  </a:cubicBezTo>
                  <a:cubicBezTo>
                    <a:pt x="484" y="2644"/>
                    <a:pt x="476" y="2635"/>
                    <a:pt x="466" y="2626"/>
                  </a:cubicBezTo>
                  <a:cubicBezTo>
                    <a:pt x="451" y="2610"/>
                    <a:pt x="436" y="2605"/>
                    <a:pt x="421" y="2608"/>
                  </a:cubicBezTo>
                  <a:cubicBezTo>
                    <a:pt x="392" y="2613"/>
                    <a:pt x="374" y="2653"/>
                    <a:pt x="357" y="2687"/>
                  </a:cubicBezTo>
                  <a:cubicBezTo>
                    <a:pt x="350" y="2705"/>
                    <a:pt x="342" y="2722"/>
                    <a:pt x="336" y="2728"/>
                  </a:cubicBezTo>
                  <a:cubicBezTo>
                    <a:pt x="306" y="2760"/>
                    <a:pt x="253" y="2786"/>
                    <a:pt x="215" y="2781"/>
                  </a:cubicBezTo>
                  <a:cubicBezTo>
                    <a:pt x="197" y="2778"/>
                    <a:pt x="184" y="2768"/>
                    <a:pt x="176" y="2750"/>
                  </a:cubicBezTo>
                  <a:cubicBezTo>
                    <a:pt x="168" y="2735"/>
                    <a:pt x="164" y="2717"/>
                    <a:pt x="159" y="2697"/>
                  </a:cubicBezTo>
                  <a:cubicBezTo>
                    <a:pt x="156" y="2681"/>
                    <a:pt x="153" y="2663"/>
                    <a:pt x="146" y="2644"/>
                  </a:cubicBezTo>
                  <a:cubicBezTo>
                    <a:pt x="128" y="2603"/>
                    <a:pt x="117" y="2570"/>
                    <a:pt x="136" y="2536"/>
                  </a:cubicBezTo>
                  <a:cubicBezTo>
                    <a:pt x="141" y="2524"/>
                    <a:pt x="148" y="2513"/>
                    <a:pt x="154" y="2503"/>
                  </a:cubicBezTo>
                  <a:cubicBezTo>
                    <a:pt x="166" y="2483"/>
                    <a:pt x="179" y="2463"/>
                    <a:pt x="187" y="2437"/>
                  </a:cubicBezTo>
                  <a:cubicBezTo>
                    <a:pt x="189" y="2432"/>
                    <a:pt x="192" y="2427"/>
                    <a:pt x="194" y="2420"/>
                  </a:cubicBezTo>
                  <a:cubicBezTo>
                    <a:pt x="199" y="2409"/>
                    <a:pt x="204" y="2396"/>
                    <a:pt x="205" y="2381"/>
                  </a:cubicBezTo>
                  <a:cubicBezTo>
                    <a:pt x="207" y="2366"/>
                    <a:pt x="204" y="2350"/>
                    <a:pt x="201" y="2333"/>
                  </a:cubicBezTo>
                  <a:cubicBezTo>
                    <a:pt x="199" y="2322"/>
                    <a:pt x="197" y="2310"/>
                    <a:pt x="197" y="2300"/>
                  </a:cubicBezTo>
                  <a:cubicBezTo>
                    <a:pt x="196" y="2254"/>
                    <a:pt x="205" y="2224"/>
                    <a:pt x="227" y="2203"/>
                  </a:cubicBezTo>
                  <a:cubicBezTo>
                    <a:pt x="237" y="2193"/>
                    <a:pt x="247" y="2186"/>
                    <a:pt x="257" y="2178"/>
                  </a:cubicBezTo>
                  <a:cubicBezTo>
                    <a:pt x="280" y="2163"/>
                    <a:pt x="301" y="2149"/>
                    <a:pt x="313" y="2117"/>
                  </a:cubicBezTo>
                  <a:cubicBezTo>
                    <a:pt x="317" y="2099"/>
                    <a:pt x="321" y="2079"/>
                    <a:pt x="324" y="2063"/>
                  </a:cubicBezTo>
                  <a:cubicBezTo>
                    <a:pt x="327" y="2040"/>
                    <a:pt x="331" y="2018"/>
                    <a:pt x="339" y="1997"/>
                  </a:cubicBezTo>
                  <a:cubicBezTo>
                    <a:pt x="346" y="1984"/>
                    <a:pt x="354" y="1972"/>
                    <a:pt x="364" y="1957"/>
                  </a:cubicBezTo>
                  <a:cubicBezTo>
                    <a:pt x="380" y="1934"/>
                    <a:pt x="397" y="1910"/>
                    <a:pt x="400" y="1880"/>
                  </a:cubicBezTo>
                  <a:cubicBezTo>
                    <a:pt x="405" y="1842"/>
                    <a:pt x="393" y="1793"/>
                    <a:pt x="374" y="1758"/>
                  </a:cubicBezTo>
                  <a:cubicBezTo>
                    <a:pt x="354" y="1725"/>
                    <a:pt x="321" y="1705"/>
                    <a:pt x="291" y="1686"/>
                  </a:cubicBezTo>
                  <a:cubicBezTo>
                    <a:pt x="278" y="1679"/>
                    <a:pt x="266" y="1671"/>
                    <a:pt x="257" y="1664"/>
                  </a:cubicBezTo>
                  <a:cubicBezTo>
                    <a:pt x="242" y="1653"/>
                    <a:pt x="230" y="1643"/>
                    <a:pt x="215" y="1630"/>
                  </a:cubicBezTo>
                  <a:cubicBezTo>
                    <a:pt x="196" y="1612"/>
                    <a:pt x="173" y="1592"/>
                    <a:pt x="148" y="1577"/>
                  </a:cubicBezTo>
                  <a:cubicBezTo>
                    <a:pt x="133" y="1570"/>
                    <a:pt x="117" y="1567"/>
                    <a:pt x="100" y="1562"/>
                  </a:cubicBezTo>
                  <a:cubicBezTo>
                    <a:pt x="82" y="1559"/>
                    <a:pt x="62" y="1554"/>
                    <a:pt x="51" y="1544"/>
                  </a:cubicBezTo>
                  <a:cubicBezTo>
                    <a:pt x="31" y="1526"/>
                    <a:pt x="37" y="1508"/>
                    <a:pt x="57" y="1475"/>
                  </a:cubicBezTo>
                  <a:lnTo>
                    <a:pt x="64" y="1467"/>
                  </a:lnTo>
                  <a:cubicBezTo>
                    <a:pt x="87" y="1425"/>
                    <a:pt x="85" y="1383"/>
                    <a:pt x="59" y="1343"/>
                  </a:cubicBezTo>
                  <a:cubicBezTo>
                    <a:pt x="51" y="1331"/>
                    <a:pt x="41" y="1323"/>
                    <a:pt x="29" y="1315"/>
                  </a:cubicBezTo>
                  <a:cubicBezTo>
                    <a:pt x="16" y="1305"/>
                    <a:pt x="3" y="1295"/>
                    <a:pt x="1" y="1284"/>
                  </a:cubicBezTo>
                  <a:cubicBezTo>
                    <a:pt x="0" y="1275"/>
                    <a:pt x="8" y="1266"/>
                    <a:pt x="14" y="1256"/>
                  </a:cubicBezTo>
                  <a:cubicBezTo>
                    <a:pt x="18" y="1252"/>
                    <a:pt x="19" y="1249"/>
                    <a:pt x="21" y="1246"/>
                  </a:cubicBezTo>
                  <a:cubicBezTo>
                    <a:pt x="36" y="1224"/>
                    <a:pt x="46" y="1203"/>
                    <a:pt x="51" y="1175"/>
                  </a:cubicBezTo>
                  <a:cubicBezTo>
                    <a:pt x="52" y="1167"/>
                    <a:pt x="54" y="1157"/>
                    <a:pt x="56" y="1147"/>
                  </a:cubicBezTo>
                  <a:cubicBezTo>
                    <a:pt x="61" y="1121"/>
                    <a:pt x="64" y="1093"/>
                    <a:pt x="80" y="1071"/>
                  </a:cubicBezTo>
                  <a:cubicBezTo>
                    <a:pt x="90" y="1056"/>
                    <a:pt x="110" y="1050"/>
                    <a:pt x="130" y="1042"/>
                  </a:cubicBezTo>
                  <a:cubicBezTo>
                    <a:pt x="146" y="1035"/>
                    <a:pt x="163" y="1027"/>
                    <a:pt x="177" y="1015"/>
                  </a:cubicBezTo>
                  <a:cubicBezTo>
                    <a:pt x="199" y="997"/>
                    <a:pt x="217" y="974"/>
                    <a:pt x="233" y="953"/>
                  </a:cubicBezTo>
                  <a:cubicBezTo>
                    <a:pt x="245" y="939"/>
                    <a:pt x="255" y="926"/>
                    <a:pt x="266" y="915"/>
                  </a:cubicBezTo>
                  <a:cubicBezTo>
                    <a:pt x="289" y="890"/>
                    <a:pt x="303" y="865"/>
                    <a:pt x="316" y="839"/>
                  </a:cubicBezTo>
                  <a:cubicBezTo>
                    <a:pt x="326" y="824"/>
                    <a:pt x="334" y="808"/>
                    <a:pt x="346" y="793"/>
                  </a:cubicBezTo>
                  <a:cubicBezTo>
                    <a:pt x="355" y="776"/>
                    <a:pt x="370" y="763"/>
                    <a:pt x="385" y="750"/>
                  </a:cubicBezTo>
                  <a:cubicBezTo>
                    <a:pt x="390" y="745"/>
                    <a:pt x="397" y="740"/>
                    <a:pt x="402" y="733"/>
                  </a:cubicBezTo>
                  <a:cubicBezTo>
                    <a:pt x="410" y="727"/>
                    <a:pt x="416" y="719"/>
                    <a:pt x="423" y="709"/>
                  </a:cubicBezTo>
                  <a:cubicBezTo>
                    <a:pt x="426" y="705"/>
                    <a:pt x="430" y="702"/>
                    <a:pt x="431" y="699"/>
                  </a:cubicBezTo>
                  <a:cubicBezTo>
                    <a:pt x="439" y="687"/>
                    <a:pt x="444" y="676"/>
                    <a:pt x="451" y="666"/>
                  </a:cubicBezTo>
                  <a:cubicBezTo>
                    <a:pt x="466" y="640"/>
                    <a:pt x="477" y="618"/>
                    <a:pt x="505" y="598"/>
                  </a:cubicBezTo>
                  <a:cubicBezTo>
                    <a:pt x="538" y="572"/>
                    <a:pt x="565" y="547"/>
                    <a:pt x="589" y="509"/>
                  </a:cubicBezTo>
                  <a:cubicBezTo>
                    <a:pt x="609" y="476"/>
                    <a:pt x="622" y="475"/>
                    <a:pt x="663" y="472"/>
                  </a:cubicBezTo>
                  <a:cubicBezTo>
                    <a:pt x="706" y="470"/>
                    <a:pt x="733" y="460"/>
                    <a:pt x="746" y="414"/>
                  </a:cubicBezTo>
                  <a:lnTo>
                    <a:pt x="749" y="404"/>
                  </a:lnTo>
                  <a:cubicBezTo>
                    <a:pt x="756" y="384"/>
                    <a:pt x="759" y="371"/>
                    <a:pt x="772" y="355"/>
                  </a:cubicBezTo>
                  <a:cubicBezTo>
                    <a:pt x="777" y="346"/>
                    <a:pt x="784" y="340"/>
                    <a:pt x="790" y="333"/>
                  </a:cubicBezTo>
                  <a:cubicBezTo>
                    <a:pt x="800" y="322"/>
                    <a:pt x="812" y="310"/>
                    <a:pt x="820" y="297"/>
                  </a:cubicBezTo>
                  <a:cubicBezTo>
                    <a:pt x="828" y="285"/>
                    <a:pt x="835" y="274"/>
                    <a:pt x="840" y="262"/>
                  </a:cubicBezTo>
                  <a:cubicBezTo>
                    <a:pt x="853" y="239"/>
                    <a:pt x="864" y="219"/>
                    <a:pt x="883" y="203"/>
                  </a:cubicBezTo>
                  <a:cubicBezTo>
                    <a:pt x="904" y="185"/>
                    <a:pt x="932" y="175"/>
                    <a:pt x="958" y="163"/>
                  </a:cubicBezTo>
                  <a:cubicBezTo>
                    <a:pt x="967" y="160"/>
                    <a:pt x="975" y="157"/>
                    <a:pt x="983" y="154"/>
                  </a:cubicBezTo>
                  <a:cubicBezTo>
                    <a:pt x="1021" y="137"/>
                    <a:pt x="1049" y="119"/>
                    <a:pt x="1074" y="94"/>
                  </a:cubicBezTo>
                  <a:cubicBezTo>
                    <a:pt x="1107" y="63"/>
                    <a:pt x="1130" y="43"/>
                    <a:pt x="1171" y="45"/>
                  </a:cubicBezTo>
                  <a:cubicBezTo>
                    <a:pt x="1181" y="46"/>
                    <a:pt x="1194" y="48"/>
                    <a:pt x="1205" y="51"/>
                  </a:cubicBezTo>
                  <a:cubicBezTo>
                    <a:pt x="1235" y="58"/>
                    <a:pt x="1270" y="65"/>
                    <a:pt x="1299" y="46"/>
                  </a:cubicBezTo>
                  <a:cubicBezTo>
                    <a:pt x="1309" y="40"/>
                    <a:pt x="1317" y="33"/>
                    <a:pt x="1326" y="27"/>
                  </a:cubicBezTo>
                  <a:cubicBezTo>
                    <a:pt x="1344" y="10"/>
                    <a:pt x="1357" y="0"/>
                    <a:pt x="1382" y="10"/>
                  </a:cubicBezTo>
                  <a:cubicBezTo>
                    <a:pt x="1398" y="18"/>
                    <a:pt x="1405" y="32"/>
                    <a:pt x="1413" y="46"/>
                  </a:cubicBezTo>
                  <a:cubicBezTo>
                    <a:pt x="1420" y="60"/>
                    <a:pt x="1426" y="73"/>
                    <a:pt x="1438" y="83"/>
                  </a:cubicBezTo>
                  <a:cubicBezTo>
                    <a:pt x="1462" y="106"/>
                    <a:pt x="1497" y="103"/>
                    <a:pt x="1525" y="98"/>
                  </a:cubicBezTo>
                  <a:lnTo>
                    <a:pt x="1540" y="96"/>
                  </a:lnTo>
                  <a:cubicBezTo>
                    <a:pt x="1576" y="93"/>
                    <a:pt x="1606" y="89"/>
                    <a:pt x="1630" y="114"/>
                  </a:cubicBezTo>
                  <a:cubicBezTo>
                    <a:pt x="1634" y="117"/>
                    <a:pt x="1639" y="122"/>
                    <a:pt x="1642" y="126"/>
                  </a:cubicBezTo>
                  <a:cubicBezTo>
                    <a:pt x="1667" y="152"/>
                    <a:pt x="1685" y="172"/>
                    <a:pt x="1736" y="162"/>
                  </a:cubicBezTo>
                  <a:lnTo>
                    <a:pt x="1743" y="160"/>
                  </a:lnTo>
                  <a:cubicBezTo>
                    <a:pt x="1762" y="155"/>
                    <a:pt x="1772" y="154"/>
                    <a:pt x="1790" y="160"/>
                  </a:cubicBezTo>
                  <a:cubicBezTo>
                    <a:pt x="1794" y="162"/>
                    <a:pt x="1795" y="163"/>
                    <a:pt x="1799" y="163"/>
                  </a:cubicBezTo>
                  <a:cubicBezTo>
                    <a:pt x="1810" y="168"/>
                    <a:pt x="1825" y="175"/>
                    <a:pt x="1840" y="172"/>
                  </a:cubicBezTo>
                  <a:cubicBezTo>
                    <a:pt x="1861" y="167"/>
                    <a:pt x="1874" y="150"/>
                    <a:pt x="1886" y="137"/>
                  </a:cubicBezTo>
                  <a:cubicBezTo>
                    <a:pt x="1894" y="126"/>
                    <a:pt x="1902" y="116"/>
                    <a:pt x="1914" y="112"/>
                  </a:cubicBezTo>
                  <a:cubicBezTo>
                    <a:pt x="1924" y="111"/>
                    <a:pt x="1934" y="116"/>
                    <a:pt x="1947" y="122"/>
                  </a:cubicBezTo>
                  <a:cubicBezTo>
                    <a:pt x="1963" y="131"/>
                    <a:pt x="1983" y="140"/>
                    <a:pt x="2009" y="132"/>
                  </a:cubicBezTo>
                  <a:cubicBezTo>
                    <a:pt x="2026" y="127"/>
                    <a:pt x="2039" y="119"/>
                    <a:pt x="2051" y="109"/>
                  </a:cubicBezTo>
                  <a:cubicBezTo>
                    <a:pt x="2059" y="117"/>
                    <a:pt x="2065" y="124"/>
                    <a:pt x="2072" y="132"/>
                  </a:cubicBezTo>
                  <a:cubicBezTo>
                    <a:pt x="2093" y="155"/>
                    <a:pt x="2113" y="177"/>
                    <a:pt x="2128" y="203"/>
                  </a:cubicBezTo>
                  <a:cubicBezTo>
                    <a:pt x="2168" y="274"/>
                    <a:pt x="2179" y="363"/>
                    <a:pt x="2189" y="444"/>
                  </a:cubicBezTo>
                  <a:lnTo>
                    <a:pt x="2192" y="458"/>
                  </a:lnTo>
                  <a:cubicBezTo>
                    <a:pt x="2199" y="508"/>
                    <a:pt x="2197" y="556"/>
                    <a:pt x="2194" y="60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9" name="Freeform 75">
              <a:extLst>
                <a:ext uri="{FF2B5EF4-FFF2-40B4-BE49-F238E27FC236}">
                  <a16:creationId xmlns:a16="http://schemas.microsoft.com/office/drawing/2014/main" id="{2BA9B754-2AE0-0347-9502-B0B28637C0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8825" y="4645025"/>
              <a:ext cx="236538" cy="168275"/>
            </a:xfrm>
            <a:custGeom>
              <a:avLst/>
              <a:gdLst>
                <a:gd name="T0" fmla="*/ 648 w 655"/>
                <a:gd name="T1" fmla="*/ 208 h 466"/>
                <a:gd name="T2" fmla="*/ 634 w 655"/>
                <a:gd name="T3" fmla="*/ 233 h 466"/>
                <a:gd name="T4" fmla="*/ 621 w 655"/>
                <a:gd name="T5" fmla="*/ 256 h 466"/>
                <a:gd name="T6" fmla="*/ 616 w 655"/>
                <a:gd name="T7" fmla="*/ 302 h 466"/>
                <a:gd name="T8" fmla="*/ 618 w 655"/>
                <a:gd name="T9" fmla="*/ 317 h 466"/>
                <a:gd name="T10" fmla="*/ 583 w 655"/>
                <a:gd name="T11" fmla="*/ 359 h 466"/>
                <a:gd name="T12" fmla="*/ 557 w 655"/>
                <a:gd name="T13" fmla="*/ 378 h 466"/>
                <a:gd name="T14" fmla="*/ 534 w 655"/>
                <a:gd name="T15" fmla="*/ 427 h 466"/>
                <a:gd name="T16" fmla="*/ 511 w 655"/>
                <a:gd name="T17" fmla="*/ 457 h 466"/>
                <a:gd name="T18" fmla="*/ 428 w 655"/>
                <a:gd name="T19" fmla="*/ 364 h 466"/>
                <a:gd name="T20" fmla="*/ 363 w 655"/>
                <a:gd name="T21" fmla="*/ 267 h 466"/>
                <a:gd name="T22" fmla="*/ 354 w 655"/>
                <a:gd name="T23" fmla="*/ 267 h 466"/>
                <a:gd name="T24" fmla="*/ 297 w 655"/>
                <a:gd name="T25" fmla="*/ 308 h 466"/>
                <a:gd name="T26" fmla="*/ 283 w 655"/>
                <a:gd name="T27" fmla="*/ 345 h 466"/>
                <a:gd name="T28" fmla="*/ 282 w 655"/>
                <a:gd name="T29" fmla="*/ 351 h 466"/>
                <a:gd name="T30" fmla="*/ 274 w 655"/>
                <a:gd name="T31" fmla="*/ 366 h 466"/>
                <a:gd name="T32" fmla="*/ 267 w 655"/>
                <a:gd name="T33" fmla="*/ 366 h 466"/>
                <a:gd name="T34" fmla="*/ 260 w 655"/>
                <a:gd name="T35" fmla="*/ 363 h 466"/>
                <a:gd name="T36" fmla="*/ 259 w 655"/>
                <a:gd name="T37" fmla="*/ 354 h 466"/>
                <a:gd name="T38" fmla="*/ 249 w 655"/>
                <a:gd name="T39" fmla="*/ 295 h 466"/>
                <a:gd name="T40" fmla="*/ 226 w 655"/>
                <a:gd name="T41" fmla="*/ 239 h 466"/>
                <a:gd name="T42" fmla="*/ 124 w 655"/>
                <a:gd name="T43" fmla="*/ 208 h 466"/>
                <a:gd name="T44" fmla="*/ 106 w 655"/>
                <a:gd name="T45" fmla="*/ 214 h 466"/>
                <a:gd name="T46" fmla="*/ 43 w 655"/>
                <a:gd name="T47" fmla="*/ 226 h 466"/>
                <a:gd name="T48" fmla="*/ 36 w 655"/>
                <a:gd name="T49" fmla="*/ 211 h 466"/>
                <a:gd name="T50" fmla="*/ 50 w 655"/>
                <a:gd name="T51" fmla="*/ 186 h 466"/>
                <a:gd name="T52" fmla="*/ 56 w 655"/>
                <a:gd name="T53" fmla="*/ 122 h 466"/>
                <a:gd name="T54" fmla="*/ 30 w 655"/>
                <a:gd name="T55" fmla="*/ 96 h 466"/>
                <a:gd name="T56" fmla="*/ 8 w 655"/>
                <a:gd name="T57" fmla="*/ 51 h 466"/>
                <a:gd name="T58" fmla="*/ 28 w 655"/>
                <a:gd name="T59" fmla="*/ 35 h 466"/>
                <a:gd name="T60" fmla="*/ 86 w 655"/>
                <a:gd name="T61" fmla="*/ 51 h 466"/>
                <a:gd name="T62" fmla="*/ 110 w 655"/>
                <a:gd name="T63" fmla="*/ 79 h 466"/>
                <a:gd name="T64" fmla="*/ 199 w 655"/>
                <a:gd name="T65" fmla="*/ 130 h 466"/>
                <a:gd name="T66" fmla="*/ 254 w 655"/>
                <a:gd name="T67" fmla="*/ 61 h 466"/>
                <a:gd name="T68" fmla="*/ 279 w 655"/>
                <a:gd name="T69" fmla="*/ 22 h 466"/>
                <a:gd name="T70" fmla="*/ 316 w 655"/>
                <a:gd name="T71" fmla="*/ 7 h 466"/>
                <a:gd name="T72" fmla="*/ 330 w 655"/>
                <a:gd name="T73" fmla="*/ 27 h 466"/>
                <a:gd name="T74" fmla="*/ 335 w 655"/>
                <a:gd name="T75" fmla="*/ 45 h 466"/>
                <a:gd name="T76" fmla="*/ 395 w 655"/>
                <a:gd name="T77" fmla="*/ 153 h 466"/>
                <a:gd name="T78" fmla="*/ 524 w 655"/>
                <a:gd name="T79" fmla="*/ 145 h 466"/>
                <a:gd name="T80" fmla="*/ 611 w 655"/>
                <a:gd name="T81" fmla="*/ 121 h 466"/>
                <a:gd name="T82" fmla="*/ 648 w 655"/>
                <a:gd name="T83" fmla="*/ 208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5" h="466">
                  <a:moveTo>
                    <a:pt x="648" y="208"/>
                  </a:moveTo>
                  <a:cubicBezTo>
                    <a:pt x="646" y="218"/>
                    <a:pt x="641" y="224"/>
                    <a:pt x="634" y="233"/>
                  </a:cubicBezTo>
                  <a:cubicBezTo>
                    <a:pt x="629" y="241"/>
                    <a:pt x="624" y="247"/>
                    <a:pt x="621" y="256"/>
                  </a:cubicBezTo>
                  <a:cubicBezTo>
                    <a:pt x="613" y="274"/>
                    <a:pt x="615" y="289"/>
                    <a:pt x="616" y="302"/>
                  </a:cubicBezTo>
                  <a:cubicBezTo>
                    <a:pt x="618" y="307"/>
                    <a:pt x="618" y="312"/>
                    <a:pt x="618" y="317"/>
                  </a:cubicBezTo>
                  <a:cubicBezTo>
                    <a:pt x="620" y="340"/>
                    <a:pt x="606" y="348"/>
                    <a:pt x="583" y="359"/>
                  </a:cubicBezTo>
                  <a:cubicBezTo>
                    <a:pt x="573" y="366"/>
                    <a:pt x="565" y="371"/>
                    <a:pt x="557" y="378"/>
                  </a:cubicBezTo>
                  <a:cubicBezTo>
                    <a:pt x="539" y="391"/>
                    <a:pt x="535" y="412"/>
                    <a:pt x="534" y="427"/>
                  </a:cubicBezTo>
                  <a:cubicBezTo>
                    <a:pt x="531" y="448"/>
                    <a:pt x="529" y="455"/>
                    <a:pt x="511" y="457"/>
                  </a:cubicBezTo>
                  <a:cubicBezTo>
                    <a:pt x="455" y="465"/>
                    <a:pt x="443" y="427"/>
                    <a:pt x="428" y="364"/>
                  </a:cubicBezTo>
                  <a:cubicBezTo>
                    <a:pt x="419" y="322"/>
                    <a:pt x="407" y="272"/>
                    <a:pt x="363" y="267"/>
                  </a:cubicBezTo>
                  <a:cubicBezTo>
                    <a:pt x="361" y="267"/>
                    <a:pt x="358" y="267"/>
                    <a:pt x="354" y="267"/>
                  </a:cubicBezTo>
                  <a:cubicBezTo>
                    <a:pt x="331" y="267"/>
                    <a:pt x="310" y="282"/>
                    <a:pt x="297" y="308"/>
                  </a:cubicBezTo>
                  <a:cubicBezTo>
                    <a:pt x="292" y="318"/>
                    <a:pt x="287" y="331"/>
                    <a:pt x="283" y="345"/>
                  </a:cubicBezTo>
                  <a:lnTo>
                    <a:pt x="282" y="351"/>
                  </a:lnTo>
                  <a:cubicBezTo>
                    <a:pt x="279" y="359"/>
                    <a:pt x="279" y="364"/>
                    <a:pt x="274" y="366"/>
                  </a:cubicBezTo>
                  <a:cubicBezTo>
                    <a:pt x="272" y="368"/>
                    <a:pt x="269" y="368"/>
                    <a:pt x="267" y="366"/>
                  </a:cubicBezTo>
                  <a:cubicBezTo>
                    <a:pt x="264" y="366"/>
                    <a:pt x="261" y="364"/>
                    <a:pt x="260" y="363"/>
                  </a:cubicBezTo>
                  <a:cubicBezTo>
                    <a:pt x="259" y="361"/>
                    <a:pt x="259" y="358"/>
                    <a:pt x="259" y="354"/>
                  </a:cubicBezTo>
                  <a:lnTo>
                    <a:pt x="249" y="295"/>
                  </a:lnTo>
                  <a:cubicBezTo>
                    <a:pt x="247" y="274"/>
                    <a:pt x="239" y="257"/>
                    <a:pt x="226" y="239"/>
                  </a:cubicBezTo>
                  <a:cubicBezTo>
                    <a:pt x="201" y="208"/>
                    <a:pt x="165" y="196"/>
                    <a:pt x="124" y="208"/>
                  </a:cubicBezTo>
                  <a:cubicBezTo>
                    <a:pt x="119" y="209"/>
                    <a:pt x="112" y="211"/>
                    <a:pt x="106" y="214"/>
                  </a:cubicBezTo>
                  <a:cubicBezTo>
                    <a:pt x="86" y="223"/>
                    <a:pt x="54" y="234"/>
                    <a:pt x="43" y="226"/>
                  </a:cubicBezTo>
                  <a:cubicBezTo>
                    <a:pt x="41" y="224"/>
                    <a:pt x="38" y="223"/>
                    <a:pt x="36" y="211"/>
                  </a:cubicBezTo>
                  <a:cubicBezTo>
                    <a:pt x="35" y="203"/>
                    <a:pt x="41" y="196"/>
                    <a:pt x="50" y="186"/>
                  </a:cubicBezTo>
                  <a:cubicBezTo>
                    <a:pt x="61" y="173"/>
                    <a:pt x="78" y="153"/>
                    <a:pt x="56" y="122"/>
                  </a:cubicBezTo>
                  <a:cubicBezTo>
                    <a:pt x="50" y="111"/>
                    <a:pt x="40" y="104"/>
                    <a:pt x="30" y="96"/>
                  </a:cubicBezTo>
                  <a:cubicBezTo>
                    <a:pt x="8" y="78"/>
                    <a:pt x="0" y="69"/>
                    <a:pt x="8" y="51"/>
                  </a:cubicBezTo>
                  <a:cubicBezTo>
                    <a:pt x="12" y="43"/>
                    <a:pt x="18" y="37"/>
                    <a:pt x="28" y="35"/>
                  </a:cubicBezTo>
                  <a:cubicBezTo>
                    <a:pt x="46" y="30"/>
                    <a:pt x="71" y="40"/>
                    <a:pt x="86" y="51"/>
                  </a:cubicBezTo>
                  <a:cubicBezTo>
                    <a:pt x="92" y="56"/>
                    <a:pt x="101" y="68"/>
                    <a:pt x="110" y="79"/>
                  </a:cubicBezTo>
                  <a:cubicBezTo>
                    <a:pt x="134" y="109"/>
                    <a:pt x="165" y="147"/>
                    <a:pt x="199" y="130"/>
                  </a:cubicBezTo>
                  <a:cubicBezTo>
                    <a:pt x="224" y="117"/>
                    <a:pt x="239" y="89"/>
                    <a:pt x="254" y="61"/>
                  </a:cubicBezTo>
                  <a:cubicBezTo>
                    <a:pt x="262" y="46"/>
                    <a:pt x="270" y="32"/>
                    <a:pt x="279" y="22"/>
                  </a:cubicBezTo>
                  <a:cubicBezTo>
                    <a:pt x="295" y="4"/>
                    <a:pt x="303" y="0"/>
                    <a:pt x="316" y="7"/>
                  </a:cubicBezTo>
                  <a:cubicBezTo>
                    <a:pt x="325" y="10"/>
                    <a:pt x="326" y="13"/>
                    <a:pt x="330" y="27"/>
                  </a:cubicBezTo>
                  <a:cubicBezTo>
                    <a:pt x="331" y="33"/>
                    <a:pt x="333" y="38"/>
                    <a:pt x="335" y="45"/>
                  </a:cubicBezTo>
                  <a:cubicBezTo>
                    <a:pt x="353" y="96"/>
                    <a:pt x="372" y="132"/>
                    <a:pt x="395" y="153"/>
                  </a:cubicBezTo>
                  <a:cubicBezTo>
                    <a:pt x="442" y="198"/>
                    <a:pt x="488" y="168"/>
                    <a:pt x="524" y="145"/>
                  </a:cubicBezTo>
                  <a:cubicBezTo>
                    <a:pt x="555" y="127"/>
                    <a:pt x="583" y="109"/>
                    <a:pt x="611" y="121"/>
                  </a:cubicBezTo>
                  <a:cubicBezTo>
                    <a:pt x="638" y="132"/>
                    <a:pt x="654" y="180"/>
                    <a:pt x="648" y="20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40" name="Freeform 76">
              <a:extLst>
                <a:ext uri="{FF2B5EF4-FFF2-40B4-BE49-F238E27FC236}">
                  <a16:creationId xmlns:a16="http://schemas.microsoft.com/office/drawing/2014/main" id="{63A13A9F-E4BC-0D4B-805C-FA9DFBCAF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8613" y="3513138"/>
              <a:ext cx="1335087" cy="1435100"/>
            </a:xfrm>
            <a:custGeom>
              <a:avLst/>
              <a:gdLst>
                <a:gd name="T0" fmla="*/ 3617 w 3707"/>
                <a:gd name="T1" fmla="*/ 1244 h 3987"/>
                <a:gd name="T2" fmla="*/ 3514 w 3707"/>
                <a:gd name="T3" fmla="*/ 1071 h 3987"/>
                <a:gd name="T4" fmla="*/ 3075 w 3707"/>
                <a:gd name="T5" fmla="*/ 898 h 3987"/>
                <a:gd name="T6" fmla="*/ 2690 w 3707"/>
                <a:gd name="T7" fmla="*/ 1421 h 3987"/>
                <a:gd name="T8" fmla="*/ 2558 w 3707"/>
                <a:gd name="T9" fmla="*/ 1365 h 3987"/>
                <a:gd name="T10" fmla="*/ 2344 w 3707"/>
                <a:gd name="T11" fmla="*/ 1496 h 3987"/>
                <a:gd name="T12" fmla="*/ 2155 w 3707"/>
                <a:gd name="T13" fmla="*/ 1250 h 3987"/>
                <a:gd name="T14" fmla="*/ 2220 w 3707"/>
                <a:gd name="T15" fmla="*/ 878 h 3987"/>
                <a:gd name="T16" fmla="*/ 2061 w 3707"/>
                <a:gd name="T17" fmla="*/ 603 h 3987"/>
                <a:gd name="T18" fmla="*/ 1990 w 3707"/>
                <a:gd name="T19" fmla="*/ 387 h 3987"/>
                <a:gd name="T20" fmla="*/ 1842 w 3707"/>
                <a:gd name="T21" fmla="*/ 192 h 3987"/>
                <a:gd name="T22" fmla="*/ 1805 w 3707"/>
                <a:gd name="T23" fmla="*/ 41 h 3987"/>
                <a:gd name="T24" fmla="*/ 1695 w 3707"/>
                <a:gd name="T25" fmla="*/ 90 h 3987"/>
                <a:gd name="T26" fmla="*/ 1594 w 3707"/>
                <a:gd name="T27" fmla="*/ 248 h 3987"/>
                <a:gd name="T28" fmla="*/ 1550 w 3707"/>
                <a:gd name="T29" fmla="*/ 405 h 3987"/>
                <a:gd name="T30" fmla="*/ 1606 w 3707"/>
                <a:gd name="T31" fmla="*/ 634 h 3987"/>
                <a:gd name="T32" fmla="*/ 1491 w 3707"/>
                <a:gd name="T33" fmla="*/ 851 h 3987"/>
                <a:gd name="T34" fmla="*/ 1421 w 3707"/>
                <a:gd name="T35" fmla="*/ 935 h 3987"/>
                <a:gd name="T36" fmla="*/ 1471 w 3707"/>
                <a:gd name="T37" fmla="*/ 1216 h 3987"/>
                <a:gd name="T38" fmla="*/ 1533 w 3707"/>
                <a:gd name="T39" fmla="*/ 1608 h 3987"/>
                <a:gd name="T40" fmla="*/ 1347 w 3707"/>
                <a:gd name="T41" fmla="*/ 1721 h 3987"/>
                <a:gd name="T42" fmla="*/ 1110 w 3707"/>
                <a:gd name="T43" fmla="*/ 1634 h 3987"/>
                <a:gd name="T44" fmla="*/ 924 w 3707"/>
                <a:gd name="T45" fmla="*/ 1945 h 3987"/>
                <a:gd name="T46" fmla="*/ 776 w 3707"/>
                <a:gd name="T47" fmla="*/ 2089 h 3987"/>
                <a:gd name="T48" fmla="*/ 654 w 3707"/>
                <a:gd name="T49" fmla="*/ 2018 h 3987"/>
                <a:gd name="T50" fmla="*/ 347 w 3707"/>
                <a:gd name="T51" fmla="*/ 2159 h 3987"/>
                <a:gd name="T52" fmla="*/ 354 w 3707"/>
                <a:gd name="T53" fmla="*/ 2492 h 3987"/>
                <a:gd name="T54" fmla="*/ 225 w 3707"/>
                <a:gd name="T55" fmla="*/ 2621 h 3987"/>
                <a:gd name="T56" fmla="*/ 186 w 3707"/>
                <a:gd name="T57" fmla="*/ 2856 h 3987"/>
                <a:gd name="T58" fmla="*/ 31 w 3707"/>
                <a:gd name="T59" fmla="*/ 3082 h 3987"/>
                <a:gd name="T60" fmla="*/ 118 w 3707"/>
                <a:gd name="T61" fmla="*/ 3250 h 3987"/>
                <a:gd name="T62" fmla="*/ 438 w 3707"/>
                <a:gd name="T63" fmla="*/ 3426 h 3987"/>
                <a:gd name="T64" fmla="*/ 716 w 3707"/>
                <a:gd name="T65" fmla="*/ 3428 h 3987"/>
                <a:gd name="T66" fmla="*/ 977 w 3707"/>
                <a:gd name="T67" fmla="*/ 3552 h 3987"/>
                <a:gd name="T68" fmla="*/ 1288 w 3707"/>
                <a:gd name="T69" fmla="*/ 3733 h 3987"/>
                <a:gd name="T70" fmla="*/ 1520 w 3707"/>
                <a:gd name="T71" fmla="*/ 3965 h 3987"/>
                <a:gd name="T72" fmla="*/ 1649 w 3707"/>
                <a:gd name="T73" fmla="*/ 3896 h 3987"/>
                <a:gd name="T74" fmla="*/ 1911 w 3707"/>
                <a:gd name="T75" fmla="*/ 3563 h 3987"/>
                <a:gd name="T76" fmla="*/ 2153 w 3707"/>
                <a:gd name="T77" fmla="*/ 3351 h 3987"/>
                <a:gd name="T78" fmla="*/ 2300 w 3707"/>
                <a:gd name="T79" fmla="*/ 2973 h 3987"/>
                <a:gd name="T80" fmla="*/ 2245 w 3707"/>
                <a:gd name="T81" fmla="*/ 2754 h 3987"/>
                <a:gd name="T82" fmla="*/ 2257 w 3707"/>
                <a:gd name="T83" fmla="*/ 2456 h 3987"/>
                <a:gd name="T84" fmla="*/ 2204 w 3707"/>
                <a:gd name="T85" fmla="*/ 2379 h 3987"/>
                <a:gd name="T86" fmla="*/ 2344 w 3707"/>
                <a:gd name="T87" fmla="*/ 2156 h 3987"/>
                <a:gd name="T88" fmla="*/ 2667 w 3707"/>
                <a:gd name="T89" fmla="*/ 2047 h 3987"/>
                <a:gd name="T90" fmla="*/ 2998 w 3707"/>
                <a:gd name="T91" fmla="*/ 2090 h 3987"/>
                <a:gd name="T92" fmla="*/ 3159 w 3707"/>
                <a:gd name="T93" fmla="*/ 1978 h 3987"/>
                <a:gd name="T94" fmla="*/ 3387 w 3707"/>
                <a:gd name="T95" fmla="*/ 1837 h 3987"/>
                <a:gd name="T96" fmla="*/ 3346 w 3707"/>
                <a:gd name="T97" fmla="*/ 1929 h 3987"/>
                <a:gd name="T98" fmla="*/ 3538 w 3707"/>
                <a:gd name="T99" fmla="*/ 1891 h 3987"/>
                <a:gd name="T100" fmla="*/ 3580 w 3707"/>
                <a:gd name="T101" fmla="*/ 1769 h 3987"/>
                <a:gd name="T102" fmla="*/ 3463 w 3707"/>
                <a:gd name="T103" fmla="*/ 1570 h 3987"/>
                <a:gd name="T104" fmla="*/ 3466 w 3707"/>
                <a:gd name="T105" fmla="*/ 1464 h 3987"/>
                <a:gd name="T106" fmla="*/ 1838 w 3707"/>
                <a:gd name="T107" fmla="*/ 3461 h 3987"/>
                <a:gd name="T108" fmla="*/ 1682 w 3707"/>
                <a:gd name="T109" fmla="*/ 3629 h 3987"/>
                <a:gd name="T110" fmla="*/ 1482 w 3707"/>
                <a:gd name="T111" fmla="*/ 3533 h 3987"/>
                <a:gd name="T112" fmla="*/ 1324 w 3707"/>
                <a:gd name="T113" fmla="*/ 3380 h 3987"/>
                <a:gd name="T114" fmla="*/ 1207 w 3707"/>
                <a:gd name="T115" fmla="*/ 3262 h 3987"/>
                <a:gd name="T116" fmla="*/ 1425 w 3707"/>
                <a:gd name="T117" fmla="*/ 3196 h 3987"/>
                <a:gd name="T118" fmla="*/ 1705 w 3707"/>
                <a:gd name="T119" fmla="*/ 3268 h 39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7" h="3987">
                  <a:moveTo>
                    <a:pt x="3520" y="1392"/>
                  </a:moveTo>
                  <a:cubicBezTo>
                    <a:pt x="3550" y="1380"/>
                    <a:pt x="3575" y="1388"/>
                    <a:pt x="3598" y="1397"/>
                  </a:cubicBezTo>
                  <a:cubicBezTo>
                    <a:pt x="3604" y="1400"/>
                    <a:pt x="3611" y="1402"/>
                    <a:pt x="3619" y="1405"/>
                  </a:cubicBezTo>
                  <a:cubicBezTo>
                    <a:pt x="3652" y="1413"/>
                    <a:pt x="3678" y="1403"/>
                    <a:pt x="3706" y="1388"/>
                  </a:cubicBezTo>
                  <a:cubicBezTo>
                    <a:pt x="3697" y="1364"/>
                    <a:pt x="3683" y="1342"/>
                    <a:pt x="3665" y="1326"/>
                  </a:cubicBezTo>
                  <a:cubicBezTo>
                    <a:pt x="3637" y="1303"/>
                    <a:pt x="3629" y="1273"/>
                    <a:pt x="3617" y="1244"/>
                  </a:cubicBezTo>
                  <a:cubicBezTo>
                    <a:pt x="3616" y="1237"/>
                    <a:pt x="3612" y="1232"/>
                    <a:pt x="3611" y="1225"/>
                  </a:cubicBezTo>
                  <a:cubicBezTo>
                    <a:pt x="3606" y="1211"/>
                    <a:pt x="3599" y="1204"/>
                    <a:pt x="3591" y="1194"/>
                  </a:cubicBezTo>
                  <a:lnTo>
                    <a:pt x="3584" y="1184"/>
                  </a:lnTo>
                  <a:cubicBezTo>
                    <a:pt x="3566" y="1163"/>
                    <a:pt x="3566" y="1151"/>
                    <a:pt x="3565" y="1130"/>
                  </a:cubicBezTo>
                  <a:lnTo>
                    <a:pt x="3563" y="1125"/>
                  </a:lnTo>
                  <a:cubicBezTo>
                    <a:pt x="3561" y="1099"/>
                    <a:pt x="3547" y="1082"/>
                    <a:pt x="3514" y="1071"/>
                  </a:cubicBezTo>
                  <a:cubicBezTo>
                    <a:pt x="3487" y="1061"/>
                    <a:pt x="3474" y="1071"/>
                    <a:pt x="3454" y="1084"/>
                  </a:cubicBezTo>
                  <a:cubicBezTo>
                    <a:pt x="3443" y="1090"/>
                    <a:pt x="3431" y="1099"/>
                    <a:pt x="3416" y="1105"/>
                  </a:cubicBezTo>
                  <a:cubicBezTo>
                    <a:pt x="3382" y="1118"/>
                    <a:pt x="3334" y="1123"/>
                    <a:pt x="3304" y="1097"/>
                  </a:cubicBezTo>
                  <a:cubicBezTo>
                    <a:pt x="3286" y="1079"/>
                    <a:pt x="3281" y="1051"/>
                    <a:pt x="3276" y="1024"/>
                  </a:cubicBezTo>
                  <a:cubicBezTo>
                    <a:pt x="3275" y="1008"/>
                    <a:pt x="3271" y="993"/>
                    <a:pt x="3267" y="982"/>
                  </a:cubicBezTo>
                  <a:cubicBezTo>
                    <a:pt x="3237" y="919"/>
                    <a:pt x="3150" y="894"/>
                    <a:pt x="3075" y="898"/>
                  </a:cubicBezTo>
                  <a:cubicBezTo>
                    <a:pt x="3003" y="901"/>
                    <a:pt x="2973" y="921"/>
                    <a:pt x="2937" y="988"/>
                  </a:cubicBezTo>
                  <a:cubicBezTo>
                    <a:pt x="2917" y="1023"/>
                    <a:pt x="2904" y="1052"/>
                    <a:pt x="2893" y="1094"/>
                  </a:cubicBezTo>
                  <a:cubicBezTo>
                    <a:pt x="2883" y="1130"/>
                    <a:pt x="2863" y="1166"/>
                    <a:pt x="2830" y="1204"/>
                  </a:cubicBezTo>
                  <a:cubicBezTo>
                    <a:pt x="2802" y="1239"/>
                    <a:pt x="2785" y="1262"/>
                    <a:pt x="2789" y="1298"/>
                  </a:cubicBezTo>
                  <a:cubicBezTo>
                    <a:pt x="2794" y="1352"/>
                    <a:pt x="2771" y="1369"/>
                    <a:pt x="2729" y="1392"/>
                  </a:cubicBezTo>
                  <a:cubicBezTo>
                    <a:pt x="2715" y="1400"/>
                    <a:pt x="2701" y="1408"/>
                    <a:pt x="2690" y="1421"/>
                  </a:cubicBezTo>
                  <a:cubicBezTo>
                    <a:pt x="2688" y="1421"/>
                    <a:pt x="2688" y="1423"/>
                    <a:pt x="2687" y="1425"/>
                  </a:cubicBezTo>
                  <a:cubicBezTo>
                    <a:pt x="2682" y="1431"/>
                    <a:pt x="2672" y="1444"/>
                    <a:pt x="2654" y="1443"/>
                  </a:cubicBezTo>
                  <a:cubicBezTo>
                    <a:pt x="2624" y="1443"/>
                    <a:pt x="2622" y="1412"/>
                    <a:pt x="2621" y="1395"/>
                  </a:cubicBezTo>
                  <a:lnTo>
                    <a:pt x="2621" y="1392"/>
                  </a:lnTo>
                  <a:cubicBezTo>
                    <a:pt x="2617" y="1354"/>
                    <a:pt x="2608" y="1331"/>
                    <a:pt x="2593" y="1329"/>
                  </a:cubicBezTo>
                  <a:cubicBezTo>
                    <a:pt x="2583" y="1328"/>
                    <a:pt x="2568" y="1349"/>
                    <a:pt x="2558" y="1365"/>
                  </a:cubicBezTo>
                  <a:cubicBezTo>
                    <a:pt x="2550" y="1379"/>
                    <a:pt x="2542" y="1392"/>
                    <a:pt x="2532" y="1398"/>
                  </a:cubicBezTo>
                  <a:cubicBezTo>
                    <a:pt x="2500" y="1423"/>
                    <a:pt x="2449" y="1431"/>
                    <a:pt x="2405" y="1436"/>
                  </a:cubicBezTo>
                  <a:cubicBezTo>
                    <a:pt x="2400" y="1438"/>
                    <a:pt x="2397" y="1438"/>
                    <a:pt x="2392" y="1438"/>
                  </a:cubicBezTo>
                  <a:cubicBezTo>
                    <a:pt x="2379" y="1438"/>
                    <a:pt x="2370" y="1440"/>
                    <a:pt x="2364" y="1446"/>
                  </a:cubicBezTo>
                  <a:cubicBezTo>
                    <a:pt x="2360" y="1449"/>
                    <a:pt x="2359" y="1458"/>
                    <a:pt x="2357" y="1466"/>
                  </a:cubicBezTo>
                  <a:cubicBezTo>
                    <a:pt x="2354" y="1476"/>
                    <a:pt x="2352" y="1486"/>
                    <a:pt x="2344" y="1496"/>
                  </a:cubicBezTo>
                  <a:cubicBezTo>
                    <a:pt x="2323" y="1522"/>
                    <a:pt x="2270" y="1543"/>
                    <a:pt x="2234" y="1530"/>
                  </a:cubicBezTo>
                  <a:cubicBezTo>
                    <a:pt x="2212" y="1522"/>
                    <a:pt x="2201" y="1504"/>
                    <a:pt x="2189" y="1487"/>
                  </a:cubicBezTo>
                  <a:cubicBezTo>
                    <a:pt x="2183" y="1477"/>
                    <a:pt x="2176" y="1468"/>
                    <a:pt x="2168" y="1461"/>
                  </a:cubicBezTo>
                  <a:cubicBezTo>
                    <a:pt x="2133" y="1433"/>
                    <a:pt x="2127" y="1423"/>
                    <a:pt x="2135" y="1375"/>
                  </a:cubicBezTo>
                  <a:cubicBezTo>
                    <a:pt x="2136" y="1360"/>
                    <a:pt x="2138" y="1347"/>
                    <a:pt x="2140" y="1332"/>
                  </a:cubicBezTo>
                  <a:cubicBezTo>
                    <a:pt x="2143" y="1304"/>
                    <a:pt x="2146" y="1280"/>
                    <a:pt x="2155" y="1250"/>
                  </a:cubicBezTo>
                  <a:cubicBezTo>
                    <a:pt x="2161" y="1229"/>
                    <a:pt x="2159" y="1207"/>
                    <a:pt x="2158" y="1184"/>
                  </a:cubicBezTo>
                  <a:cubicBezTo>
                    <a:pt x="2156" y="1166"/>
                    <a:pt x="2155" y="1146"/>
                    <a:pt x="2158" y="1128"/>
                  </a:cubicBezTo>
                  <a:cubicBezTo>
                    <a:pt x="2161" y="1100"/>
                    <a:pt x="2171" y="1074"/>
                    <a:pt x="2179" y="1047"/>
                  </a:cubicBezTo>
                  <a:cubicBezTo>
                    <a:pt x="2186" y="1028"/>
                    <a:pt x="2194" y="1006"/>
                    <a:pt x="2199" y="985"/>
                  </a:cubicBezTo>
                  <a:cubicBezTo>
                    <a:pt x="2201" y="975"/>
                    <a:pt x="2204" y="965"/>
                    <a:pt x="2207" y="952"/>
                  </a:cubicBezTo>
                  <a:cubicBezTo>
                    <a:pt x="2215" y="927"/>
                    <a:pt x="2227" y="894"/>
                    <a:pt x="2220" y="878"/>
                  </a:cubicBezTo>
                  <a:cubicBezTo>
                    <a:pt x="2215" y="870"/>
                    <a:pt x="2204" y="866"/>
                    <a:pt x="2184" y="863"/>
                  </a:cubicBezTo>
                  <a:cubicBezTo>
                    <a:pt x="2176" y="861"/>
                    <a:pt x="2166" y="860"/>
                    <a:pt x="2158" y="856"/>
                  </a:cubicBezTo>
                  <a:cubicBezTo>
                    <a:pt x="2118" y="840"/>
                    <a:pt x="2108" y="817"/>
                    <a:pt x="2102" y="784"/>
                  </a:cubicBezTo>
                  <a:cubicBezTo>
                    <a:pt x="2099" y="759"/>
                    <a:pt x="2087" y="746"/>
                    <a:pt x="2074" y="730"/>
                  </a:cubicBezTo>
                  <a:cubicBezTo>
                    <a:pt x="2067" y="721"/>
                    <a:pt x="2059" y="713"/>
                    <a:pt x="2054" y="703"/>
                  </a:cubicBezTo>
                  <a:cubicBezTo>
                    <a:pt x="2029" y="669"/>
                    <a:pt x="2046" y="634"/>
                    <a:pt x="2061" y="603"/>
                  </a:cubicBezTo>
                  <a:cubicBezTo>
                    <a:pt x="2079" y="566"/>
                    <a:pt x="2087" y="545"/>
                    <a:pt x="2061" y="522"/>
                  </a:cubicBezTo>
                  <a:cubicBezTo>
                    <a:pt x="2051" y="514"/>
                    <a:pt x="2033" y="509"/>
                    <a:pt x="2016" y="504"/>
                  </a:cubicBezTo>
                  <a:cubicBezTo>
                    <a:pt x="1990" y="497"/>
                    <a:pt x="1965" y="491"/>
                    <a:pt x="1957" y="469"/>
                  </a:cubicBezTo>
                  <a:cubicBezTo>
                    <a:pt x="1950" y="454"/>
                    <a:pt x="1955" y="438"/>
                    <a:pt x="1972" y="415"/>
                  </a:cubicBezTo>
                  <a:cubicBezTo>
                    <a:pt x="1975" y="412"/>
                    <a:pt x="1978" y="407"/>
                    <a:pt x="1982" y="403"/>
                  </a:cubicBezTo>
                  <a:cubicBezTo>
                    <a:pt x="1988" y="397"/>
                    <a:pt x="1991" y="395"/>
                    <a:pt x="1990" y="387"/>
                  </a:cubicBezTo>
                  <a:cubicBezTo>
                    <a:pt x="1990" y="380"/>
                    <a:pt x="1985" y="370"/>
                    <a:pt x="1980" y="362"/>
                  </a:cubicBezTo>
                  <a:cubicBezTo>
                    <a:pt x="1977" y="357"/>
                    <a:pt x="1973" y="352"/>
                    <a:pt x="1972" y="347"/>
                  </a:cubicBezTo>
                  <a:cubicBezTo>
                    <a:pt x="1965" y="331"/>
                    <a:pt x="1960" y="316"/>
                    <a:pt x="1955" y="300"/>
                  </a:cubicBezTo>
                  <a:cubicBezTo>
                    <a:pt x="1950" y="285"/>
                    <a:pt x="1945" y="270"/>
                    <a:pt x="1940" y="257"/>
                  </a:cubicBezTo>
                  <a:cubicBezTo>
                    <a:pt x="1930" y="234"/>
                    <a:pt x="1917" y="207"/>
                    <a:pt x="1894" y="196"/>
                  </a:cubicBezTo>
                  <a:cubicBezTo>
                    <a:pt x="1878" y="188"/>
                    <a:pt x="1861" y="191"/>
                    <a:pt x="1842" y="192"/>
                  </a:cubicBezTo>
                  <a:cubicBezTo>
                    <a:pt x="1830" y="194"/>
                    <a:pt x="1817" y="196"/>
                    <a:pt x="1802" y="194"/>
                  </a:cubicBezTo>
                  <a:lnTo>
                    <a:pt x="1802" y="194"/>
                  </a:lnTo>
                  <a:cubicBezTo>
                    <a:pt x="1772" y="191"/>
                    <a:pt x="1762" y="174"/>
                    <a:pt x="1759" y="166"/>
                  </a:cubicBezTo>
                  <a:cubicBezTo>
                    <a:pt x="1753" y="148"/>
                    <a:pt x="1759" y="127"/>
                    <a:pt x="1776" y="108"/>
                  </a:cubicBezTo>
                  <a:cubicBezTo>
                    <a:pt x="1782" y="102"/>
                    <a:pt x="1789" y="97"/>
                    <a:pt x="1794" y="92"/>
                  </a:cubicBezTo>
                  <a:cubicBezTo>
                    <a:pt x="1814" y="74"/>
                    <a:pt x="1818" y="69"/>
                    <a:pt x="1805" y="41"/>
                  </a:cubicBezTo>
                  <a:cubicBezTo>
                    <a:pt x="1804" y="36"/>
                    <a:pt x="1800" y="31"/>
                    <a:pt x="1799" y="24"/>
                  </a:cubicBezTo>
                  <a:cubicBezTo>
                    <a:pt x="1795" y="18"/>
                    <a:pt x="1792" y="8"/>
                    <a:pt x="1789" y="0"/>
                  </a:cubicBezTo>
                  <a:cubicBezTo>
                    <a:pt x="1784" y="16"/>
                    <a:pt x="1777" y="31"/>
                    <a:pt x="1767" y="44"/>
                  </a:cubicBezTo>
                  <a:cubicBezTo>
                    <a:pt x="1754" y="61"/>
                    <a:pt x="1738" y="69"/>
                    <a:pt x="1721" y="77"/>
                  </a:cubicBezTo>
                  <a:cubicBezTo>
                    <a:pt x="1716" y="79"/>
                    <a:pt x="1711" y="82"/>
                    <a:pt x="1706" y="84"/>
                  </a:cubicBezTo>
                  <a:cubicBezTo>
                    <a:pt x="1701" y="87"/>
                    <a:pt x="1698" y="89"/>
                    <a:pt x="1695" y="90"/>
                  </a:cubicBezTo>
                  <a:cubicBezTo>
                    <a:pt x="1687" y="97"/>
                    <a:pt x="1678" y="102"/>
                    <a:pt x="1669" y="105"/>
                  </a:cubicBezTo>
                  <a:cubicBezTo>
                    <a:pt x="1657" y="108"/>
                    <a:pt x="1645" y="108"/>
                    <a:pt x="1636" y="108"/>
                  </a:cubicBezTo>
                  <a:cubicBezTo>
                    <a:pt x="1627" y="108"/>
                    <a:pt x="1619" y="108"/>
                    <a:pt x="1613" y="110"/>
                  </a:cubicBezTo>
                  <a:cubicBezTo>
                    <a:pt x="1576" y="120"/>
                    <a:pt x="1575" y="168"/>
                    <a:pt x="1575" y="189"/>
                  </a:cubicBezTo>
                  <a:cubicBezTo>
                    <a:pt x="1576" y="201"/>
                    <a:pt x="1580" y="211"/>
                    <a:pt x="1585" y="222"/>
                  </a:cubicBezTo>
                  <a:cubicBezTo>
                    <a:pt x="1589" y="230"/>
                    <a:pt x="1593" y="239"/>
                    <a:pt x="1594" y="248"/>
                  </a:cubicBezTo>
                  <a:cubicBezTo>
                    <a:pt x="1603" y="280"/>
                    <a:pt x="1588" y="291"/>
                    <a:pt x="1578" y="300"/>
                  </a:cubicBezTo>
                  <a:cubicBezTo>
                    <a:pt x="1573" y="303"/>
                    <a:pt x="1568" y="306"/>
                    <a:pt x="1565" y="314"/>
                  </a:cubicBezTo>
                  <a:cubicBezTo>
                    <a:pt x="1561" y="319"/>
                    <a:pt x="1563" y="324"/>
                    <a:pt x="1563" y="332"/>
                  </a:cubicBezTo>
                  <a:cubicBezTo>
                    <a:pt x="1565" y="341"/>
                    <a:pt x="1566" y="349"/>
                    <a:pt x="1565" y="359"/>
                  </a:cubicBezTo>
                  <a:cubicBezTo>
                    <a:pt x="1561" y="369"/>
                    <a:pt x="1557" y="375"/>
                    <a:pt x="1555" y="382"/>
                  </a:cubicBezTo>
                  <a:cubicBezTo>
                    <a:pt x="1548" y="392"/>
                    <a:pt x="1547" y="395"/>
                    <a:pt x="1550" y="405"/>
                  </a:cubicBezTo>
                  <a:cubicBezTo>
                    <a:pt x="1557" y="420"/>
                    <a:pt x="1570" y="431"/>
                    <a:pt x="1585" y="443"/>
                  </a:cubicBezTo>
                  <a:cubicBezTo>
                    <a:pt x="1606" y="463"/>
                    <a:pt x="1632" y="486"/>
                    <a:pt x="1629" y="522"/>
                  </a:cubicBezTo>
                  <a:cubicBezTo>
                    <a:pt x="1627" y="543"/>
                    <a:pt x="1617" y="558"/>
                    <a:pt x="1608" y="571"/>
                  </a:cubicBezTo>
                  <a:cubicBezTo>
                    <a:pt x="1606" y="575"/>
                    <a:pt x="1603" y="580"/>
                    <a:pt x="1601" y="583"/>
                  </a:cubicBezTo>
                  <a:cubicBezTo>
                    <a:pt x="1591" y="596"/>
                    <a:pt x="1593" y="599"/>
                    <a:pt x="1598" y="611"/>
                  </a:cubicBezTo>
                  <a:cubicBezTo>
                    <a:pt x="1601" y="617"/>
                    <a:pt x="1604" y="624"/>
                    <a:pt x="1606" y="634"/>
                  </a:cubicBezTo>
                  <a:cubicBezTo>
                    <a:pt x="1613" y="665"/>
                    <a:pt x="1598" y="682"/>
                    <a:pt x="1583" y="697"/>
                  </a:cubicBezTo>
                  <a:cubicBezTo>
                    <a:pt x="1580" y="702"/>
                    <a:pt x="1576" y="705"/>
                    <a:pt x="1573" y="708"/>
                  </a:cubicBezTo>
                  <a:cubicBezTo>
                    <a:pt x="1561" y="723"/>
                    <a:pt x="1558" y="738"/>
                    <a:pt x="1555" y="754"/>
                  </a:cubicBezTo>
                  <a:cubicBezTo>
                    <a:pt x="1553" y="766"/>
                    <a:pt x="1550" y="777"/>
                    <a:pt x="1545" y="789"/>
                  </a:cubicBezTo>
                  <a:cubicBezTo>
                    <a:pt x="1537" y="809"/>
                    <a:pt x="1524" y="820"/>
                    <a:pt x="1510" y="833"/>
                  </a:cubicBezTo>
                  <a:cubicBezTo>
                    <a:pt x="1504" y="838"/>
                    <a:pt x="1497" y="843"/>
                    <a:pt x="1491" y="851"/>
                  </a:cubicBezTo>
                  <a:lnTo>
                    <a:pt x="1484" y="860"/>
                  </a:lnTo>
                  <a:cubicBezTo>
                    <a:pt x="1473" y="873"/>
                    <a:pt x="1461" y="886"/>
                    <a:pt x="1444" y="898"/>
                  </a:cubicBezTo>
                  <a:cubicBezTo>
                    <a:pt x="1438" y="901"/>
                    <a:pt x="1433" y="904"/>
                    <a:pt x="1428" y="906"/>
                  </a:cubicBezTo>
                  <a:cubicBezTo>
                    <a:pt x="1416" y="911"/>
                    <a:pt x="1415" y="912"/>
                    <a:pt x="1413" y="919"/>
                  </a:cubicBezTo>
                  <a:cubicBezTo>
                    <a:pt x="1413" y="919"/>
                    <a:pt x="1415" y="922"/>
                    <a:pt x="1416" y="924"/>
                  </a:cubicBezTo>
                  <a:cubicBezTo>
                    <a:pt x="1418" y="929"/>
                    <a:pt x="1420" y="932"/>
                    <a:pt x="1421" y="935"/>
                  </a:cubicBezTo>
                  <a:cubicBezTo>
                    <a:pt x="1428" y="959"/>
                    <a:pt x="1421" y="967"/>
                    <a:pt x="1410" y="980"/>
                  </a:cubicBezTo>
                  <a:cubicBezTo>
                    <a:pt x="1405" y="985"/>
                    <a:pt x="1400" y="990"/>
                    <a:pt x="1397" y="993"/>
                  </a:cubicBezTo>
                  <a:cubicBezTo>
                    <a:pt x="1387" y="1005"/>
                    <a:pt x="1380" y="1011"/>
                    <a:pt x="1377" y="1028"/>
                  </a:cubicBezTo>
                  <a:cubicBezTo>
                    <a:pt x="1374" y="1044"/>
                    <a:pt x="1374" y="1062"/>
                    <a:pt x="1379" y="1085"/>
                  </a:cubicBezTo>
                  <a:cubicBezTo>
                    <a:pt x="1387" y="1145"/>
                    <a:pt x="1407" y="1189"/>
                    <a:pt x="1430" y="1209"/>
                  </a:cubicBezTo>
                  <a:cubicBezTo>
                    <a:pt x="1441" y="1219"/>
                    <a:pt x="1454" y="1217"/>
                    <a:pt x="1471" y="1216"/>
                  </a:cubicBezTo>
                  <a:cubicBezTo>
                    <a:pt x="1492" y="1216"/>
                    <a:pt x="1522" y="1212"/>
                    <a:pt x="1535" y="1252"/>
                  </a:cubicBezTo>
                  <a:cubicBezTo>
                    <a:pt x="1558" y="1321"/>
                    <a:pt x="1527" y="1357"/>
                    <a:pt x="1489" y="1385"/>
                  </a:cubicBezTo>
                  <a:cubicBezTo>
                    <a:pt x="1469" y="1402"/>
                    <a:pt x="1456" y="1413"/>
                    <a:pt x="1458" y="1433"/>
                  </a:cubicBezTo>
                  <a:cubicBezTo>
                    <a:pt x="1458" y="1451"/>
                    <a:pt x="1466" y="1456"/>
                    <a:pt x="1486" y="1466"/>
                  </a:cubicBezTo>
                  <a:cubicBezTo>
                    <a:pt x="1491" y="1468"/>
                    <a:pt x="1494" y="1471"/>
                    <a:pt x="1499" y="1473"/>
                  </a:cubicBezTo>
                  <a:cubicBezTo>
                    <a:pt x="1548" y="1501"/>
                    <a:pt x="1561" y="1557"/>
                    <a:pt x="1533" y="1608"/>
                  </a:cubicBezTo>
                  <a:cubicBezTo>
                    <a:pt x="1527" y="1621"/>
                    <a:pt x="1519" y="1631"/>
                    <a:pt x="1509" y="1641"/>
                  </a:cubicBezTo>
                  <a:cubicBezTo>
                    <a:pt x="1502" y="1649"/>
                    <a:pt x="1494" y="1657"/>
                    <a:pt x="1489" y="1665"/>
                  </a:cubicBezTo>
                  <a:cubicBezTo>
                    <a:pt x="1484" y="1675"/>
                    <a:pt x="1484" y="1685"/>
                    <a:pt x="1484" y="1697"/>
                  </a:cubicBezTo>
                  <a:cubicBezTo>
                    <a:pt x="1484" y="1705"/>
                    <a:pt x="1484" y="1716"/>
                    <a:pt x="1481" y="1728"/>
                  </a:cubicBezTo>
                  <a:cubicBezTo>
                    <a:pt x="1476" y="1744"/>
                    <a:pt x="1464" y="1753"/>
                    <a:pt x="1456" y="1756"/>
                  </a:cubicBezTo>
                  <a:cubicBezTo>
                    <a:pt x="1425" y="1767"/>
                    <a:pt x="1382" y="1741"/>
                    <a:pt x="1347" y="1721"/>
                  </a:cubicBezTo>
                  <a:cubicBezTo>
                    <a:pt x="1337" y="1715"/>
                    <a:pt x="1329" y="1710"/>
                    <a:pt x="1324" y="1708"/>
                  </a:cubicBezTo>
                  <a:cubicBezTo>
                    <a:pt x="1280" y="1688"/>
                    <a:pt x="1235" y="1664"/>
                    <a:pt x="1209" y="1614"/>
                  </a:cubicBezTo>
                  <a:cubicBezTo>
                    <a:pt x="1207" y="1611"/>
                    <a:pt x="1206" y="1608"/>
                    <a:pt x="1204" y="1604"/>
                  </a:cubicBezTo>
                  <a:cubicBezTo>
                    <a:pt x="1199" y="1593"/>
                    <a:pt x="1197" y="1588"/>
                    <a:pt x="1187" y="1586"/>
                  </a:cubicBezTo>
                  <a:cubicBezTo>
                    <a:pt x="1173" y="1583"/>
                    <a:pt x="1151" y="1591"/>
                    <a:pt x="1127" y="1613"/>
                  </a:cubicBezTo>
                  <a:lnTo>
                    <a:pt x="1110" y="1634"/>
                  </a:lnTo>
                  <a:cubicBezTo>
                    <a:pt x="1107" y="1644"/>
                    <a:pt x="1110" y="1654"/>
                    <a:pt x="1117" y="1667"/>
                  </a:cubicBezTo>
                  <a:cubicBezTo>
                    <a:pt x="1122" y="1683"/>
                    <a:pt x="1128" y="1700"/>
                    <a:pt x="1125" y="1723"/>
                  </a:cubicBezTo>
                  <a:cubicBezTo>
                    <a:pt x="1122" y="1743"/>
                    <a:pt x="1107" y="1759"/>
                    <a:pt x="1094" y="1776"/>
                  </a:cubicBezTo>
                  <a:cubicBezTo>
                    <a:pt x="1089" y="1781"/>
                    <a:pt x="1084" y="1787"/>
                    <a:pt x="1079" y="1792"/>
                  </a:cubicBezTo>
                  <a:cubicBezTo>
                    <a:pt x="1062" y="1815"/>
                    <a:pt x="1047" y="1835"/>
                    <a:pt x="1016" y="1850"/>
                  </a:cubicBezTo>
                  <a:cubicBezTo>
                    <a:pt x="985" y="1865"/>
                    <a:pt x="949" y="1901"/>
                    <a:pt x="924" y="1945"/>
                  </a:cubicBezTo>
                  <a:cubicBezTo>
                    <a:pt x="917" y="1957"/>
                    <a:pt x="914" y="1967"/>
                    <a:pt x="909" y="1977"/>
                  </a:cubicBezTo>
                  <a:cubicBezTo>
                    <a:pt x="902" y="1990"/>
                    <a:pt x="898" y="2003"/>
                    <a:pt x="889" y="2016"/>
                  </a:cubicBezTo>
                  <a:cubicBezTo>
                    <a:pt x="876" y="2038"/>
                    <a:pt x="876" y="2047"/>
                    <a:pt x="881" y="2074"/>
                  </a:cubicBezTo>
                  <a:cubicBezTo>
                    <a:pt x="884" y="2089"/>
                    <a:pt x="891" y="2141"/>
                    <a:pt x="868" y="2158"/>
                  </a:cubicBezTo>
                  <a:cubicBezTo>
                    <a:pt x="860" y="2164"/>
                    <a:pt x="846" y="2168"/>
                    <a:pt x="825" y="2156"/>
                  </a:cubicBezTo>
                  <a:cubicBezTo>
                    <a:pt x="800" y="2141"/>
                    <a:pt x="787" y="2113"/>
                    <a:pt x="776" y="2089"/>
                  </a:cubicBezTo>
                  <a:cubicBezTo>
                    <a:pt x="772" y="2082"/>
                    <a:pt x="771" y="2075"/>
                    <a:pt x="767" y="2071"/>
                  </a:cubicBezTo>
                  <a:cubicBezTo>
                    <a:pt x="759" y="2056"/>
                    <a:pt x="751" y="2043"/>
                    <a:pt x="741" y="2029"/>
                  </a:cubicBezTo>
                  <a:cubicBezTo>
                    <a:pt x="734" y="2020"/>
                    <a:pt x="728" y="2011"/>
                    <a:pt x="721" y="2001"/>
                  </a:cubicBezTo>
                  <a:cubicBezTo>
                    <a:pt x="720" y="1998"/>
                    <a:pt x="718" y="1995"/>
                    <a:pt x="716" y="1993"/>
                  </a:cubicBezTo>
                  <a:cubicBezTo>
                    <a:pt x="708" y="1978"/>
                    <a:pt x="706" y="1975"/>
                    <a:pt x="693" y="1977"/>
                  </a:cubicBezTo>
                  <a:cubicBezTo>
                    <a:pt x="675" y="1978"/>
                    <a:pt x="667" y="1993"/>
                    <a:pt x="654" y="2018"/>
                  </a:cubicBezTo>
                  <a:cubicBezTo>
                    <a:pt x="644" y="2036"/>
                    <a:pt x="634" y="2056"/>
                    <a:pt x="614" y="2066"/>
                  </a:cubicBezTo>
                  <a:cubicBezTo>
                    <a:pt x="576" y="2085"/>
                    <a:pt x="532" y="2077"/>
                    <a:pt x="494" y="2069"/>
                  </a:cubicBezTo>
                  <a:cubicBezTo>
                    <a:pt x="481" y="2066"/>
                    <a:pt x="468" y="2062"/>
                    <a:pt x="456" y="2061"/>
                  </a:cubicBezTo>
                  <a:lnTo>
                    <a:pt x="454" y="2061"/>
                  </a:lnTo>
                  <a:cubicBezTo>
                    <a:pt x="407" y="2056"/>
                    <a:pt x="380" y="2077"/>
                    <a:pt x="359" y="2131"/>
                  </a:cubicBezTo>
                  <a:cubicBezTo>
                    <a:pt x="356" y="2141"/>
                    <a:pt x="352" y="2150"/>
                    <a:pt x="347" y="2159"/>
                  </a:cubicBezTo>
                  <a:cubicBezTo>
                    <a:pt x="329" y="2202"/>
                    <a:pt x="311" y="2247"/>
                    <a:pt x="318" y="2291"/>
                  </a:cubicBezTo>
                  <a:cubicBezTo>
                    <a:pt x="321" y="2313"/>
                    <a:pt x="329" y="2323"/>
                    <a:pt x="347" y="2341"/>
                  </a:cubicBezTo>
                  <a:cubicBezTo>
                    <a:pt x="369" y="2362"/>
                    <a:pt x="370" y="2379"/>
                    <a:pt x="375" y="2403"/>
                  </a:cubicBezTo>
                  <a:lnTo>
                    <a:pt x="380" y="2421"/>
                  </a:lnTo>
                  <a:cubicBezTo>
                    <a:pt x="385" y="2444"/>
                    <a:pt x="389" y="2459"/>
                    <a:pt x="365" y="2484"/>
                  </a:cubicBezTo>
                  <a:cubicBezTo>
                    <a:pt x="362" y="2487"/>
                    <a:pt x="357" y="2491"/>
                    <a:pt x="354" y="2492"/>
                  </a:cubicBezTo>
                  <a:cubicBezTo>
                    <a:pt x="351" y="2496"/>
                    <a:pt x="347" y="2497"/>
                    <a:pt x="346" y="2500"/>
                  </a:cubicBezTo>
                  <a:cubicBezTo>
                    <a:pt x="342" y="2505"/>
                    <a:pt x="341" y="2510"/>
                    <a:pt x="339" y="2519"/>
                  </a:cubicBezTo>
                  <a:cubicBezTo>
                    <a:pt x="339" y="2525"/>
                    <a:pt x="337" y="2532"/>
                    <a:pt x="334" y="2538"/>
                  </a:cubicBezTo>
                  <a:cubicBezTo>
                    <a:pt x="321" y="2568"/>
                    <a:pt x="308" y="2571"/>
                    <a:pt x="285" y="2575"/>
                  </a:cubicBezTo>
                  <a:cubicBezTo>
                    <a:pt x="280" y="2576"/>
                    <a:pt x="276" y="2576"/>
                    <a:pt x="272" y="2578"/>
                  </a:cubicBezTo>
                  <a:cubicBezTo>
                    <a:pt x="245" y="2581"/>
                    <a:pt x="237" y="2591"/>
                    <a:pt x="225" y="2621"/>
                  </a:cubicBezTo>
                  <a:cubicBezTo>
                    <a:pt x="224" y="2626"/>
                    <a:pt x="220" y="2632"/>
                    <a:pt x="217" y="2639"/>
                  </a:cubicBezTo>
                  <a:cubicBezTo>
                    <a:pt x="211" y="2654"/>
                    <a:pt x="202" y="2672"/>
                    <a:pt x="202" y="2683"/>
                  </a:cubicBezTo>
                  <a:cubicBezTo>
                    <a:pt x="202" y="2695"/>
                    <a:pt x="206" y="2705"/>
                    <a:pt x="211" y="2716"/>
                  </a:cubicBezTo>
                  <a:cubicBezTo>
                    <a:pt x="217" y="2731"/>
                    <a:pt x="224" y="2748"/>
                    <a:pt x="222" y="2767"/>
                  </a:cubicBezTo>
                  <a:cubicBezTo>
                    <a:pt x="220" y="2789"/>
                    <a:pt x="211" y="2804"/>
                    <a:pt x="202" y="2820"/>
                  </a:cubicBezTo>
                  <a:cubicBezTo>
                    <a:pt x="196" y="2832"/>
                    <a:pt x="189" y="2843"/>
                    <a:pt x="186" y="2856"/>
                  </a:cubicBezTo>
                  <a:cubicBezTo>
                    <a:pt x="184" y="2868"/>
                    <a:pt x="184" y="2881"/>
                    <a:pt x="186" y="2894"/>
                  </a:cubicBezTo>
                  <a:cubicBezTo>
                    <a:pt x="186" y="2912"/>
                    <a:pt x="188" y="2930"/>
                    <a:pt x="181" y="2950"/>
                  </a:cubicBezTo>
                  <a:cubicBezTo>
                    <a:pt x="174" y="2972"/>
                    <a:pt x="164" y="2995"/>
                    <a:pt x="156" y="3013"/>
                  </a:cubicBezTo>
                  <a:cubicBezTo>
                    <a:pt x="138" y="3049"/>
                    <a:pt x="117" y="3049"/>
                    <a:pt x="84" y="3046"/>
                  </a:cubicBezTo>
                  <a:cubicBezTo>
                    <a:pt x="62" y="3044"/>
                    <a:pt x="59" y="3049"/>
                    <a:pt x="47" y="3064"/>
                  </a:cubicBezTo>
                  <a:cubicBezTo>
                    <a:pt x="43" y="3070"/>
                    <a:pt x="38" y="3077"/>
                    <a:pt x="31" y="3082"/>
                  </a:cubicBezTo>
                  <a:cubicBezTo>
                    <a:pt x="26" y="3089"/>
                    <a:pt x="21" y="3094"/>
                    <a:pt x="15" y="3097"/>
                  </a:cubicBezTo>
                  <a:cubicBezTo>
                    <a:pt x="1" y="3108"/>
                    <a:pt x="0" y="3108"/>
                    <a:pt x="6" y="3118"/>
                  </a:cubicBezTo>
                  <a:cubicBezTo>
                    <a:pt x="13" y="3127"/>
                    <a:pt x="21" y="3135"/>
                    <a:pt x="31" y="3141"/>
                  </a:cubicBezTo>
                  <a:cubicBezTo>
                    <a:pt x="41" y="3148"/>
                    <a:pt x="51" y="3156"/>
                    <a:pt x="57" y="3166"/>
                  </a:cubicBezTo>
                  <a:cubicBezTo>
                    <a:pt x="67" y="3178"/>
                    <a:pt x="74" y="3189"/>
                    <a:pt x="82" y="3201"/>
                  </a:cubicBezTo>
                  <a:cubicBezTo>
                    <a:pt x="94" y="3219"/>
                    <a:pt x="104" y="3235"/>
                    <a:pt x="118" y="3250"/>
                  </a:cubicBezTo>
                  <a:cubicBezTo>
                    <a:pt x="128" y="3260"/>
                    <a:pt x="140" y="3270"/>
                    <a:pt x="151" y="3280"/>
                  </a:cubicBezTo>
                  <a:cubicBezTo>
                    <a:pt x="158" y="3285"/>
                    <a:pt x="166" y="3291"/>
                    <a:pt x="173" y="3298"/>
                  </a:cubicBezTo>
                  <a:cubicBezTo>
                    <a:pt x="225" y="3275"/>
                    <a:pt x="273" y="3311"/>
                    <a:pt x="313" y="3344"/>
                  </a:cubicBezTo>
                  <a:cubicBezTo>
                    <a:pt x="319" y="3349"/>
                    <a:pt x="328" y="3355"/>
                    <a:pt x="336" y="3360"/>
                  </a:cubicBezTo>
                  <a:cubicBezTo>
                    <a:pt x="351" y="3372"/>
                    <a:pt x="365" y="3382"/>
                    <a:pt x="384" y="3392"/>
                  </a:cubicBezTo>
                  <a:cubicBezTo>
                    <a:pt x="402" y="3402"/>
                    <a:pt x="420" y="3413"/>
                    <a:pt x="438" y="3426"/>
                  </a:cubicBezTo>
                  <a:cubicBezTo>
                    <a:pt x="471" y="3453"/>
                    <a:pt x="492" y="3463"/>
                    <a:pt x="527" y="3454"/>
                  </a:cubicBezTo>
                  <a:cubicBezTo>
                    <a:pt x="566" y="3444"/>
                    <a:pt x="598" y="3443"/>
                    <a:pt x="614" y="3499"/>
                  </a:cubicBezTo>
                  <a:cubicBezTo>
                    <a:pt x="614" y="3499"/>
                    <a:pt x="614" y="3500"/>
                    <a:pt x="614" y="3502"/>
                  </a:cubicBezTo>
                  <a:cubicBezTo>
                    <a:pt x="616" y="3500"/>
                    <a:pt x="616" y="3500"/>
                    <a:pt x="617" y="3500"/>
                  </a:cubicBezTo>
                  <a:cubicBezTo>
                    <a:pt x="641" y="3487"/>
                    <a:pt x="669" y="3468"/>
                    <a:pt x="700" y="3443"/>
                  </a:cubicBezTo>
                  <a:cubicBezTo>
                    <a:pt x="705" y="3440"/>
                    <a:pt x="710" y="3435"/>
                    <a:pt x="716" y="3428"/>
                  </a:cubicBezTo>
                  <a:cubicBezTo>
                    <a:pt x="743" y="3403"/>
                    <a:pt x="781" y="3369"/>
                    <a:pt x="815" y="3385"/>
                  </a:cubicBezTo>
                  <a:cubicBezTo>
                    <a:pt x="838" y="3393"/>
                    <a:pt x="845" y="3418"/>
                    <a:pt x="850" y="3436"/>
                  </a:cubicBezTo>
                  <a:cubicBezTo>
                    <a:pt x="851" y="3443"/>
                    <a:pt x="853" y="3448"/>
                    <a:pt x="855" y="3453"/>
                  </a:cubicBezTo>
                  <a:cubicBezTo>
                    <a:pt x="863" y="3474"/>
                    <a:pt x="881" y="3487"/>
                    <a:pt x="899" y="3504"/>
                  </a:cubicBezTo>
                  <a:lnTo>
                    <a:pt x="902" y="3507"/>
                  </a:lnTo>
                  <a:cubicBezTo>
                    <a:pt x="926" y="3525"/>
                    <a:pt x="952" y="3538"/>
                    <a:pt x="977" y="3552"/>
                  </a:cubicBezTo>
                  <a:cubicBezTo>
                    <a:pt x="1010" y="3568"/>
                    <a:pt x="1043" y="3584"/>
                    <a:pt x="1071" y="3612"/>
                  </a:cubicBezTo>
                  <a:cubicBezTo>
                    <a:pt x="1077" y="3619"/>
                    <a:pt x="1084" y="3627"/>
                    <a:pt x="1090" y="3636"/>
                  </a:cubicBezTo>
                  <a:cubicBezTo>
                    <a:pt x="1105" y="3652"/>
                    <a:pt x="1120" y="3669"/>
                    <a:pt x="1138" y="3678"/>
                  </a:cubicBezTo>
                  <a:cubicBezTo>
                    <a:pt x="1155" y="3687"/>
                    <a:pt x="1169" y="3687"/>
                    <a:pt x="1186" y="3685"/>
                  </a:cubicBezTo>
                  <a:cubicBezTo>
                    <a:pt x="1196" y="3685"/>
                    <a:pt x="1206" y="3683"/>
                    <a:pt x="1217" y="3685"/>
                  </a:cubicBezTo>
                  <a:cubicBezTo>
                    <a:pt x="1252" y="3687"/>
                    <a:pt x="1270" y="3711"/>
                    <a:pt x="1288" y="3733"/>
                  </a:cubicBezTo>
                  <a:cubicBezTo>
                    <a:pt x="1291" y="3738"/>
                    <a:pt x="1296" y="3743"/>
                    <a:pt x="1300" y="3748"/>
                  </a:cubicBezTo>
                  <a:cubicBezTo>
                    <a:pt x="1316" y="3767"/>
                    <a:pt x="1334" y="3779"/>
                    <a:pt x="1356" y="3792"/>
                  </a:cubicBezTo>
                  <a:cubicBezTo>
                    <a:pt x="1395" y="3815"/>
                    <a:pt x="1398" y="3833"/>
                    <a:pt x="1402" y="3874"/>
                  </a:cubicBezTo>
                  <a:cubicBezTo>
                    <a:pt x="1403" y="3888"/>
                    <a:pt x="1407" y="3896"/>
                    <a:pt x="1412" y="3901"/>
                  </a:cubicBezTo>
                  <a:cubicBezTo>
                    <a:pt x="1415" y="3906"/>
                    <a:pt x="1425" y="3907"/>
                    <a:pt x="1436" y="3906"/>
                  </a:cubicBezTo>
                  <a:cubicBezTo>
                    <a:pt x="1494" y="3901"/>
                    <a:pt x="1505" y="3911"/>
                    <a:pt x="1520" y="3965"/>
                  </a:cubicBezTo>
                  <a:cubicBezTo>
                    <a:pt x="1524" y="3980"/>
                    <a:pt x="1529" y="3983"/>
                    <a:pt x="1530" y="3985"/>
                  </a:cubicBezTo>
                  <a:cubicBezTo>
                    <a:pt x="1538" y="3986"/>
                    <a:pt x="1555" y="3977"/>
                    <a:pt x="1566" y="3968"/>
                  </a:cubicBezTo>
                  <a:cubicBezTo>
                    <a:pt x="1575" y="3963"/>
                    <a:pt x="1581" y="3958"/>
                    <a:pt x="1589" y="3954"/>
                  </a:cubicBezTo>
                  <a:cubicBezTo>
                    <a:pt x="1598" y="3950"/>
                    <a:pt x="1606" y="3947"/>
                    <a:pt x="1614" y="3945"/>
                  </a:cubicBezTo>
                  <a:cubicBezTo>
                    <a:pt x="1631" y="3940"/>
                    <a:pt x="1639" y="3937"/>
                    <a:pt x="1645" y="3925"/>
                  </a:cubicBezTo>
                  <a:cubicBezTo>
                    <a:pt x="1649" y="3917"/>
                    <a:pt x="1649" y="3907"/>
                    <a:pt x="1649" y="3896"/>
                  </a:cubicBezTo>
                  <a:cubicBezTo>
                    <a:pt x="1647" y="3881"/>
                    <a:pt x="1647" y="3860"/>
                    <a:pt x="1664" y="3843"/>
                  </a:cubicBezTo>
                  <a:cubicBezTo>
                    <a:pt x="1677" y="3828"/>
                    <a:pt x="1695" y="3820"/>
                    <a:pt x="1713" y="3812"/>
                  </a:cubicBezTo>
                  <a:cubicBezTo>
                    <a:pt x="1723" y="3809"/>
                    <a:pt x="1733" y="3804"/>
                    <a:pt x="1739" y="3799"/>
                  </a:cubicBezTo>
                  <a:cubicBezTo>
                    <a:pt x="1764" y="3784"/>
                    <a:pt x="1786" y="3766"/>
                    <a:pt x="1804" y="3743"/>
                  </a:cubicBezTo>
                  <a:cubicBezTo>
                    <a:pt x="1823" y="3720"/>
                    <a:pt x="1838" y="3688"/>
                    <a:pt x="1853" y="3659"/>
                  </a:cubicBezTo>
                  <a:cubicBezTo>
                    <a:pt x="1870" y="3626"/>
                    <a:pt x="1886" y="3591"/>
                    <a:pt x="1911" y="3563"/>
                  </a:cubicBezTo>
                  <a:cubicBezTo>
                    <a:pt x="1924" y="3548"/>
                    <a:pt x="1940" y="3538"/>
                    <a:pt x="1957" y="3527"/>
                  </a:cubicBezTo>
                  <a:cubicBezTo>
                    <a:pt x="1968" y="3517"/>
                    <a:pt x="1980" y="3509"/>
                    <a:pt x="1991" y="3499"/>
                  </a:cubicBezTo>
                  <a:cubicBezTo>
                    <a:pt x="2008" y="3484"/>
                    <a:pt x="2024" y="3468"/>
                    <a:pt x="2039" y="3451"/>
                  </a:cubicBezTo>
                  <a:cubicBezTo>
                    <a:pt x="2047" y="3443"/>
                    <a:pt x="2056" y="3435"/>
                    <a:pt x="2064" y="3426"/>
                  </a:cubicBezTo>
                  <a:cubicBezTo>
                    <a:pt x="2087" y="3403"/>
                    <a:pt x="2115" y="3377"/>
                    <a:pt x="2146" y="3354"/>
                  </a:cubicBezTo>
                  <a:lnTo>
                    <a:pt x="2153" y="3351"/>
                  </a:lnTo>
                  <a:cubicBezTo>
                    <a:pt x="2176" y="3332"/>
                    <a:pt x="2197" y="3318"/>
                    <a:pt x="2207" y="3291"/>
                  </a:cubicBezTo>
                  <a:cubicBezTo>
                    <a:pt x="2217" y="3271"/>
                    <a:pt x="2222" y="3245"/>
                    <a:pt x="2225" y="3222"/>
                  </a:cubicBezTo>
                  <a:cubicBezTo>
                    <a:pt x="2229" y="3209"/>
                    <a:pt x="2230" y="3196"/>
                    <a:pt x="2234" y="3184"/>
                  </a:cubicBezTo>
                  <a:cubicBezTo>
                    <a:pt x="2242" y="3150"/>
                    <a:pt x="2252" y="3115"/>
                    <a:pt x="2263" y="3075"/>
                  </a:cubicBezTo>
                  <a:lnTo>
                    <a:pt x="2270" y="3059"/>
                  </a:lnTo>
                  <a:cubicBezTo>
                    <a:pt x="2278" y="3031"/>
                    <a:pt x="2286" y="3001"/>
                    <a:pt x="2300" y="2973"/>
                  </a:cubicBezTo>
                  <a:cubicBezTo>
                    <a:pt x="2301" y="2968"/>
                    <a:pt x="2303" y="2963"/>
                    <a:pt x="2306" y="2958"/>
                  </a:cubicBezTo>
                  <a:cubicBezTo>
                    <a:pt x="2314" y="2942"/>
                    <a:pt x="2324" y="2926"/>
                    <a:pt x="2321" y="2912"/>
                  </a:cubicBezTo>
                  <a:cubicBezTo>
                    <a:pt x="2319" y="2902"/>
                    <a:pt x="2311" y="2899"/>
                    <a:pt x="2298" y="2893"/>
                  </a:cubicBezTo>
                  <a:cubicBezTo>
                    <a:pt x="2288" y="2889"/>
                    <a:pt x="2276" y="2884"/>
                    <a:pt x="2268" y="2876"/>
                  </a:cubicBezTo>
                  <a:cubicBezTo>
                    <a:pt x="2250" y="2858"/>
                    <a:pt x="2247" y="2833"/>
                    <a:pt x="2245" y="2809"/>
                  </a:cubicBezTo>
                  <a:cubicBezTo>
                    <a:pt x="2243" y="2790"/>
                    <a:pt x="2243" y="2772"/>
                    <a:pt x="2245" y="2754"/>
                  </a:cubicBezTo>
                  <a:cubicBezTo>
                    <a:pt x="2247" y="2723"/>
                    <a:pt x="2248" y="2693"/>
                    <a:pt x="2235" y="2665"/>
                  </a:cubicBezTo>
                  <a:lnTo>
                    <a:pt x="2234" y="2660"/>
                  </a:lnTo>
                  <a:cubicBezTo>
                    <a:pt x="2220" y="2631"/>
                    <a:pt x="2211" y="2609"/>
                    <a:pt x="2217" y="2571"/>
                  </a:cubicBezTo>
                  <a:cubicBezTo>
                    <a:pt x="2219" y="2561"/>
                    <a:pt x="2219" y="2552"/>
                    <a:pt x="2220" y="2540"/>
                  </a:cubicBezTo>
                  <a:cubicBezTo>
                    <a:pt x="2222" y="2520"/>
                    <a:pt x="2224" y="2499"/>
                    <a:pt x="2230" y="2481"/>
                  </a:cubicBezTo>
                  <a:cubicBezTo>
                    <a:pt x="2235" y="2469"/>
                    <a:pt x="2245" y="2463"/>
                    <a:pt x="2257" y="2456"/>
                  </a:cubicBezTo>
                  <a:cubicBezTo>
                    <a:pt x="2263" y="2451"/>
                    <a:pt x="2276" y="2443"/>
                    <a:pt x="2275" y="2438"/>
                  </a:cubicBezTo>
                  <a:cubicBezTo>
                    <a:pt x="2275" y="2435"/>
                    <a:pt x="2263" y="2430"/>
                    <a:pt x="2257" y="2426"/>
                  </a:cubicBezTo>
                  <a:cubicBezTo>
                    <a:pt x="2250" y="2423"/>
                    <a:pt x="2245" y="2421"/>
                    <a:pt x="2240" y="2416"/>
                  </a:cubicBezTo>
                  <a:cubicBezTo>
                    <a:pt x="2235" y="2413"/>
                    <a:pt x="2234" y="2407"/>
                    <a:pt x="2230" y="2402"/>
                  </a:cubicBezTo>
                  <a:cubicBezTo>
                    <a:pt x="2229" y="2398"/>
                    <a:pt x="2227" y="2395"/>
                    <a:pt x="2225" y="2393"/>
                  </a:cubicBezTo>
                  <a:cubicBezTo>
                    <a:pt x="2220" y="2388"/>
                    <a:pt x="2212" y="2384"/>
                    <a:pt x="2204" y="2379"/>
                  </a:cubicBezTo>
                  <a:cubicBezTo>
                    <a:pt x="2192" y="2372"/>
                    <a:pt x="2179" y="2365"/>
                    <a:pt x="2173" y="2351"/>
                  </a:cubicBezTo>
                  <a:cubicBezTo>
                    <a:pt x="2156" y="2323"/>
                    <a:pt x="2169" y="2288"/>
                    <a:pt x="2187" y="2267"/>
                  </a:cubicBezTo>
                  <a:cubicBezTo>
                    <a:pt x="2209" y="2239"/>
                    <a:pt x="2242" y="2224"/>
                    <a:pt x="2265" y="2214"/>
                  </a:cubicBezTo>
                  <a:cubicBezTo>
                    <a:pt x="2271" y="2212"/>
                    <a:pt x="2281" y="2209"/>
                    <a:pt x="2290" y="2207"/>
                  </a:cubicBezTo>
                  <a:cubicBezTo>
                    <a:pt x="2303" y="2206"/>
                    <a:pt x="2316" y="2202"/>
                    <a:pt x="2326" y="2196"/>
                  </a:cubicBezTo>
                  <a:cubicBezTo>
                    <a:pt x="2337" y="2186"/>
                    <a:pt x="2341" y="2171"/>
                    <a:pt x="2344" y="2156"/>
                  </a:cubicBezTo>
                  <a:cubicBezTo>
                    <a:pt x="2349" y="2133"/>
                    <a:pt x="2356" y="2100"/>
                    <a:pt x="2413" y="2107"/>
                  </a:cubicBezTo>
                  <a:cubicBezTo>
                    <a:pt x="2426" y="2108"/>
                    <a:pt x="2443" y="2113"/>
                    <a:pt x="2459" y="2118"/>
                  </a:cubicBezTo>
                  <a:cubicBezTo>
                    <a:pt x="2494" y="2130"/>
                    <a:pt x="2530" y="2141"/>
                    <a:pt x="2550" y="2122"/>
                  </a:cubicBezTo>
                  <a:cubicBezTo>
                    <a:pt x="2556" y="2115"/>
                    <a:pt x="2560" y="2103"/>
                    <a:pt x="2563" y="2092"/>
                  </a:cubicBezTo>
                  <a:cubicBezTo>
                    <a:pt x="2566" y="2079"/>
                    <a:pt x="2570" y="2064"/>
                    <a:pt x="2583" y="2052"/>
                  </a:cubicBezTo>
                  <a:cubicBezTo>
                    <a:pt x="2609" y="2026"/>
                    <a:pt x="2642" y="2038"/>
                    <a:pt x="2667" y="2047"/>
                  </a:cubicBezTo>
                  <a:lnTo>
                    <a:pt x="2678" y="2051"/>
                  </a:lnTo>
                  <a:cubicBezTo>
                    <a:pt x="2698" y="2059"/>
                    <a:pt x="2720" y="2056"/>
                    <a:pt x="2741" y="2054"/>
                  </a:cubicBezTo>
                  <a:cubicBezTo>
                    <a:pt x="2772" y="2051"/>
                    <a:pt x="2804" y="2047"/>
                    <a:pt x="2833" y="2069"/>
                  </a:cubicBezTo>
                  <a:lnTo>
                    <a:pt x="2840" y="2072"/>
                  </a:lnTo>
                  <a:cubicBezTo>
                    <a:pt x="2881" y="2103"/>
                    <a:pt x="2893" y="2112"/>
                    <a:pt x="2939" y="2089"/>
                  </a:cubicBezTo>
                  <a:cubicBezTo>
                    <a:pt x="2967" y="2075"/>
                    <a:pt x="2983" y="2082"/>
                    <a:pt x="2998" y="2090"/>
                  </a:cubicBezTo>
                  <a:cubicBezTo>
                    <a:pt x="3005" y="2092"/>
                    <a:pt x="3011" y="2095"/>
                    <a:pt x="3019" y="2097"/>
                  </a:cubicBezTo>
                  <a:cubicBezTo>
                    <a:pt x="3033" y="2100"/>
                    <a:pt x="3036" y="2097"/>
                    <a:pt x="3044" y="2084"/>
                  </a:cubicBezTo>
                  <a:cubicBezTo>
                    <a:pt x="3049" y="2077"/>
                    <a:pt x="3054" y="2071"/>
                    <a:pt x="3062" y="2064"/>
                  </a:cubicBezTo>
                  <a:cubicBezTo>
                    <a:pt x="3074" y="2052"/>
                    <a:pt x="3089" y="2049"/>
                    <a:pt x="3103" y="2044"/>
                  </a:cubicBezTo>
                  <a:cubicBezTo>
                    <a:pt x="3115" y="2041"/>
                    <a:pt x="3125" y="2038"/>
                    <a:pt x="3133" y="2033"/>
                  </a:cubicBezTo>
                  <a:cubicBezTo>
                    <a:pt x="3150" y="2021"/>
                    <a:pt x="3155" y="2005"/>
                    <a:pt x="3159" y="1978"/>
                  </a:cubicBezTo>
                  <a:cubicBezTo>
                    <a:pt x="3159" y="1973"/>
                    <a:pt x="3161" y="1970"/>
                    <a:pt x="3161" y="1965"/>
                  </a:cubicBezTo>
                  <a:cubicBezTo>
                    <a:pt x="3166" y="1940"/>
                    <a:pt x="3169" y="1912"/>
                    <a:pt x="3199" y="1894"/>
                  </a:cubicBezTo>
                  <a:cubicBezTo>
                    <a:pt x="3209" y="1889"/>
                    <a:pt x="3217" y="1886"/>
                    <a:pt x="3225" y="1883"/>
                  </a:cubicBezTo>
                  <a:cubicBezTo>
                    <a:pt x="3239" y="1876"/>
                    <a:pt x="3250" y="1873"/>
                    <a:pt x="3260" y="1863"/>
                  </a:cubicBezTo>
                  <a:cubicBezTo>
                    <a:pt x="3311" y="1810"/>
                    <a:pt x="3342" y="1792"/>
                    <a:pt x="3365" y="1800"/>
                  </a:cubicBezTo>
                  <a:cubicBezTo>
                    <a:pt x="3374" y="1804"/>
                    <a:pt x="3385" y="1812"/>
                    <a:pt x="3387" y="1837"/>
                  </a:cubicBezTo>
                  <a:cubicBezTo>
                    <a:pt x="3388" y="1856"/>
                    <a:pt x="3370" y="1873"/>
                    <a:pt x="3354" y="1889"/>
                  </a:cubicBezTo>
                  <a:cubicBezTo>
                    <a:pt x="3349" y="1893"/>
                    <a:pt x="3344" y="1899"/>
                    <a:pt x="3339" y="1904"/>
                  </a:cubicBezTo>
                  <a:lnTo>
                    <a:pt x="3339" y="1904"/>
                  </a:lnTo>
                  <a:cubicBezTo>
                    <a:pt x="3332" y="1909"/>
                    <a:pt x="3329" y="1916"/>
                    <a:pt x="3329" y="1917"/>
                  </a:cubicBezTo>
                  <a:cubicBezTo>
                    <a:pt x="3329" y="1919"/>
                    <a:pt x="3331" y="1922"/>
                    <a:pt x="3344" y="1929"/>
                  </a:cubicBezTo>
                  <a:lnTo>
                    <a:pt x="3346" y="1929"/>
                  </a:lnTo>
                  <a:lnTo>
                    <a:pt x="3346" y="1929"/>
                  </a:lnTo>
                  <a:cubicBezTo>
                    <a:pt x="3359" y="1934"/>
                    <a:pt x="3379" y="1932"/>
                    <a:pt x="3395" y="1930"/>
                  </a:cubicBezTo>
                  <a:cubicBezTo>
                    <a:pt x="3407" y="1930"/>
                    <a:pt x="3416" y="1929"/>
                    <a:pt x="3426" y="1929"/>
                  </a:cubicBezTo>
                  <a:lnTo>
                    <a:pt x="3440" y="1929"/>
                  </a:lnTo>
                  <a:cubicBezTo>
                    <a:pt x="3468" y="1930"/>
                    <a:pt x="3492" y="1932"/>
                    <a:pt x="3512" y="1917"/>
                  </a:cubicBezTo>
                  <a:cubicBezTo>
                    <a:pt x="3520" y="1909"/>
                    <a:pt x="3530" y="1901"/>
                    <a:pt x="3538" y="1891"/>
                  </a:cubicBezTo>
                  <a:cubicBezTo>
                    <a:pt x="3548" y="1881"/>
                    <a:pt x="3558" y="1870"/>
                    <a:pt x="3571" y="1861"/>
                  </a:cubicBezTo>
                  <a:lnTo>
                    <a:pt x="3573" y="1860"/>
                  </a:lnTo>
                  <a:cubicBezTo>
                    <a:pt x="3593" y="1843"/>
                    <a:pt x="3599" y="1838"/>
                    <a:pt x="3593" y="1822"/>
                  </a:cubicBezTo>
                  <a:cubicBezTo>
                    <a:pt x="3593" y="1817"/>
                    <a:pt x="3589" y="1814"/>
                    <a:pt x="3588" y="1810"/>
                  </a:cubicBezTo>
                  <a:cubicBezTo>
                    <a:pt x="3584" y="1804"/>
                    <a:pt x="3581" y="1797"/>
                    <a:pt x="3580" y="1787"/>
                  </a:cubicBezTo>
                  <a:cubicBezTo>
                    <a:pt x="3578" y="1781"/>
                    <a:pt x="3580" y="1774"/>
                    <a:pt x="3580" y="1769"/>
                  </a:cubicBezTo>
                  <a:cubicBezTo>
                    <a:pt x="3581" y="1762"/>
                    <a:pt x="3583" y="1759"/>
                    <a:pt x="3581" y="1756"/>
                  </a:cubicBezTo>
                  <a:cubicBezTo>
                    <a:pt x="3578" y="1751"/>
                    <a:pt x="3570" y="1749"/>
                    <a:pt x="3556" y="1748"/>
                  </a:cubicBezTo>
                  <a:cubicBezTo>
                    <a:pt x="3548" y="1748"/>
                    <a:pt x="3540" y="1746"/>
                    <a:pt x="3532" y="1743"/>
                  </a:cubicBezTo>
                  <a:cubicBezTo>
                    <a:pt x="3496" y="1726"/>
                    <a:pt x="3440" y="1649"/>
                    <a:pt x="3451" y="1604"/>
                  </a:cubicBezTo>
                  <a:cubicBezTo>
                    <a:pt x="3453" y="1598"/>
                    <a:pt x="3454" y="1593"/>
                    <a:pt x="3458" y="1588"/>
                  </a:cubicBezTo>
                  <a:cubicBezTo>
                    <a:pt x="3459" y="1581"/>
                    <a:pt x="3463" y="1576"/>
                    <a:pt x="3463" y="1570"/>
                  </a:cubicBezTo>
                  <a:cubicBezTo>
                    <a:pt x="3463" y="1565"/>
                    <a:pt x="3463" y="1561"/>
                    <a:pt x="3461" y="1557"/>
                  </a:cubicBezTo>
                  <a:cubicBezTo>
                    <a:pt x="3459" y="1548"/>
                    <a:pt x="3458" y="1538"/>
                    <a:pt x="3459" y="1529"/>
                  </a:cubicBezTo>
                  <a:cubicBezTo>
                    <a:pt x="3461" y="1522"/>
                    <a:pt x="3464" y="1517"/>
                    <a:pt x="3466" y="1512"/>
                  </a:cubicBezTo>
                  <a:cubicBezTo>
                    <a:pt x="3468" y="1507"/>
                    <a:pt x="3469" y="1502"/>
                    <a:pt x="3471" y="1499"/>
                  </a:cubicBezTo>
                  <a:cubicBezTo>
                    <a:pt x="3471" y="1494"/>
                    <a:pt x="3469" y="1489"/>
                    <a:pt x="3469" y="1482"/>
                  </a:cubicBezTo>
                  <a:cubicBezTo>
                    <a:pt x="3468" y="1477"/>
                    <a:pt x="3466" y="1471"/>
                    <a:pt x="3466" y="1464"/>
                  </a:cubicBezTo>
                  <a:cubicBezTo>
                    <a:pt x="3466" y="1431"/>
                    <a:pt x="3486" y="1403"/>
                    <a:pt x="3520" y="1392"/>
                  </a:cubicBezTo>
                  <a:close/>
                  <a:moveTo>
                    <a:pt x="1868" y="3360"/>
                  </a:moveTo>
                  <a:cubicBezTo>
                    <a:pt x="1865" y="3375"/>
                    <a:pt x="1856" y="3385"/>
                    <a:pt x="1850" y="3395"/>
                  </a:cubicBezTo>
                  <a:cubicBezTo>
                    <a:pt x="1846" y="3400"/>
                    <a:pt x="1842" y="3407"/>
                    <a:pt x="1838" y="3413"/>
                  </a:cubicBezTo>
                  <a:cubicBezTo>
                    <a:pt x="1833" y="3423"/>
                    <a:pt x="1835" y="3431"/>
                    <a:pt x="1837" y="3444"/>
                  </a:cubicBezTo>
                  <a:cubicBezTo>
                    <a:pt x="1837" y="3449"/>
                    <a:pt x="1838" y="3454"/>
                    <a:pt x="1838" y="3461"/>
                  </a:cubicBezTo>
                  <a:cubicBezTo>
                    <a:pt x="1838" y="3466"/>
                    <a:pt x="1838" y="3469"/>
                    <a:pt x="1838" y="3474"/>
                  </a:cubicBezTo>
                  <a:cubicBezTo>
                    <a:pt x="1835" y="3504"/>
                    <a:pt x="1810" y="3519"/>
                    <a:pt x="1790" y="3530"/>
                  </a:cubicBezTo>
                  <a:cubicBezTo>
                    <a:pt x="1782" y="3533"/>
                    <a:pt x="1774" y="3538"/>
                    <a:pt x="1767" y="3543"/>
                  </a:cubicBezTo>
                  <a:cubicBezTo>
                    <a:pt x="1758" y="3552"/>
                    <a:pt x="1756" y="3563"/>
                    <a:pt x="1754" y="3576"/>
                  </a:cubicBezTo>
                  <a:cubicBezTo>
                    <a:pt x="1751" y="3598"/>
                    <a:pt x="1746" y="3624"/>
                    <a:pt x="1708" y="3629"/>
                  </a:cubicBezTo>
                  <a:cubicBezTo>
                    <a:pt x="1698" y="3631"/>
                    <a:pt x="1690" y="3631"/>
                    <a:pt x="1682" y="3629"/>
                  </a:cubicBezTo>
                  <a:cubicBezTo>
                    <a:pt x="1621" y="3624"/>
                    <a:pt x="1608" y="3565"/>
                    <a:pt x="1596" y="3515"/>
                  </a:cubicBezTo>
                  <a:cubicBezTo>
                    <a:pt x="1586" y="3469"/>
                    <a:pt x="1578" y="3440"/>
                    <a:pt x="1548" y="3440"/>
                  </a:cubicBezTo>
                  <a:cubicBezTo>
                    <a:pt x="1530" y="3440"/>
                    <a:pt x="1519" y="3456"/>
                    <a:pt x="1514" y="3468"/>
                  </a:cubicBezTo>
                  <a:cubicBezTo>
                    <a:pt x="1509" y="3476"/>
                    <a:pt x="1505" y="3486"/>
                    <a:pt x="1502" y="3497"/>
                  </a:cubicBezTo>
                  <a:lnTo>
                    <a:pt x="1501" y="3504"/>
                  </a:lnTo>
                  <a:cubicBezTo>
                    <a:pt x="1499" y="3514"/>
                    <a:pt x="1496" y="3525"/>
                    <a:pt x="1482" y="3533"/>
                  </a:cubicBezTo>
                  <a:cubicBezTo>
                    <a:pt x="1474" y="3540"/>
                    <a:pt x="1463" y="3542"/>
                    <a:pt x="1453" y="3538"/>
                  </a:cubicBezTo>
                  <a:cubicBezTo>
                    <a:pt x="1443" y="3535"/>
                    <a:pt x="1435" y="3528"/>
                    <a:pt x="1430" y="3519"/>
                  </a:cubicBezTo>
                  <a:cubicBezTo>
                    <a:pt x="1428" y="3514"/>
                    <a:pt x="1428" y="3509"/>
                    <a:pt x="1426" y="3505"/>
                  </a:cubicBezTo>
                  <a:lnTo>
                    <a:pt x="1418" y="3444"/>
                  </a:lnTo>
                  <a:cubicBezTo>
                    <a:pt x="1415" y="3430"/>
                    <a:pt x="1410" y="3415"/>
                    <a:pt x="1398" y="3402"/>
                  </a:cubicBezTo>
                  <a:cubicBezTo>
                    <a:pt x="1377" y="3372"/>
                    <a:pt x="1346" y="3374"/>
                    <a:pt x="1324" y="3380"/>
                  </a:cubicBezTo>
                  <a:cubicBezTo>
                    <a:pt x="1319" y="3380"/>
                    <a:pt x="1314" y="3384"/>
                    <a:pt x="1308" y="3385"/>
                  </a:cubicBezTo>
                  <a:cubicBezTo>
                    <a:pt x="1281" y="3395"/>
                    <a:pt x="1245" y="3408"/>
                    <a:pt x="1222" y="3395"/>
                  </a:cubicBezTo>
                  <a:cubicBezTo>
                    <a:pt x="1212" y="3387"/>
                    <a:pt x="1206" y="3375"/>
                    <a:pt x="1204" y="3359"/>
                  </a:cubicBezTo>
                  <a:cubicBezTo>
                    <a:pt x="1202" y="3339"/>
                    <a:pt x="1214" y="3326"/>
                    <a:pt x="1224" y="3314"/>
                  </a:cubicBezTo>
                  <a:cubicBezTo>
                    <a:pt x="1235" y="3303"/>
                    <a:pt x="1239" y="3296"/>
                    <a:pt x="1229" y="3281"/>
                  </a:cubicBezTo>
                  <a:cubicBezTo>
                    <a:pt x="1224" y="3275"/>
                    <a:pt x="1216" y="3268"/>
                    <a:pt x="1207" y="3262"/>
                  </a:cubicBezTo>
                  <a:cubicBezTo>
                    <a:pt x="1187" y="3245"/>
                    <a:pt x="1161" y="3224"/>
                    <a:pt x="1178" y="3186"/>
                  </a:cubicBezTo>
                  <a:cubicBezTo>
                    <a:pt x="1186" y="3169"/>
                    <a:pt x="1199" y="3159"/>
                    <a:pt x="1216" y="3155"/>
                  </a:cubicBezTo>
                  <a:cubicBezTo>
                    <a:pt x="1242" y="3148"/>
                    <a:pt x="1275" y="3161"/>
                    <a:pt x="1296" y="3176"/>
                  </a:cubicBezTo>
                  <a:cubicBezTo>
                    <a:pt x="1304" y="3183"/>
                    <a:pt x="1314" y="3196"/>
                    <a:pt x="1324" y="3209"/>
                  </a:cubicBezTo>
                  <a:cubicBezTo>
                    <a:pt x="1342" y="3230"/>
                    <a:pt x="1365" y="3260"/>
                    <a:pt x="1382" y="3252"/>
                  </a:cubicBezTo>
                  <a:cubicBezTo>
                    <a:pt x="1398" y="3243"/>
                    <a:pt x="1412" y="3219"/>
                    <a:pt x="1425" y="3196"/>
                  </a:cubicBezTo>
                  <a:cubicBezTo>
                    <a:pt x="1433" y="3178"/>
                    <a:pt x="1441" y="3163"/>
                    <a:pt x="1453" y="3151"/>
                  </a:cubicBezTo>
                  <a:cubicBezTo>
                    <a:pt x="1464" y="3138"/>
                    <a:pt x="1487" y="3113"/>
                    <a:pt x="1522" y="3128"/>
                  </a:cubicBezTo>
                  <a:cubicBezTo>
                    <a:pt x="1542" y="3136"/>
                    <a:pt x="1547" y="3153"/>
                    <a:pt x="1548" y="3166"/>
                  </a:cubicBezTo>
                  <a:cubicBezTo>
                    <a:pt x="1550" y="3171"/>
                    <a:pt x="1552" y="3176"/>
                    <a:pt x="1553" y="3181"/>
                  </a:cubicBezTo>
                  <a:cubicBezTo>
                    <a:pt x="1570" y="3229"/>
                    <a:pt x="1588" y="3262"/>
                    <a:pt x="1608" y="3281"/>
                  </a:cubicBezTo>
                  <a:cubicBezTo>
                    <a:pt x="1637" y="3308"/>
                    <a:pt x="1664" y="3295"/>
                    <a:pt x="1705" y="3268"/>
                  </a:cubicBezTo>
                  <a:cubicBezTo>
                    <a:pt x="1738" y="3248"/>
                    <a:pt x="1774" y="3225"/>
                    <a:pt x="1815" y="3243"/>
                  </a:cubicBezTo>
                  <a:cubicBezTo>
                    <a:pt x="1855" y="3260"/>
                    <a:pt x="1878" y="3321"/>
                    <a:pt x="1868" y="3360"/>
                  </a:cubicBez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41" name="Freeform 77">
              <a:extLst>
                <a:ext uri="{FF2B5EF4-FFF2-40B4-BE49-F238E27FC236}">
                  <a16:creationId xmlns:a16="http://schemas.microsoft.com/office/drawing/2014/main" id="{054980A7-A4BD-1E40-9CB7-DBF9BF591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2288" y="4167188"/>
              <a:ext cx="1125537" cy="892175"/>
            </a:xfrm>
            <a:custGeom>
              <a:avLst/>
              <a:gdLst>
                <a:gd name="T0" fmla="*/ 1679 w 3127"/>
                <a:gd name="T1" fmla="*/ 2430 h 2477"/>
                <a:gd name="T2" fmla="*/ 1490 w 3127"/>
                <a:gd name="T3" fmla="*/ 2354 h 2477"/>
                <a:gd name="T4" fmla="*/ 1142 w 3127"/>
                <a:gd name="T5" fmla="*/ 2414 h 2477"/>
                <a:gd name="T6" fmla="*/ 719 w 3127"/>
                <a:gd name="T7" fmla="*/ 2267 h 2477"/>
                <a:gd name="T8" fmla="*/ 450 w 3127"/>
                <a:gd name="T9" fmla="*/ 2074 h 2477"/>
                <a:gd name="T10" fmla="*/ 145 w 3127"/>
                <a:gd name="T11" fmla="*/ 1964 h 2477"/>
                <a:gd name="T12" fmla="*/ 15 w 3127"/>
                <a:gd name="T13" fmla="*/ 1827 h 2477"/>
                <a:gd name="T14" fmla="*/ 42 w 3127"/>
                <a:gd name="T15" fmla="*/ 1743 h 2477"/>
                <a:gd name="T16" fmla="*/ 83 w 3127"/>
                <a:gd name="T17" fmla="*/ 1708 h 2477"/>
                <a:gd name="T18" fmla="*/ 269 w 3127"/>
                <a:gd name="T19" fmla="*/ 1588 h 2477"/>
                <a:gd name="T20" fmla="*/ 348 w 3127"/>
                <a:gd name="T21" fmla="*/ 1707 h 2477"/>
                <a:gd name="T22" fmla="*/ 589 w 3127"/>
                <a:gd name="T23" fmla="*/ 1881 h 2477"/>
                <a:gd name="T24" fmla="*/ 742 w 3127"/>
                <a:gd name="T25" fmla="*/ 1944 h 2477"/>
                <a:gd name="T26" fmla="*/ 900 w 3127"/>
                <a:gd name="T27" fmla="*/ 2112 h 2477"/>
                <a:gd name="T28" fmla="*/ 1043 w 3127"/>
                <a:gd name="T29" fmla="*/ 2170 h 2477"/>
                <a:gd name="T30" fmla="*/ 1137 w 3127"/>
                <a:gd name="T31" fmla="*/ 2076 h 2477"/>
                <a:gd name="T32" fmla="*/ 1285 w 3127"/>
                <a:gd name="T33" fmla="*/ 1941 h 2477"/>
                <a:gd name="T34" fmla="*/ 1472 w 3127"/>
                <a:gd name="T35" fmla="*/ 1699 h 2477"/>
                <a:gd name="T36" fmla="*/ 1630 w 3127"/>
                <a:gd name="T37" fmla="*/ 1550 h 2477"/>
                <a:gd name="T38" fmla="*/ 1752 w 3127"/>
                <a:gd name="T39" fmla="*/ 1264 h 2477"/>
                <a:gd name="T40" fmla="*/ 1809 w 3127"/>
                <a:gd name="T41" fmla="*/ 1086 h 2477"/>
                <a:gd name="T42" fmla="*/ 1733 w 3127"/>
                <a:gd name="T43" fmla="*/ 936 h 2477"/>
                <a:gd name="T44" fmla="*/ 1709 w 3127"/>
                <a:gd name="T45" fmla="*/ 723 h 2477"/>
                <a:gd name="T46" fmla="*/ 1729 w 3127"/>
                <a:gd name="T47" fmla="*/ 582 h 2477"/>
                <a:gd name="T48" fmla="*/ 1679 w 3127"/>
                <a:gd name="T49" fmla="*/ 536 h 2477"/>
                <a:gd name="T50" fmla="*/ 1758 w 3127"/>
                <a:gd name="T51" fmla="*/ 414 h 2477"/>
                <a:gd name="T52" fmla="*/ 1913 w 3127"/>
                <a:gd name="T53" fmla="*/ 323 h 2477"/>
                <a:gd name="T54" fmla="*/ 2121 w 3127"/>
                <a:gd name="T55" fmla="*/ 252 h 2477"/>
                <a:gd name="T56" fmla="*/ 2285 w 3127"/>
                <a:gd name="T57" fmla="*/ 274 h 2477"/>
                <a:gd name="T58" fmla="*/ 2528 w 3127"/>
                <a:gd name="T59" fmla="*/ 279 h 2477"/>
                <a:gd name="T60" fmla="*/ 2648 w 3127"/>
                <a:gd name="T61" fmla="*/ 163 h 2477"/>
                <a:gd name="T62" fmla="*/ 2742 w 3127"/>
                <a:gd name="T63" fmla="*/ 59 h 2477"/>
                <a:gd name="T64" fmla="*/ 2765 w 3127"/>
                <a:gd name="T65" fmla="*/ 96 h 2477"/>
                <a:gd name="T66" fmla="*/ 2740 w 3127"/>
                <a:gd name="T67" fmla="*/ 175 h 2477"/>
                <a:gd name="T68" fmla="*/ 2801 w 3127"/>
                <a:gd name="T69" fmla="*/ 295 h 2477"/>
                <a:gd name="T70" fmla="*/ 2874 w 3127"/>
                <a:gd name="T71" fmla="*/ 471 h 2477"/>
                <a:gd name="T72" fmla="*/ 3017 w 3127"/>
                <a:gd name="T73" fmla="*/ 573 h 2477"/>
                <a:gd name="T74" fmla="*/ 3102 w 3127"/>
                <a:gd name="T75" fmla="*/ 750 h 2477"/>
                <a:gd name="T76" fmla="*/ 2895 w 3127"/>
                <a:gd name="T77" fmla="*/ 914 h 2477"/>
                <a:gd name="T78" fmla="*/ 2773 w 3127"/>
                <a:gd name="T79" fmla="*/ 1069 h 2477"/>
                <a:gd name="T80" fmla="*/ 2747 w 3127"/>
                <a:gd name="T81" fmla="*/ 1274 h 2477"/>
                <a:gd name="T82" fmla="*/ 2704 w 3127"/>
                <a:gd name="T83" fmla="*/ 1504 h 2477"/>
                <a:gd name="T84" fmla="*/ 2542 w 3127"/>
                <a:gd name="T85" fmla="*/ 1590 h 2477"/>
                <a:gd name="T86" fmla="*/ 2455 w 3127"/>
                <a:gd name="T87" fmla="*/ 1620 h 2477"/>
                <a:gd name="T88" fmla="*/ 2267 w 3127"/>
                <a:gd name="T89" fmla="*/ 1847 h 2477"/>
                <a:gd name="T90" fmla="*/ 2144 w 3127"/>
                <a:gd name="T91" fmla="*/ 1880 h 2477"/>
                <a:gd name="T92" fmla="*/ 1979 w 3127"/>
                <a:gd name="T93" fmla="*/ 1961 h 2477"/>
                <a:gd name="T94" fmla="*/ 1880 w 3127"/>
                <a:gd name="T95" fmla="*/ 1967 h 2477"/>
                <a:gd name="T96" fmla="*/ 1855 w 3127"/>
                <a:gd name="T97" fmla="*/ 2092 h 2477"/>
                <a:gd name="T98" fmla="*/ 1799 w 3127"/>
                <a:gd name="T99" fmla="*/ 2171 h 2477"/>
                <a:gd name="T100" fmla="*/ 1885 w 3127"/>
                <a:gd name="T101" fmla="*/ 2265 h 2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27" h="2477">
                  <a:moveTo>
                    <a:pt x="1821" y="2318"/>
                  </a:moveTo>
                  <a:cubicBezTo>
                    <a:pt x="1778" y="2343"/>
                    <a:pt x="1760" y="2387"/>
                    <a:pt x="1750" y="2435"/>
                  </a:cubicBezTo>
                  <a:cubicBezTo>
                    <a:pt x="1743" y="2435"/>
                    <a:pt x="1737" y="2435"/>
                    <a:pt x="1730" y="2435"/>
                  </a:cubicBezTo>
                  <a:cubicBezTo>
                    <a:pt x="1712" y="2437"/>
                    <a:pt x="1694" y="2438"/>
                    <a:pt x="1679" y="2430"/>
                  </a:cubicBezTo>
                  <a:cubicBezTo>
                    <a:pt x="1664" y="2423"/>
                    <a:pt x="1654" y="2412"/>
                    <a:pt x="1645" y="2399"/>
                  </a:cubicBezTo>
                  <a:cubicBezTo>
                    <a:pt x="1636" y="2389"/>
                    <a:pt x="1626" y="2377"/>
                    <a:pt x="1613" y="2367"/>
                  </a:cubicBezTo>
                  <a:cubicBezTo>
                    <a:pt x="1587" y="2348"/>
                    <a:pt x="1554" y="2348"/>
                    <a:pt x="1524" y="2351"/>
                  </a:cubicBezTo>
                  <a:cubicBezTo>
                    <a:pt x="1513" y="2351"/>
                    <a:pt x="1501" y="2353"/>
                    <a:pt x="1490" y="2354"/>
                  </a:cubicBezTo>
                  <a:cubicBezTo>
                    <a:pt x="1468" y="2358"/>
                    <a:pt x="1447" y="2361"/>
                    <a:pt x="1425" y="2359"/>
                  </a:cubicBezTo>
                  <a:lnTo>
                    <a:pt x="1394" y="2356"/>
                  </a:lnTo>
                  <a:cubicBezTo>
                    <a:pt x="1373" y="2353"/>
                    <a:pt x="1351" y="2351"/>
                    <a:pt x="1328" y="2351"/>
                  </a:cubicBezTo>
                  <a:cubicBezTo>
                    <a:pt x="1266" y="2351"/>
                    <a:pt x="1208" y="2371"/>
                    <a:pt x="1142" y="2414"/>
                  </a:cubicBezTo>
                  <a:cubicBezTo>
                    <a:pt x="1083" y="2451"/>
                    <a:pt x="1037" y="2476"/>
                    <a:pt x="972" y="2458"/>
                  </a:cubicBezTo>
                  <a:cubicBezTo>
                    <a:pt x="954" y="2453"/>
                    <a:pt x="935" y="2448"/>
                    <a:pt x="915" y="2445"/>
                  </a:cubicBezTo>
                  <a:cubicBezTo>
                    <a:pt x="864" y="2433"/>
                    <a:pt x="811" y="2420"/>
                    <a:pt x="773" y="2394"/>
                  </a:cubicBezTo>
                  <a:cubicBezTo>
                    <a:pt x="732" y="2364"/>
                    <a:pt x="722" y="2315"/>
                    <a:pt x="719" y="2267"/>
                  </a:cubicBezTo>
                  <a:cubicBezTo>
                    <a:pt x="715" y="2218"/>
                    <a:pt x="710" y="2142"/>
                    <a:pt x="636" y="2115"/>
                  </a:cubicBezTo>
                  <a:cubicBezTo>
                    <a:pt x="613" y="2107"/>
                    <a:pt x="589" y="2107"/>
                    <a:pt x="565" y="2107"/>
                  </a:cubicBezTo>
                  <a:cubicBezTo>
                    <a:pt x="552" y="2107"/>
                    <a:pt x="539" y="2107"/>
                    <a:pt x="528" y="2105"/>
                  </a:cubicBezTo>
                  <a:cubicBezTo>
                    <a:pt x="498" y="2102"/>
                    <a:pt x="475" y="2091"/>
                    <a:pt x="450" y="2074"/>
                  </a:cubicBezTo>
                  <a:cubicBezTo>
                    <a:pt x="412" y="2049"/>
                    <a:pt x="371" y="2043"/>
                    <a:pt x="332" y="2036"/>
                  </a:cubicBezTo>
                  <a:cubicBezTo>
                    <a:pt x="300" y="2033"/>
                    <a:pt x="271" y="2028"/>
                    <a:pt x="243" y="2017"/>
                  </a:cubicBezTo>
                  <a:cubicBezTo>
                    <a:pt x="213" y="2003"/>
                    <a:pt x="183" y="1987"/>
                    <a:pt x="154" y="1969"/>
                  </a:cubicBezTo>
                  <a:cubicBezTo>
                    <a:pt x="152" y="1967"/>
                    <a:pt x="149" y="1965"/>
                    <a:pt x="145" y="1964"/>
                  </a:cubicBezTo>
                  <a:cubicBezTo>
                    <a:pt x="126" y="1951"/>
                    <a:pt x="101" y="1933"/>
                    <a:pt x="75" y="1939"/>
                  </a:cubicBezTo>
                  <a:cubicBezTo>
                    <a:pt x="66" y="1941"/>
                    <a:pt x="60" y="1946"/>
                    <a:pt x="55" y="1949"/>
                  </a:cubicBezTo>
                  <a:cubicBezTo>
                    <a:pt x="38" y="1933"/>
                    <a:pt x="23" y="1914"/>
                    <a:pt x="12" y="1893"/>
                  </a:cubicBezTo>
                  <a:cubicBezTo>
                    <a:pt x="0" y="1868"/>
                    <a:pt x="0" y="1853"/>
                    <a:pt x="15" y="1827"/>
                  </a:cubicBezTo>
                  <a:cubicBezTo>
                    <a:pt x="19" y="1824"/>
                    <a:pt x="20" y="1820"/>
                    <a:pt x="23" y="1817"/>
                  </a:cubicBezTo>
                  <a:cubicBezTo>
                    <a:pt x="30" y="1807"/>
                    <a:pt x="37" y="1797"/>
                    <a:pt x="40" y="1784"/>
                  </a:cubicBezTo>
                  <a:cubicBezTo>
                    <a:pt x="42" y="1774"/>
                    <a:pt x="42" y="1766"/>
                    <a:pt x="40" y="1760"/>
                  </a:cubicBezTo>
                  <a:cubicBezTo>
                    <a:pt x="40" y="1753"/>
                    <a:pt x="40" y="1748"/>
                    <a:pt x="42" y="1743"/>
                  </a:cubicBezTo>
                  <a:cubicBezTo>
                    <a:pt x="43" y="1732"/>
                    <a:pt x="48" y="1725"/>
                    <a:pt x="58" y="1720"/>
                  </a:cubicBezTo>
                  <a:cubicBezTo>
                    <a:pt x="63" y="1717"/>
                    <a:pt x="68" y="1715"/>
                    <a:pt x="75" y="1712"/>
                  </a:cubicBezTo>
                  <a:cubicBezTo>
                    <a:pt x="78" y="1710"/>
                    <a:pt x="79" y="1708"/>
                    <a:pt x="83" y="1708"/>
                  </a:cubicBezTo>
                  <a:lnTo>
                    <a:pt x="83" y="1708"/>
                  </a:lnTo>
                  <a:cubicBezTo>
                    <a:pt x="86" y="1707"/>
                    <a:pt x="89" y="1705"/>
                    <a:pt x="93" y="1704"/>
                  </a:cubicBezTo>
                  <a:cubicBezTo>
                    <a:pt x="117" y="1689"/>
                    <a:pt x="145" y="1669"/>
                    <a:pt x="178" y="1644"/>
                  </a:cubicBezTo>
                  <a:cubicBezTo>
                    <a:pt x="183" y="1639"/>
                    <a:pt x="190" y="1634"/>
                    <a:pt x="196" y="1628"/>
                  </a:cubicBezTo>
                  <a:cubicBezTo>
                    <a:pt x="218" y="1608"/>
                    <a:pt x="248" y="1580"/>
                    <a:pt x="269" y="1588"/>
                  </a:cubicBezTo>
                  <a:cubicBezTo>
                    <a:pt x="277" y="1593"/>
                    <a:pt x="282" y="1605"/>
                    <a:pt x="287" y="1623"/>
                  </a:cubicBezTo>
                  <a:cubicBezTo>
                    <a:pt x="289" y="1629"/>
                    <a:pt x="290" y="1638"/>
                    <a:pt x="292" y="1643"/>
                  </a:cubicBezTo>
                  <a:cubicBezTo>
                    <a:pt x="304" y="1671"/>
                    <a:pt x="325" y="1687"/>
                    <a:pt x="345" y="1704"/>
                  </a:cubicBezTo>
                  <a:lnTo>
                    <a:pt x="348" y="1707"/>
                  </a:lnTo>
                  <a:cubicBezTo>
                    <a:pt x="373" y="1727"/>
                    <a:pt x="401" y="1741"/>
                    <a:pt x="427" y="1755"/>
                  </a:cubicBezTo>
                  <a:cubicBezTo>
                    <a:pt x="458" y="1771"/>
                    <a:pt x="490" y="1788"/>
                    <a:pt x="514" y="1812"/>
                  </a:cubicBezTo>
                  <a:cubicBezTo>
                    <a:pt x="521" y="1817"/>
                    <a:pt x="528" y="1825"/>
                    <a:pt x="533" y="1832"/>
                  </a:cubicBezTo>
                  <a:cubicBezTo>
                    <a:pt x="549" y="1850"/>
                    <a:pt x="565" y="1870"/>
                    <a:pt x="589" y="1881"/>
                  </a:cubicBezTo>
                  <a:cubicBezTo>
                    <a:pt x="610" y="1893"/>
                    <a:pt x="631" y="1893"/>
                    <a:pt x="649" y="1891"/>
                  </a:cubicBezTo>
                  <a:cubicBezTo>
                    <a:pt x="659" y="1891"/>
                    <a:pt x="668" y="1890"/>
                    <a:pt x="678" y="1891"/>
                  </a:cubicBezTo>
                  <a:cubicBezTo>
                    <a:pt x="701" y="1895"/>
                    <a:pt x="714" y="1909"/>
                    <a:pt x="729" y="1929"/>
                  </a:cubicBezTo>
                  <a:cubicBezTo>
                    <a:pt x="734" y="1934"/>
                    <a:pt x="737" y="1939"/>
                    <a:pt x="742" y="1944"/>
                  </a:cubicBezTo>
                  <a:cubicBezTo>
                    <a:pt x="762" y="1967"/>
                    <a:pt x="781" y="1980"/>
                    <a:pt x="804" y="1993"/>
                  </a:cubicBezTo>
                  <a:cubicBezTo>
                    <a:pt x="834" y="2012"/>
                    <a:pt x="836" y="2021"/>
                    <a:pt x="837" y="2056"/>
                  </a:cubicBezTo>
                  <a:cubicBezTo>
                    <a:pt x="839" y="2077"/>
                    <a:pt x="846" y="2091"/>
                    <a:pt x="855" y="2101"/>
                  </a:cubicBezTo>
                  <a:cubicBezTo>
                    <a:pt x="867" y="2110"/>
                    <a:pt x="880" y="2114"/>
                    <a:pt x="900" y="2112"/>
                  </a:cubicBezTo>
                  <a:cubicBezTo>
                    <a:pt x="946" y="2109"/>
                    <a:pt x="946" y="2109"/>
                    <a:pt x="958" y="2152"/>
                  </a:cubicBezTo>
                  <a:cubicBezTo>
                    <a:pt x="963" y="2171"/>
                    <a:pt x="971" y="2185"/>
                    <a:pt x="984" y="2190"/>
                  </a:cubicBezTo>
                  <a:cubicBezTo>
                    <a:pt x="987" y="2190"/>
                    <a:pt x="989" y="2191"/>
                    <a:pt x="992" y="2191"/>
                  </a:cubicBezTo>
                  <a:cubicBezTo>
                    <a:pt x="1010" y="2193"/>
                    <a:pt x="1028" y="2181"/>
                    <a:pt x="1043" y="2170"/>
                  </a:cubicBezTo>
                  <a:cubicBezTo>
                    <a:pt x="1050" y="2165"/>
                    <a:pt x="1056" y="2160"/>
                    <a:pt x="1063" y="2158"/>
                  </a:cubicBezTo>
                  <a:cubicBezTo>
                    <a:pt x="1070" y="2155"/>
                    <a:pt x="1076" y="2152"/>
                    <a:pt x="1084" y="2150"/>
                  </a:cubicBezTo>
                  <a:cubicBezTo>
                    <a:pt x="1099" y="2147"/>
                    <a:pt x="1121" y="2140"/>
                    <a:pt x="1131" y="2117"/>
                  </a:cubicBezTo>
                  <a:cubicBezTo>
                    <a:pt x="1137" y="2102"/>
                    <a:pt x="1137" y="2089"/>
                    <a:pt x="1137" y="2076"/>
                  </a:cubicBezTo>
                  <a:cubicBezTo>
                    <a:pt x="1137" y="2059"/>
                    <a:pt x="1137" y="2049"/>
                    <a:pt x="1145" y="2041"/>
                  </a:cubicBezTo>
                  <a:cubicBezTo>
                    <a:pt x="1154" y="2031"/>
                    <a:pt x="1170" y="2023"/>
                    <a:pt x="1187" y="2017"/>
                  </a:cubicBezTo>
                  <a:cubicBezTo>
                    <a:pt x="1196" y="2012"/>
                    <a:pt x="1208" y="2007"/>
                    <a:pt x="1216" y="2002"/>
                  </a:cubicBezTo>
                  <a:cubicBezTo>
                    <a:pt x="1243" y="1985"/>
                    <a:pt x="1266" y="1964"/>
                    <a:pt x="1285" y="1941"/>
                  </a:cubicBezTo>
                  <a:cubicBezTo>
                    <a:pt x="1308" y="1913"/>
                    <a:pt x="1325" y="1881"/>
                    <a:pt x="1340" y="1850"/>
                  </a:cubicBezTo>
                  <a:cubicBezTo>
                    <a:pt x="1355" y="1817"/>
                    <a:pt x="1369" y="1786"/>
                    <a:pt x="1392" y="1761"/>
                  </a:cubicBezTo>
                  <a:cubicBezTo>
                    <a:pt x="1404" y="1750"/>
                    <a:pt x="1419" y="1738"/>
                    <a:pt x="1434" y="1728"/>
                  </a:cubicBezTo>
                  <a:cubicBezTo>
                    <a:pt x="1447" y="1718"/>
                    <a:pt x="1460" y="1710"/>
                    <a:pt x="1472" y="1699"/>
                  </a:cubicBezTo>
                  <a:cubicBezTo>
                    <a:pt x="1488" y="1682"/>
                    <a:pt x="1505" y="1666"/>
                    <a:pt x="1521" y="1649"/>
                  </a:cubicBezTo>
                  <a:cubicBezTo>
                    <a:pt x="1529" y="1641"/>
                    <a:pt x="1537" y="1633"/>
                    <a:pt x="1546" y="1624"/>
                  </a:cubicBezTo>
                  <a:cubicBezTo>
                    <a:pt x="1567" y="1603"/>
                    <a:pt x="1595" y="1577"/>
                    <a:pt x="1625" y="1555"/>
                  </a:cubicBezTo>
                  <a:lnTo>
                    <a:pt x="1630" y="1550"/>
                  </a:lnTo>
                  <a:cubicBezTo>
                    <a:pt x="1654" y="1534"/>
                    <a:pt x="1681" y="1514"/>
                    <a:pt x="1694" y="1483"/>
                  </a:cubicBezTo>
                  <a:cubicBezTo>
                    <a:pt x="1705" y="1458"/>
                    <a:pt x="1709" y="1432"/>
                    <a:pt x="1714" y="1407"/>
                  </a:cubicBezTo>
                  <a:cubicBezTo>
                    <a:pt x="1717" y="1394"/>
                    <a:pt x="1719" y="1382"/>
                    <a:pt x="1722" y="1371"/>
                  </a:cubicBezTo>
                  <a:cubicBezTo>
                    <a:pt x="1730" y="1336"/>
                    <a:pt x="1740" y="1302"/>
                    <a:pt x="1752" y="1264"/>
                  </a:cubicBezTo>
                  <a:lnTo>
                    <a:pt x="1757" y="1246"/>
                  </a:lnTo>
                  <a:cubicBezTo>
                    <a:pt x="1765" y="1219"/>
                    <a:pt x="1773" y="1191"/>
                    <a:pt x="1785" y="1165"/>
                  </a:cubicBezTo>
                  <a:cubicBezTo>
                    <a:pt x="1786" y="1160"/>
                    <a:pt x="1790" y="1155"/>
                    <a:pt x="1793" y="1150"/>
                  </a:cubicBezTo>
                  <a:cubicBezTo>
                    <a:pt x="1803" y="1132"/>
                    <a:pt x="1814" y="1109"/>
                    <a:pt x="1809" y="1086"/>
                  </a:cubicBezTo>
                  <a:cubicBezTo>
                    <a:pt x="1803" y="1061"/>
                    <a:pt x="1785" y="1054"/>
                    <a:pt x="1770" y="1050"/>
                  </a:cubicBezTo>
                  <a:cubicBezTo>
                    <a:pt x="1762" y="1046"/>
                    <a:pt x="1753" y="1043"/>
                    <a:pt x="1748" y="1038"/>
                  </a:cubicBezTo>
                  <a:cubicBezTo>
                    <a:pt x="1737" y="1026"/>
                    <a:pt x="1735" y="1005"/>
                    <a:pt x="1733" y="985"/>
                  </a:cubicBezTo>
                  <a:cubicBezTo>
                    <a:pt x="1732" y="969"/>
                    <a:pt x="1732" y="952"/>
                    <a:pt x="1733" y="936"/>
                  </a:cubicBezTo>
                  <a:cubicBezTo>
                    <a:pt x="1735" y="903"/>
                    <a:pt x="1737" y="868"/>
                    <a:pt x="1722" y="835"/>
                  </a:cubicBezTo>
                  <a:lnTo>
                    <a:pt x="1719" y="829"/>
                  </a:lnTo>
                  <a:cubicBezTo>
                    <a:pt x="1707" y="801"/>
                    <a:pt x="1699" y="786"/>
                    <a:pt x="1704" y="756"/>
                  </a:cubicBezTo>
                  <a:cubicBezTo>
                    <a:pt x="1707" y="746"/>
                    <a:pt x="1707" y="735"/>
                    <a:pt x="1709" y="723"/>
                  </a:cubicBezTo>
                  <a:cubicBezTo>
                    <a:pt x="1710" y="704"/>
                    <a:pt x="1712" y="684"/>
                    <a:pt x="1719" y="669"/>
                  </a:cubicBezTo>
                  <a:cubicBezTo>
                    <a:pt x="1719" y="667"/>
                    <a:pt x="1729" y="661"/>
                    <a:pt x="1733" y="657"/>
                  </a:cubicBezTo>
                  <a:cubicBezTo>
                    <a:pt x="1748" y="648"/>
                    <a:pt x="1768" y="634"/>
                    <a:pt x="1763" y="613"/>
                  </a:cubicBezTo>
                  <a:cubicBezTo>
                    <a:pt x="1760" y="595"/>
                    <a:pt x="1742" y="587"/>
                    <a:pt x="1729" y="582"/>
                  </a:cubicBezTo>
                  <a:cubicBezTo>
                    <a:pt x="1725" y="580"/>
                    <a:pt x="1722" y="578"/>
                    <a:pt x="1720" y="578"/>
                  </a:cubicBezTo>
                  <a:cubicBezTo>
                    <a:pt x="1719" y="577"/>
                    <a:pt x="1717" y="573"/>
                    <a:pt x="1715" y="570"/>
                  </a:cubicBezTo>
                  <a:cubicBezTo>
                    <a:pt x="1714" y="565"/>
                    <a:pt x="1710" y="560"/>
                    <a:pt x="1707" y="557"/>
                  </a:cubicBezTo>
                  <a:cubicBezTo>
                    <a:pt x="1699" y="547"/>
                    <a:pt x="1689" y="542"/>
                    <a:pt x="1679" y="536"/>
                  </a:cubicBezTo>
                  <a:cubicBezTo>
                    <a:pt x="1671" y="531"/>
                    <a:pt x="1661" y="526"/>
                    <a:pt x="1658" y="517"/>
                  </a:cubicBezTo>
                  <a:cubicBezTo>
                    <a:pt x="1648" y="501"/>
                    <a:pt x="1658" y="478"/>
                    <a:pt x="1669" y="463"/>
                  </a:cubicBezTo>
                  <a:cubicBezTo>
                    <a:pt x="1687" y="440"/>
                    <a:pt x="1715" y="427"/>
                    <a:pt x="1735" y="419"/>
                  </a:cubicBezTo>
                  <a:cubicBezTo>
                    <a:pt x="1743" y="417"/>
                    <a:pt x="1750" y="415"/>
                    <a:pt x="1758" y="414"/>
                  </a:cubicBezTo>
                  <a:cubicBezTo>
                    <a:pt x="1773" y="410"/>
                    <a:pt x="1791" y="407"/>
                    <a:pt x="1804" y="395"/>
                  </a:cubicBezTo>
                  <a:cubicBezTo>
                    <a:pt x="1824" y="381"/>
                    <a:pt x="1827" y="359"/>
                    <a:pt x="1832" y="341"/>
                  </a:cubicBezTo>
                  <a:cubicBezTo>
                    <a:pt x="1836" y="318"/>
                    <a:pt x="1839" y="308"/>
                    <a:pt x="1872" y="313"/>
                  </a:cubicBezTo>
                  <a:cubicBezTo>
                    <a:pt x="1883" y="313"/>
                    <a:pt x="1898" y="318"/>
                    <a:pt x="1913" y="323"/>
                  </a:cubicBezTo>
                  <a:cubicBezTo>
                    <a:pt x="1951" y="336"/>
                    <a:pt x="1999" y="351"/>
                    <a:pt x="2032" y="320"/>
                  </a:cubicBezTo>
                  <a:cubicBezTo>
                    <a:pt x="2043" y="308"/>
                    <a:pt x="2047" y="292"/>
                    <a:pt x="2050" y="279"/>
                  </a:cubicBezTo>
                  <a:cubicBezTo>
                    <a:pt x="2053" y="267"/>
                    <a:pt x="2056" y="257"/>
                    <a:pt x="2063" y="251"/>
                  </a:cubicBezTo>
                  <a:cubicBezTo>
                    <a:pt x="2076" y="237"/>
                    <a:pt x="2094" y="242"/>
                    <a:pt x="2121" y="252"/>
                  </a:cubicBezTo>
                  <a:cubicBezTo>
                    <a:pt x="2124" y="254"/>
                    <a:pt x="2129" y="255"/>
                    <a:pt x="2132" y="255"/>
                  </a:cubicBezTo>
                  <a:cubicBezTo>
                    <a:pt x="2159" y="264"/>
                    <a:pt x="2183" y="262"/>
                    <a:pt x="2206" y="259"/>
                  </a:cubicBezTo>
                  <a:cubicBezTo>
                    <a:pt x="2234" y="257"/>
                    <a:pt x="2259" y="254"/>
                    <a:pt x="2280" y="270"/>
                  </a:cubicBezTo>
                  <a:lnTo>
                    <a:pt x="2285" y="274"/>
                  </a:lnTo>
                  <a:cubicBezTo>
                    <a:pt x="2330" y="307"/>
                    <a:pt x="2353" y="323"/>
                    <a:pt x="2414" y="293"/>
                  </a:cubicBezTo>
                  <a:cubicBezTo>
                    <a:pt x="2430" y="285"/>
                    <a:pt x="2435" y="287"/>
                    <a:pt x="2450" y="293"/>
                  </a:cubicBezTo>
                  <a:cubicBezTo>
                    <a:pt x="2457" y="297"/>
                    <a:pt x="2465" y="300"/>
                    <a:pt x="2476" y="303"/>
                  </a:cubicBezTo>
                  <a:cubicBezTo>
                    <a:pt x="2506" y="308"/>
                    <a:pt x="2519" y="292"/>
                    <a:pt x="2528" y="279"/>
                  </a:cubicBezTo>
                  <a:cubicBezTo>
                    <a:pt x="2532" y="274"/>
                    <a:pt x="2536" y="267"/>
                    <a:pt x="2541" y="264"/>
                  </a:cubicBezTo>
                  <a:cubicBezTo>
                    <a:pt x="2549" y="257"/>
                    <a:pt x="2560" y="254"/>
                    <a:pt x="2572" y="251"/>
                  </a:cubicBezTo>
                  <a:cubicBezTo>
                    <a:pt x="2585" y="246"/>
                    <a:pt x="2600" y="242"/>
                    <a:pt x="2612" y="232"/>
                  </a:cubicBezTo>
                  <a:cubicBezTo>
                    <a:pt x="2636" y="214"/>
                    <a:pt x="2643" y="188"/>
                    <a:pt x="2648" y="163"/>
                  </a:cubicBezTo>
                  <a:cubicBezTo>
                    <a:pt x="2648" y="158"/>
                    <a:pt x="2649" y="153"/>
                    <a:pt x="2649" y="148"/>
                  </a:cubicBezTo>
                  <a:cubicBezTo>
                    <a:pt x="2654" y="124"/>
                    <a:pt x="2658" y="107"/>
                    <a:pt x="2674" y="97"/>
                  </a:cubicBezTo>
                  <a:cubicBezTo>
                    <a:pt x="2682" y="92"/>
                    <a:pt x="2691" y="89"/>
                    <a:pt x="2697" y="86"/>
                  </a:cubicBezTo>
                  <a:cubicBezTo>
                    <a:pt x="2712" y="81"/>
                    <a:pt x="2727" y="74"/>
                    <a:pt x="2742" y="59"/>
                  </a:cubicBezTo>
                  <a:cubicBezTo>
                    <a:pt x="2799" y="0"/>
                    <a:pt x="2817" y="5"/>
                    <a:pt x="2817" y="5"/>
                  </a:cubicBezTo>
                  <a:cubicBezTo>
                    <a:pt x="2821" y="5"/>
                    <a:pt x="2822" y="10"/>
                    <a:pt x="2824" y="18"/>
                  </a:cubicBezTo>
                  <a:cubicBezTo>
                    <a:pt x="2824" y="26"/>
                    <a:pt x="2808" y="40"/>
                    <a:pt x="2798" y="50"/>
                  </a:cubicBezTo>
                  <a:cubicBezTo>
                    <a:pt x="2783" y="63"/>
                    <a:pt x="2766" y="79"/>
                    <a:pt x="2765" y="96"/>
                  </a:cubicBezTo>
                  <a:cubicBezTo>
                    <a:pt x="2757" y="101"/>
                    <a:pt x="2748" y="106"/>
                    <a:pt x="2743" y="115"/>
                  </a:cubicBezTo>
                  <a:cubicBezTo>
                    <a:pt x="2735" y="129"/>
                    <a:pt x="2737" y="140"/>
                    <a:pt x="2738" y="148"/>
                  </a:cubicBezTo>
                  <a:lnTo>
                    <a:pt x="2738" y="155"/>
                  </a:lnTo>
                  <a:cubicBezTo>
                    <a:pt x="2740" y="162"/>
                    <a:pt x="2740" y="168"/>
                    <a:pt x="2740" y="175"/>
                  </a:cubicBezTo>
                  <a:cubicBezTo>
                    <a:pt x="2740" y="183"/>
                    <a:pt x="2740" y="191"/>
                    <a:pt x="2742" y="199"/>
                  </a:cubicBezTo>
                  <a:cubicBezTo>
                    <a:pt x="2743" y="224"/>
                    <a:pt x="2758" y="231"/>
                    <a:pt x="2770" y="237"/>
                  </a:cubicBezTo>
                  <a:cubicBezTo>
                    <a:pt x="2778" y="242"/>
                    <a:pt x="2783" y="246"/>
                    <a:pt x="2788" y="252"/>
                  </a:cubicBezTo>
                  <a:cubicBezTo>
                    <a:pt x="2794" y="262"/>
                    <a:pt x="2798" y="279"/>
                    <a:pt x="2801" y="295"/>
                  </a:cubicBezTo>
                  <a:cubicBezTo>
                    <a:pt x="2804" y="311"/>
                    <a:pt x="2808" y="328"/>
                    <a:pt x="2816" y="343"/>
                  </a:cubicBezTo>
                  <a:cubicBezTo>
                    <a:pt x="2821" y="351"/>
                    <a:pt x="2824" y="359"/>
                    <a:pt x="2829" y="367"/>
                  </a:cubicBezTo>
                  <a:cubicBezTo>
                    <a:pt x="2842" y="394"/>
                    <a:pt x="2855" y="419"/>
                    <a:pt x="2865" y="447"/>
                  </a:cubicBezTo>
                  <a:cubicBezTo>
                    <a:pt x="2869" y="453"/>
                    <a:pt x="2870" y="461"/>
                    <a:pt x="2874" y="471"/>
                  </a:cubicBezTo>
                  <a:cubicBezTo>
                    <a:pt x="2880" y="494"/>
                    <a:pt x="2887" y="522"/>
                    <a:pt x="2906" y="540"/>
                  </a:cubicBezTo>
                  <a:cubicBezTo>
                    <a:pt x="2926" y="560"/>
                    <a:pt x="2949" y="560"/>
                    <a:pt x="2969" y="560"/>
                  </a:cubicBezTo>
                  <a:cubicBezTo>
                    <a:pt x="2979" y="559"/>
                    <a:pt x="2990" y="559"/>
                    <a:pt x="3000" y="562"/>
                  </a:cubicBezTo>
                  <a:cubicBezTo>
                    <a:pt x="3009" y="565"/>
                    <a:pt x="3010" y="568"/>
                    <a:pt x="3017" y="573"/>
                  </a:cubicBezTo>
                  <a:cubicBezTo>
                    <a:pt x="3020" y="578"/>
                    <a:pt x="3023" y="582"/>
                    <a:pt x="3028" y="587"/>
                  </a:cubicBezTo>
                  <a:cubicBezTo>
                    <a:pt x="3037" y="595"/>
                    <a:pt x="3046" y="598"/>
                    <a:pt x="3056" y="603"/>
                  </a:cubicBezTo>
                  <a:cubicBezTo>
                    <a:pt x="3061" y="605"/>
                    <a:pt x="3065" y="606"/>
                    <a:pt x="3070" y="610"/>
                  </a:cubicBezTo>
                  <a:cubicBezTo>
                    <a:pt x="3116" y="634"/>
                    <a:pt x="3126" y="705"/>
                    <a:pt x="3102" y="750"/>
                  </a:cubicBezTo>
                  <a:cubicBezTo>
                    <a:pt x="3088" y="776"/>
                    <a:pt x="3061" y="784"/>
                    <a:pt x="3030" y="794"/>
                  </a:cubicBezTo>
                  <a:cubicBezTo>
                    <a:pt x="3004" y="802"/>
                    <a:pt x="2972" y="812"/>
                    <a:pt x="2949" y="839"/>
                  </a:cubicBezTo>
                  <a:cubicBezTo>
                    <a:pt x="2939" y="850"/>
                    <a:pt x="2931" y="862"/>
                    <a:pt x="2925" y="875"/>
                  </a:cubicBezTo>
                  <a:cubicBezTo>
                    <a:pt x="2916" y="888"/>
                    <a:pt x="2906" y="903"/>
                    <a:pt x="2895" y="914"/>
                  </a:cubicBezTo>
                  <a:cubicBezTo>
                    <a:pt x="2878" y="929"/>
                    <a:pt x="2870" y="947"/>
                    <a:pt x="2864" y="965"/>
                  </a:cubicBezTo>
                  <a:cubicBezTo>
                    <a:pt x="2857" y="979"/>
                    <a:pt x="2852" y="992"/>
                    <a:pt x="2842" y="1003"/>
                  </a:cubicBezTo>
                  <a:cubicBezTo>
                    <a:pt x="2831" y="1018"/>
                    <a:pt x="2814" y="1033"/>
                    <a:pt x="2798" y="1046"/>
                  </a:cubicBezTo>
                  <a:cubicBezTo>
                    <a:pt x="2789" y="1054"/>
                    <a:pt x="2780" y="1061"/>
                    <a:pt x="2773" y="1069"/>
                  </a:cubicBezTo>
                  <a:cubicBezTo>
                    <a:pt x="2766" y="1078"/>
                    <a:pt x="2755" y="1082"/>
                    <a:pt x="2743" y="1089"/>
                  </a:cubicBezTo>
                  <a:cubicBezTo>
                    <a:pt x="2727" y="1101"/>
                    <a:pt x="2710" y="1110"/>
                    <a:pt x="2699" y="1129"/>
                  </a:cubicBezTo>
                  <a:cubicBezTo>
                    <a:pt x="2681" y="1158"/>
                    <a:pt x="2682" y="1208"/>
                    <a:pt x="2702" y="1239"/>
                  </a:cubicBezTo>
                  <a:cubicBezTo>
                    <a:pt x="2714" y="1257"/>
                    <a:pt x="2732" y="1265"/>
                    <a:pt x="2747" y="1274"/>
                  </a:cubicBezTo>
                  <a:cubicBezTo>
                    <a:pt x="2758" y="1278"/>
                    <a:pt x="2770" y="1285"/>
                    <a:pt x="2778" y="1293"/>
                  </a:cubicBezTo>
                  <a:cubicBezTo>
                    <a:pt x="2817" y="1336"/>
                    <a:pt x="2791" y="1400"/>
                    <a:pt x="2763" y="1435"/>
                  </a:cubicBezTo>
                  <a:cubicBezTo>
                    <a:pt x="2758" y="1442"/>
                    <a:pt x="2753" y="1448"/>
                    <a:pt x="2748" y="1456"/>
                  </a:cubicBezTo>
                  <a:cubicBezTo>
                    <a:pt x="2733" y="1475"/>
                    <a:pt x="2720" y="1494"/>
                    <a:pt x="2704" y="1504"/>
                  </a:cubicBezTo>
                  <a:cubicBezTo>
                    <a:pt x="2692" y="1511"/>
                    <a:pt x="2681" y="1516"/>
                    <a:pt x="2669" y="1521"/>
                  </a:cubicBezTo>
                  <a:cubicBezTo>
                    <a:pt x="2651" y="1527"/>
                    <a:pt x="2633" y="1534"/>
                    <a:pt x="2615" y="1549"/>
                  </a:cubicBezTo>
                  <a:cubicBezTo>
                    <a:pt x="2602" y="1559"/>
                    <a:pt x="2589" y="1567"/>
                    <a:pt x="2574" y="1573"/>
                  </a:cubicBezTo>
                  <a:cubicBezTo>
                    <a:pt x="2564" y="1578"/>
                    <a:pt x="2554" y="1583"/>
                    <a:pt x="2542" y="1590"/>
                  </a:cubicBezTo>
                  <a:cubicBezTo>
                    <a:pt x="2539" y="1593"/>
                    <a:pt x="2534" y="1595"/>
                    <a:pt x="2531" y="1598"/>
                  </a:cubicBezTo>
                  <a:cubicBezTo>
                    <a:pt x="2521" y="1605"/>
                    <a:pt x="2516" y="1608"/>
                    <a:pt x="2504" y="1610"/>
                  </a:cubicBezTo>
                  <a:cubicBezTo>
                    <a:pt x="2500" y="1610"/>
                    <a:pt x="2496" y="1610"/>
                    <a:pt x="2493" y="1610"/>
                  </a:cubicBezTo>
                  <a:cubicBezTo>
                    <a:pt x="2481" y="1610"/>
                    <a:pt x="2470" y="1610"/>
                    <a:pt x="2455" y="1620"/>
                  </a:cubicBezTo>
                  <a:cubicBezTo>
                    <a:pt x="2432" y="1634"/>
                    <a:pt x="2422" y="1661"/>
                    <a:pt x="2412" y="1682"/>
                  </a:cubicBezTo>
                  <a:cubicBezTo>
                    <a:pt x="2411" y="1689"/>
                    <a:pt x="2407" y="1695"/>
                    <a:pt x="2406" y="1700"/>
                  </a:cubicBezTo>
                  <a:cubicBezTo>
                    <a:pt x="2391" y="1733"/>
                    <a:pt x="2369" y="1746"/>
                    <a:pt x="2340" y="1766"/>
                  </a:cubicBezTo>
                  <a:cubicBezTo>
                    <a:pt x="2307" y="1789"/>
                    <a:pt x="2287" y="1811"/>
                    <a:pt x="2267" y="1847"/>
                  </a:cubicBezTo>
                  <a:lnTo>
                    <a:pt x="2262" y="1855"/>
                  </a:lnTo>
                  <a:cubicBezTo>
                    <a:pt x="2252" y="1875"/>
                    <a:pt x="2239" y="1900"/>
                    <a:pt x="2221" y="1901"/>
                  </a:cubicBezTo>
                  <a:cubicBezTo>
                    <a:pt x="2213" y="1901"/>
                    <a:pt x="2205" y="1896"/>
                    <a:pt x="2193" y="1891"/>
                  </a:cubicBezTo>
                  <a:cubicBezTo>
                    <a:pt x="2180" y="1885"/>
                    <a:pt x="2163" y="1877"/>
                    <a:pt x="2144" y="1880"/>
                  </a:cubicBezTo>
                  <a:cubicBezTo>
                    <a:pt x="2117" y="1883"/>
                    <a:pt x="2099" y="1903"/>
                    <a:pt x="2083" y="1921"/>
                  </a:cubicBezTo>
                  <a:cubicBezTo>
                    <a:pt x="2076" y="1928"/>
                    <a:pt x="2068" y="1934"/>
                    <a:pt x="2061" y="1939"/>
                  </a:cubicBezTo>
                  <a:cubicBezTo>
                    <a:pt x="2037" y="1961"/>
                    <a:pt x="2012" y="1970"/>
                    <a:pt x="1994" y="1969"/>
                  </a:cubicBezTo>
                  <a:cubicBezTo>
                    <a:pt x="1989" y="1967"/>
                    <a:pt x="1986" y="1965"/>
                    <a:pt x="1979" y="1961"/>
                  </a:cubicBezTo>
                  <a:cubicBezTo>
                    <a:pt x="1974" y="1956"/>
                    <a:pt x="1967" y="1951"/>
                    <a:pt x="1958" y="1949"/>
                  </a:cubicBezTo>
                  <a:cubicBezTo>
                    <a:pt x="1939" y="1944"/>
                    <a:pt x="1928" y="1951"/>
                    <a:pt x="1918" y="1957"/>
                  </a:cubicBezTo>
                  <a:cubicBezTo>
                    <a:pt x="1915" y="1959"/>
                    <a:pt x="1911" y="1962"/>
                    <a:pt x="1906" y="1962"/>
                  </a:cubicBezTo>
                  <a:cubicBezTo>
                    <a:pt x="1900" y="1965"/>
                    <a:pt x="1890" y="1967"/>
                    <a:pt x="1880" y="1967"/>
                  </a:cubicBezTo>
                  <a:cubicBezTo>
                    <a:pt x="1864" y="1969"/>
                    <a:pt x="1846" y="1970"/>
                    <a:pt x="1834" y="1985"/>
                  </a:cubicBezTo>
                  <a:cubicBezTo>
                    <a:pt x="1827" y="1993"/>
                    <a:pt x="1826" y="2007"/>
                    <a:pt x="1829" y="2023"/>
                  </a:cubicBezTo>
                  <a:cubicBezTo>
                    <a:pt x="1831" y="2035"/>
                    <a:pt x="1837" y="2046"/>
                    <a:pt x="1844" y="2056"/>
                  </a:cubicBezTo>
                  <a:cubicBezTo>
                    <a:pt x="1852" y="2073"/>
                    <a:pt x="1859" y="2084"/>
                    <a:pt x="1855" y="2092"/>
                  </a:cubicBezTo>
                  <a:cubicBezTo>
                    <a:pt x="1854" y="2096"/>
                    <a:pt x="1847" y="2099"/>
                    <a:pt x="1842" y="2102"/>
                  </a:cubicBezTo>
                  <a:cubicBezTo>
                    <a:pt x="1837" y="2105"/>
                    <a:pt x="1832" y="2109"/>
                    <a:pt x="1827" y="2114"/>
                  </a:cubicBezTo>
                  <a:cubicBezTo>
                    <a:pt x="1816" y="2125"/>
                    <a:pt x="1809" y="2140"/>
                    <a:pt x="1806" y="2155"/>
                  </a:cubicBezTo>
                  <a:cubicBezTo>
                    <a:pt x="1803" y="2160"/>
                    <a:pt x="1801" y="2166"/>
                    <a:pt x="1799" y="2171"/>
                  </a:cubicBezTo>
                  <a:cubicBezTo>
                    <a:pt x="1790" y="2190"/>
                    <a:pt x="1783" y="2209"/>
                    <a:pt x="1790" y="2226"/>
                  </a:cubicBezTo>
                  <a:cubicBezTo>
                    <a:pt x="1798" y="2241"/>
                    <a:pt x="1819" y="2247"/>
                    <a:pt x="1836" y="2250"/>
                  </a:cubicBezTo>
                  <a:cubicBezTo>
                    <a:pt x="1839" y="2250"/>
                    <a:pt x="1842" y="2252"/>
                    <a:pt x="1847" y="2252"/>
                  </a:cubicBezTo>
                  <a:cubicBezTo>
                    <a:pt x="1860" y="2254"/>
                    <a:pt x="1882" y="2257"/>
                    <a:pt x="1885" y="2265"/>
                  </a:cubicBezTo>
                  <a:cubicBezTo>
                    <a:pt x="1887" y="2267"/>
                    <a:pt x="1887" y="2272"/>
                    <a:pt x="1885" y="2277"/>
                  </a:cubicBezTo>
                  <a:cubicBezTo>
                    <a:pt x="1880" y="2288"/>
                    <a:pt x="1859" y="2298"/>
                    <a:pt x="1842" y="2306"/>
                  </a:cubicBezTo>
                  <a:cubicBezTo>
                    <a:pt x="1834" y="2310"/>
                    <a:pt x="1826" y="2313"/>
                    <a:pt x="1821" y="231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42" name="Freeform 78">
              <a:extLst>
                <a:ext uri="{FF2B5EF4-FFF2-40B4-BE49-F238E27FC236}">
                  <a16:creationId xmlns:a16="http://schemas.microsoft.com/office/drawing/2014/main" id="{FF316BFE-0F43-1B40-9839-D5B22CE8BF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4772025"/>
              <a:ext cx="225425" cy="155575"/>
            </a:xfrm>
            <a:custGeom>
              <a:avLst/>
              <a:gdLst>
                <a:gd name="T0" fmla="*/ 620 w 624"/>
                <a:gd name="T1" fmla="*/ 256 h 434"/>
                <a:gd name="T2" fmla="*/ 617 w 624"/>
                <a:gd name="T3" fmla="*/ 285 h 434"/>
                <a:gd name="T4" fmla="*/ 542 w 624"/>
                <a:gd name="T5" fmla="*/ 310 h 434"/>
                <a:gd name="T6" fmla="*/ 529 w 624"/>
                <a:gd name="T7" fmla="*/ 312 h 434"/>
                <a:gd name="T8" fmla="*/ 424 w 624"/>
                <a:gd name="T9" fmla="*/ 349 h 434"/>
                <a:gd name="T10" fmla="*/ 320 w 624"/>
                <a:gd name="T11" fmla="*/ 400 h 434"/>
                <a:gd name="T12" fmla="*/ 292 w 624"/>
                <a:gd name="T13" fmla="*/ 396 h 434"/>
                <a:gd name="T14" fmla="*/ 236 w 624"/>
                <a:gd name="T15" fmla="*/ 400 h 434"/>
                <a:gd name="T16" fmla="*/ 218 w 624"/>
                <a:gd name="T17" fmla="*/ 414 h 434"/>
                <a:gd name="T18" fmla="*/ 183 w 624"/>
                <a:gd name="T19" fmla="*/ 427 h 434"/>
                <a:gd name="T20" fmla="*/ 178 w 624"/>
                <a:gd name="T21" fmla="*/ 415 h 434"/>
                <a:gd name="T22" fmla="*/ 155 w 624"/>
                <a:gd name="T23" fmla="*/ 384 h 434"/>
                <a:gd name="T24" fmla="*/ 139 w 624"/>
                <a:gd name="T25" fmla="*/ 379 h 434"/>
                <a:gd name="T26" fmla="*/ 116 w 624"/>
                <a:gd name="T27" fmla="*/ 389 h 434"/>
                <a:gd name="T28" fmla="*/ 108 w 624"/>
                <a:gd name="T29" fmla="*/ 397 h 434"/>
                <a:gd name="T30" fmla="*/ 83 w 624"/>
                <a:gd name="T31" fmla="*/ 405 h 434"/>
                <a:gd name="T32" fmla="*/ 78 w 624"/>
                <a:gd name="T33" fmla="*/ 396 h 434"/>
                <a:gd name="T34" fmla="*/ 71 w 624"/>
                <a:gd name="T35" fmla="*/ 386 h 434"/>
                <a:gd name="T36" fmla="*/ 48 w 624"/>
                <a:gd name="T37" fmla="*/ 361 h 434"/>
                <a:gd name="T38" fmla="*/ 25 w 624"/>
                <a:gd name="T39" fmla="*/ 349 h 434"/>
                <a:gd name="T40" fmla="*/ 9 w 624"/>
                <a:gd name="T41" fmla="*/ 310 h 434"/>
                <a:gd name="T42" fmla="*/ 35 w 624"/>
                <a:gd name="T43" fmla="*/ 262 h 434"/>
                <a:gd name="T44" fmla="*/ 55 w 624"/>
                <a:gd name="T45" fmla="*/ 270 h 434"/>
                <a:gd name="T46" fmla="*/ 70 w 624"/>
                <a:gd name="T47" fmla="*/ 285 h 434"/>
                <a:gd name="T48" fmla="*/ 116 w 624"/>
                <a:gd name="T49" fmla="*/ 310 h 434"/>
                <a:gd name="T50" fmla="*/ 150 w 624"/>
                <a:gd name="T51" fmla="*/ 285 h 434"/>
                <a:gd name="T52" fmla="*/ 159 w 624"/>
                <a:gd name="T53" fmla="*/ 270 h 434"/>
                <a:gd name="T54" fmla="*/ 173 w 624"/>
                <a:gd name="T55" fmla="*/ 254 h 434"/>
                <a:gd name="T56" fmla="*/ 193 w 624"/>
                <a:gd name="T57" fmla="*/ 256 h 434"/>
                <a:gd name="T58" fmla="*/ 218 w 624"/>
                <a:gd name="T59" fmla="*/ 257 h 434"/>
                <a:gd name="T60" fmla="*/ 243 w 624"/>
                <a:gd name="T61" fmla="*/ 247 h 434"/>
                <a:gd name="T62" fmla="*/ 246 w 624"/>
                <a:gd name="T63" fmla="*/ 219 h 434"/>
                <a:gd name="T64" fmla="*/ 243 w 624"/>
                <a:gd name="T65" fmla="*/ 209 h 434"/>
                <a:gd name="T66" fmla="*/ 241 w 624"/>
                <a:gd name="T67" fmla="*/ 196 h 434"/>
                <a:gd name="T68" fmla="*/ 239 w 624"/>
                <a:gd name="T69" fmla="*/ 162 h 434"/>
                <a:gd name="T70" fmla="*/ 261 w 624"/>
                <a:gd name="T71" fmla="*/ 135 h 434"/>
                <a:gd name="T72" fmla="*/ 272 w 624"/>
                <a:gd name="T73" fmla="*/ 140 h 434"/>
                <a:gd name="T74" fmla="*/ 287 w 624"/>
                <a:gd name="T75" fmla="*/ 153 h 434"/>
                <a:gd name="T76" fmla="*/ 328 w 624"/>
                <a:gd name="T77" fmla="*/ 157 h 434"/>
                <a:gd name="T78" fmla="*/ 360 w 624"/>
                <a:gd name="T79" fmla="*/ 92 h 434"/>
                <a:gd name="T80" fmla="*/ 412 w 624"/>
                <a:gd name="T81" fmla="*/ 13 h 434"/>
                <a:gd name="T82" fmla="*/ 514 w 624"/>
                <a:gd name="T83" fmla="*/ 33 h 434"/>
                <a:gd name="T84" fmla="*/ 539 w 624"/>
                <a:gd name="T85" fmla="*/ 43 h 434"/>
                <a:gd name="T86" fmla="*/ 615 w 624"/>
                <a:gd name="T87" fmla="*/ 94 h 434"/>
                <a:gd name="T88" fmla="*/ 600 w 624"/>
                <a:gd name="T89" fmla="*/ 145 h 434"/>
                <a:gd name="T90" fmla="*/ 584 w 624"/>
                <a:gd name="T91" fmla="*/ 142 h 434"/>
                <a:gd name="T92" fmla="*/ 549 w 624"/>
                <a:gd name="T93" fmla="*/ 142 h 434"/>
                <a:gd name="T94" fmla="*/ 523 w 624"/>
                <a:gd name="T95" fmla="*/ 172 h 434"/>
                <a:gd name="T96" fmla="*/ 592 w 624"/>
                <a:gd name="T97" fmla="*/ 229 h 434"/>
                <a:gd name="T98" fmla="*/ 620 w 624"/>
                <a:gd name="T99" fmla="*/ 256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24" h="434">
                  <a:moveTo>
                    <a:pt x="620" y="256"/>
                  </a:moveTo>
                  <a:cubicBezTo>
                    <a:pt x="623" y="265"/>
                    <a:pt x="622" y="275"/>
                    <a:pt x="617" y="285"/>
                  </a:cubicBezTo>
                  <a:cubicBezTo>
                    <a:pt x="602" y="310"/>
                    <a:pt x="574" y="310"/>
                    <a:pt x="542" y="310"/>
                  </a:cubicBezTo>
                  <a:lnTo>
                    <a:pt x="529" y="312"/>
                  </a:lnTo>
                  <a:cubicBezTo>
                    <a:pt x="486" y="312"/>
                    <a:pt x="453" y="325"/>
                    <a:pt x="424" y="349"/>
                  </a:cubicBezTo>
                  <a:cubicBezTo>
                    <a:pt x="384" y="382"/>
                    <a:pt x="351" y="399"/>
                    <a:pt x="320" y="400"/>
                  </a:cubicBezTo>
                  <a:cubicBezTo>
                    <a:pt x="310" y="400"/>
                    <a:pt x="302" y="399"/>
                    <a:pt x="292" y="396"/>
                  </a:cubicBezTo>
                  <a:cubicBezTo>
                    <a:pt x="277" y="391"/>
                    <a:pt x="259" y="384"/>
                    <a:pt x="236" y="400"/>
                  </a:cubicBezTo>
                  <a:cubicBezTo>
                    <a:pt x="229" y="404"/>
                    <a:pt x="223" y="409"/>
                    <a:pt x="218" y="414"/>
                  </a:cubicBezTo>
                  <a:cubicBezTo>
                    <a:pt x="198" y="432"/>
                    <a:pt x="192" y="433"/>
                    <a:pt x="183" y="427"/>
                  </a:cubicBezTo>
                  <a:cubicBezTo>
                    <a:pt x="182" y="425"/>
                    <a:pt x="180" y="420"/>
                    <a:pt x="178" y="415"/>
                  </a:cubicBezTo>
                  <a:cubicBezTo>
                    <a:pt x="175" y="405"/>
                    <a:pt x="170" y="392"/>
                    <a:pt x="155" y="384"/>
                  </a:cubicBezTo>
                  <a:cubicBezTo>
                    <a:pt x="150" y="381"/>
                    <a:pt x="144" y="381"/>
                    <a:pt x="139" y="379"/>
                  </a:cubicBezTo>
                  <a:cubicBezTo>
                    <a:pt x="129" y="379"/>
                    <a:pt x="122" y="384"/>
                    <a:pt x="116" y="389"/>
                  </a:cubicBezTo>
                  <a:cubicBezTo>
                    <a:pt x="114" y="392"/>
                    <a:pt x="111" y="394"/>
                    <a:pt x="108" y="397"/>
                  </a:cubicBezTo>
                  <a:cubicBezTo>
                    <a:pt x="94" y="404"/>
                    <a:pt x="88" y="405"/>
                    <a:pt x="83" y="405"/>
                  </a:cubicBezTo>
                  <a:cubicBezTo>
                    <a:pt x="81" y="402"/>
                    <a:pt x="80" y="399"/>
                    <a:pt x="78" y="396"/>
                  </a:cubicBezTo>
                  <a:cubicBezTo>
                    <a:pt x="75" y="392"/>
                    <a:pt x="73" y="389"/>
                    <a:pt x="71" y="386"/>
                  </a:cubicBezTo>
                  <a:cubicBezTo>
                    <a:pt x="66" y="377"/>
                    <a:pt x="61" y="369"/>
                    <a:pt x="48" y="361"/>
                  </a:cubicBezTo>
                  <a:cubicBezTo>
                    <a:pt x="40" y="356"/>
                    <a:pt x="32" y="353"/>
                    <a:pt x="25" y="349"/>
                  </a:cubicBezTo>
                  <a:cubicBezTo>
                    <a:pt x="4" y="340"/>
                    <a:pt x="0" y="338"/>
                    <a:pt x="9" y="310"/>
                  </a:cubicBezTo>
                  <a:cubicBezTo>
                    <a:pt x="12" y="298"/>
                    <a:pt x="22" y="265"/>
                    <a:pt x="35" y="262"/>
                  </a:cubicBezTo>
                  <a:cubicBezTo>
                    <a:pt x="42" y="260"/>
                    <a:pt x="50" y="265"/>
                    <a:pt x="55" y="270"/>
                  </a:cubicBezTo>
                  <a:cubicBezTo>
                    <a:pt x="61" y="275"/>
                    <a:pt x="66" y="280"/>
                    <a:pt x="70" y="285"/>
                  </a:cubicBezTo>
                  <a:cubicBezTo>
                    <a:pt x="84" y="298"/>
                    <a:pt x="98" y="312"/>
                    <a:pt x="116" y="310"/>
                  </a:cubicBezTo>
                  <a:cubicBezTo>
                    <a:pt x="129" y="310"/>
                    <a:pt x="140" y="302"/>
                    <a:pt x="150" y="285"/>
                  </a:cubicBezTo>
                  <a:cubicBezTo>
                    <a:pt x="154" y="280"/>
                    <a:pt x="157" y="275"/>
                    <a:pt x="159" y="270"/>
                  </a:cubicBezTo>
                  <a:cubicBezTo>
                    <a:pt x="164" y="260"/>
                    <a:pt x="167" y="257"/>
                    <a:pt x="173" y="254"/>
                  </a:cubicBezTo>
                  <a:cubicBezTo>
                    <a:pt x="180" y="252"/>
                    <a:pt x="185" y="252"/>
                    <a:pt x="193" y="256"/>
                  </a:cubicBezTo>
                  <a:cubicBezTo>
                    <a:pt x="200" y="257"/>
                    <a:pt x="208" y="259"/>
                    <a:pt x="218" y="257"/>
                  </a:cubicBezTo>
                  <a:cubicBezTo>
                    <a:pt x="226" y="257"/>
                    <a:pt x="236" y="256"/>
                    <a:pt x="243" y="247"/>
                  </a:cubicBezTo>
                  <a:cubicBezTo>
                    <a:pt x="249" y="239"/>
                    <a:pt x="248" y="229"/>
                    <a:pt x="246" y="219"/>
                  </a:cubicBezTo>
                  <a:cubicBezTo>
                    <a:pt x="244" y="216"/>
                    <a:pt x="244" y="213"/>
                    <a:pt x="243" y="209"/>
                  </a:cubicBezTo>
                  <a:cubicBezTo>
                    <a:pt x="243" y="204"/>
                    <a:pt x="243" y="201"/>
                    <a:pt x="241" y="196"/>
                  </a:cubicBezTo>
                  <a:cubicBezTo>
                    <a:pt x="239" y="185"/>
                    <a:pt x="238" y="172"/>
                    <a:pt x="239" y="162"/>
                  </a:cubicBezTo>
                  <a:cubicBezTo>
                    <a:pt x="243" y="153"/>
                    <a:pt x="248" y="137"/>
                    <a:pt x="261" y="135"/>
                  </a:cubicBezTo>
                  <a:cubicBezTo>
                    <a:pt x="267" y="135"/>
                    <a:pt x="267" y="137"/>
                    <a:pt x="272" y="140"/>
                  </a:cubicBezTo>
                  <a:cubicBezTo>
                    <a:pt x="276" y="145"/>
                    <a:pt x="281" y="148"/>
                    <a:pt x="287" y="153"/>
                  </a:cubicBezTo>
                  <a:cubicBezTo>
                    <a:pt x="302" y="160"/>
                    <a:pt x="317" y="162"/>
                    <a:pt x="328" y="157"/>
                  </a:cubicBezTo>
                  <a:cubicBezTo>
                    <a:pt x="350" y="145"/>
                    <a:pt x="355" y="117"/>
                    <a:pt x="360" y="92"/>
                  </a:cubicBezTo>
                  <a:cubicBezTo>
                    <a:pt x="366" y="63"/>
                    <a:pt x="384" y="25"/>
                    <a:pt x="412" y="13"/>
                  </a:cubicBezTo>
                  <a:cubicBezTo>
                    <a:pt x="444" y="0"/>
                    <a:pt x="485" y="20"/>
                    <a:pt x="514" y="33"/>
                  </a:cubicBezTo>
                  <a:cubicBezTo>
                    <a:pt x="521" y="36"/>
                    <a:pt x="529" y="40"/>
                    <a:pt x="539" y="43"/>
                  </a:cubicBezTo>
                  <a:cubicBezTo>
                    <a:pt x="567" y="55"/>
                    <a:pt x="612" y="73"/>
                    <a:pt x="615" y="94"/>
                  </a:cubicBezTo>
                  <a:cubicBezTo>
                    <a:pt x="617" y="112"/>
                    <a:pt x="607" y="142"/>
                    <a:pt x="600" y="145"/>
                  </a:cubicBezTo>
                  <a:cubicBezTo>
                    <a:pt x="597" y="145"/>
                    <a:pt x="590" y="143"/>
                    <a:pt x="584" y="142"/>
                  </a:cubicBezTo>
                  <a:cubicBezTo>
                    <a:pt x="574" y="140"/>
                    <a:pt x="562" y="135"/>
                    <a:pt x="549" y="142"/>
                  </a:cubicBezTo>
                  <a:cubicBezTo>
                    <a:pt x="531" y="148"/>
                    <a:pt x="523" y="158"/>
                    <a:pt x="523" y="172"/>
                  </a:cubicBezTo>
                  <a:cubicBezTo>
                    <a:pt x="523" y="191"/>
                    <a:pt x="546" y="211"/>
                    <a:pt x="592" y="229"/>
                  </a:cubicBezTo>
                  <a:cubicBezTo>
                    <a:pt x="607" y="236"/>
                    <a:pt x="617" y="246"/>
                    <a:pt x="620" y="25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43" name="Freeform 79">
              <a:extLst>
                <a:ext uri="{FF2B5EF4-FFF2-40B4-BE49-F238E27FC236}">
                  <a16:creationId xmlns:a16="http://schemas.microsoft.com/office/drawing/2014/main" id="{FF4FDB5A-D6A3-A74C-9673-317609FC7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2050" y="4019550"/>
              <a:ext cx="835025" cy="1084263"/>
            </a:xfrm>
            <a:custGeom>
              <a:avLst/>
              <a:gdLst>
                <a:gd name="T0" fmla="*/ 2239 w 2321"/>
                <a:gd name="T1" fmla="*/ 1633 h 3013"/>
                <a:gd name="T2" fmla="*/ 2084 w 2321"/>
                <a:gd name="T3" fmla="*/ 1503 h 3013"/>
                <a:gd name="T4" fmla="*/ 2302 w 2321"/>
                <a:gd name="T5" fmla="*/ 1152 h 3013"/>
                <a:gd name="T6" fmla="*/ 2205 w 2321"/>
                <a:gd name="T7" fmla="*/ 1010 h 3013"/>
                <a:gd name="T8" fmla="*/ 2213 w 2321"/>
                <a:gd name="T9" fmla="*/ 923 h 3013"/>
                <a:gd name="T10" fmla="*/ 2152 w 2321"/>
                <a:gd name="T11" fmla="*/ 789 h 3013"/>
                <a:gd name="T12" fmla="*/ 2132 w 2321"/>
                <a:gd name="T13" fmla="*/ 702 h 3013"/>
                <a:gd name="T14" fmla="*/ 1995 w 2321"/>
                <a:gd name="T15" fmla="*/ 628 h 3013"/>
                <a:gd name="T16" fmla="*/ 1799 w 2321"/>
                <a:gd name="T17" fmla="*/ 616 h 3013"/>
                <a:gd name="T18" fmla="*/ 1789 w 2321"/>
                <a:gd name="T19" fmla="*/ 503 h 3013"/>
                <a:gd name="T20" fmla="*/ 1666 w 2321"/>
                <a:gd name="T21" fmla="*/ 425 h 3013"/>
                <a:gd name="T22" fmla="*/ 1623 w 2321"/>
                <a:gd name="T23" fmla="*/ 336 h 3013"/>
                <a:gd name="T24" fmla="*/ 1427 w 2321"/>
                <a:gd name="T25" fmla="*/ 109 h 3013"/>
                <a:gd name="T26" fmla="*/ 1275 w 2321"/>
                <a:gd name="T27" fmla="*/ 13 h 3013"/>
                <a:gd name="T28" fmla="*/ 1183 w 2321"/>
                <a:gd name="T29" fmla="*/ 93 h 3013"/>
                <a:gd name="T30" fmla="*/ 1175 w 2321"/>
                <a:gd name="T31" fmla="*/ 162 h 3013"/>
                <a:gd name="T32" fmla="*/ 1246 w 2321"/>
                <a:gd name="T33" fmla="*/ 313 h 3013"/>
                <a:gd name="T34" fmla="*/ 1297 w 2321"/>
                <a:gd name="T35" fmla="*/ 389 h 3013"/>
                <a:gd name="T36" fmla="*/ 1213 w 2321"/>
                <a:gd name="T37" fmla="*/ 529 h 3013"/>
                <a:gd name="T38" fmla="*/ 1018 w 2321"/>
                <a:gd name="T39" fmla="*/ 544 h 3013"/>
                <a:gd name="T40" fmla="*/ 989 w 2321"/>
                <a:gd name="T41" fmla="*/ 564 h 3013"/>
                <a:gd name="T42" fmla="*/ 1033 w 2321"/>
                <a:gd name="T43" fmla="*/ 648 h 3013"/>
                <a:gd name="T44" fmla="*/ 1114 w 2321"/>
                <a:gd name="T45" fmla="*/ 849 h 3013"/>
                <a:gd name="T46" fmla="*/ 1231 w 2321"/>
                <a:gd name="T47" fmla="*/ 949 h 3013"/>
                <a:gd name="T48" fmla="*/ 1307 w 2321"/>
                <a:gd name="T49" fmla="*/ 999 h 3013"/>
                <a:gd name="T50" fmla="*/ 1172 w 2321"/>
                <a:gd name="T51" fmla="*/ 1300 h 3013"/>
                <a:gd name="T52" fmla="*/ 1040 w 2321"/>
                <a:gd name="T53" fmla="*/ 1478 h 3013"/>
                <a:gd name="T54" fmla="*/ 948 w 2321"/>
                <a:gd name="T55" fmla="*/ 1636 h 3013"/>
                <a:gd name="T56" fmla="*/ 994 w 2321"/>
                <a:gd name="T57" fmla="*/ 1883 h 3013"/>
                <a:gd name="T58" fmla="*/ 809 w 2321"/>
                <a:gd name="T59" fmla="*/ 2008 h 3013"/>
                <a:gd name="T60" fmla="*/ 717 w 2321"/>
                <a:gd name="T61" fmla="*/ 2048 h 3013"/>
                <a:gd name="T62" fmla="*/ 579 w 2321"/>
                <a:gd name="T63" fmla="*/ 2201 h 3013"/>
                <a:gd name="T64" fmla="*/ 406 w 2321"/>
                <a:gd name="T65" fmla="*/ 2326 h 3013"/>
                <a:gd name="T66" fmla="*/ 214 w 2321"/>
                <a:gd name="T67" fmla="*/ 2405 h 3013"/>
                <a:gd name="T68" fmla="*/ 140 w 2321"/>
                <a:gd name="T69" fmla="*/ 2399 h 3013"/>
                <a:gd name="T70" fmla="*/ 89 w 2321"/>
                <a:gd name="T71" fmla="*/ 2455 h 3013"/>
                <a:gd name="T72" fmla="*/ 55 w 2321"/>
                <a:gd name="T73" fmla="*/ 2575 h 3013"/>
                <a:gd name="T74" fmla="*/ 76 w 2321"/>
                <a:gd name="T75" fmla="*/ 2638 h 3013"/>
                <a:gd name="T76" fmla="*/ 58 w 2321"/>
                <a:gd name="T77" fmla="*/ 2751 h 3013"/>
                <a:gd name="T78" fmla="*/ 325 w 2321"/>
                <a:gd name="T79" fmla="*/ 3007 h 3013"/>
                <a:gd name="T80" fmla="*/ 727 w 2321"/>
                <a:gd name="T81" fmla="*/ 2913 h 3013"/>
                <a:gd name="T82" fmla="*/ 984 w 2321"/>
                <a:gd name="T83" fmla="*/ 2799 h 3013"/>
                <a:gd name="T84" fmla="*/ 1412 w 2321"/>
                <a:gd name="T85" fmla="*/ 2529 h 3013"/>
                <a:gd name="T86" fmla="*/ 1733 w 2321"/>
                <a:gd name="T87" fmla="*/ 2524 h 3013"/>
                <a:gd name="T88" fmla="*/ 2020 w 2321"/>
                <a:gd name="T89" fmla="*/ 2468 h 3013"/>
                <a:gd name="T90" fmla="*/ 2153 w 2321"/>
                <a:gd name="T91" fmla="*/ 2237 h 3013"/>
                <a:gd name="T92" fmla="*/ 1483 w 2321"/>
                <a:gd name="T93" fmla="*/ 2387 h 3013"/>
                <a:gd name="T94" fmla="*/ 1167 w 2321"/>
                <a:gd name="T95" fmla="*/ 2516 h 3013"/>
                <a:gd name="T96" fmla="*/ 1033 w 2321"/>
                <a:gd name="T97" fmla="*/ 2546 h 3013"/>
                <a:gd name="T98" fmla="*/ 982 w 2321"/>
                <a:gd name="T99" fmla="*/ 2494 h 3013"/>
                <a:gd name="T100" fmla="*/ 921 w 2321"/>
                <a:gd name="T101" fmla="*/ 2519 h 3013"/>
                <a:gd name="T102" fmla="*/ 880 w 2321"/>
                <a:gd name="T103" fmla="*/ 2473 h 3013"/>
                <a:gd name="T104" fmla="*/ 916 w 2321"/>
                <a:gd name="T105" fmla="*/ 2340 h 3013"/>
                <a:gd name="T106" fmla="*/ 981 w 2321"/>
                <a:gd name="T107" fmla="*/ 2348 h 3013"/>
                <a:gd name="T108" fmla="*/ 1065 w 2321"/>
                <a:gd name="T109" fmla="*/ 2320 h 3013"/>
                <a:gd name="T110" fmla="*/ 1060 w 2321"/>
                <a:gd name="T111" fmla="*/ 2244 h 3013"/>
                <a:gd name="T112" fmla="*/ 1162 w 2321"/>
                <a:gd name="T113" fmla="*/ 2223 h 3013"/>
                <a:gd name="T114" fmla="*/ 1394 w 2321"/>
                <a:gd name="T115" fmla="*/ 2109 h 3013"/>
                <a:gd name="T116" fmla="*/ 1404 w 2321"/>
                <a:gd name="T117" fmla="*/ 2254 h 3013"/>
                <a:gd name="T118" fmla="*/ 1483 w 2321"/>
                <a:gd name="T119" fmla="*/ 2387 h 3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21" h="3013">
                  <a:moveTo>
                    <a:pt x="2163" y="1959"/>
                  </a:moveTo>
                  <a:cubicBezTo>
                    <a:pt x="2168" y="1918"/>
                    <a:pt x="2173" y="1873"/>
                    <a:pt x="2183" y="1832"/>
                  </a:cubicBezTo>
                  <a:cubicBezTo>
                    <a:pt x="2190" y="1804"/>
                    <a:pt x="2201" y="1779"/>
                    <a:pt x="2213" y="1755"/>
                  </a:cubicBezTo>
                  <a:cubicBezTo>
                    <a:pt x="2231" y="1715"/>
                    <a:pt x="2249" y="1677"/>
                    <a:pt x="2239" y="1633"/>
                  </a:cubicBezTo>
                  <a:cubicBezTo>
                    <a:pt x="2231" y="1600"/>
                    <a:pt x="2216" y="1569"/>
                    <a:pt x="2201" y="1550"/>
                  </a:cubicBezTo>
                  <a:cubicBezTo>
                    <a:pt x="2186" y="1534"/>
                    <a:pt x="2172" y="1534"/>
                    <a:pt x="2149" y="1534"/>
                  </a:cubicBezTo>
                  <a:lnTo>
                    <a:pt x="2140" y="1534"/>
                  </a:lnTo>
                  <a:cubicBezTo>
                    <a:pt x="2104" y="1532"/>
                    <a:pt x="2089" y="1516"/>
                    <a:pt x="2084" y="1503"/>
                  </a:cubicBezTo>
                  <a:cubicBezTo>
                    <a:pt x="2058" y="1434"/>
                    <a:pt x="2203" y="1285"/>
                    <a:pt x="2205" y="1284"/>
                  </a:cubicBezTo>
                  <a:cubicBezTo>
                    <a:pt x="2238" y="1251"/>
                    <a:pt x="2277" y="1219"/>
                    <a:pt x="2320" y="1191"/>
                  </a:cubicBezTo>
                  <a:cubicBezTo>
                    <a:pt x="2317" y="1183"/>
                    <a:pt x="2312" y="1173"/>
                    <a:pt x="2307" y="1163"/>
                  </a:cubicBezTo>
                  <a:lnTo>
                    <a:pt x="2302" y="1152"/>
                  </a:lnTo>
                  <a:cubicBezTo>
                    <a:pt x="2285" y="1120"/>
                    <a:pt x="2274" y="1092"/>
                    <a:pt x="2244" y="1074"/>
                  </a:cubicBezTo>
                  <a:cubicBezTo>
                    <a:pt x="2242" y="1073"/>
                    <a:pt x="2239" y="1071"/>
                    <a:pt x="2238" y="1069"/>
                  </a:cubicBezTo>
                  <a:cubicBezTo>
                    <a:pt x="2224" y="1063"/>
                    <a:pt x="2211" y="1055"/>
                    <a:pt x="2205" y="1036"/>
                  </a:cubicBezTo>
                  <a:cubicBezTo>
                    <a:pt x="2201" y="1027"/>
                    <a:pt x="2203" y="1018"/>
                    <a:pt x="2205" y="1010"/>
                  </a:cubicBezTo>
                  <a:cubicBezTo>
                    <a:pt x="2205" y="1005"/>
                    <a:pt x="2206" y="1000"/>
                    <a:pt x="2205" y="995"/>
                  </a:cubicBezTo>
                  <a:cubicBezTo>
                    <a:pt x="2203" y="994"/>
                    <a:pt x="2200" y="989"/>
                    <a:pt x="2198" y="985"/>
                  </a:cubicBezTo>
                  <a:cubicBezTo>
                    <a:pt x="2193" y="979"/>
                    <a:pt x="2186" y="969"/>
                    <a:pt x="2186" y="957"/>
                  </a:cubicBezTo>
                  <a:cubicBezTo>
                    <a:pt x="2188" y="936"/>
                    <a:pt x="2203" y="929"/>
                    <a:pt x="2213" y="923"/>
                  </a:cubicBezTo>
                  <a:cubicBezTo>
                    <a:pt x="2216" y="921"/>
                    <a:pt x="2219" y="920"/>
                    <a:pt x="2223" y="916"/>
                  </a:cubicBezTo>
                  <a:cubicBezTo>
                    <a:pt x="2226" y="913"/>
                    <a:pt x="2231" y="908"/>
                    <a:pt x="2231" y="905"/>
                  </a:cubicBezTo>
                  <a:cubicBezTo>
                    <a:pt x="2231" y="895"/>
                    <a:pt x="2214" y="882"/>
                    <a:pt x="2200" y="870"/>
                  </a:cubicBezTo>
                  <a:cubicBezTo>
                    <a:pt x="2175" y="849"/>
                    <a:pt x="2145" y="824"/>
                    <a:pt x="2152" y="789"/>
                  </a:cubicBezTo>
                  <a:cubicBezTo>
                    <a:pt x="2152" y="783"/>
                    <a:pt x="2155" y="776"/>
                    <a:pt x="2157" y="770"/>
                  </a:cubicBezTo>
                  <a:cubicBezTo>
                    <a:pt x="2160" y="761"/>
                    <a:pt x="2162" y="756"/>
                    <a:pt x="2158" y="748"/>
                  </a:cubicBezTo>
                  <a:cubicBezTo>
                    <a:pt x="2157" y="742"/>
                    <a:pt x="2152" y="735"/>
                    <a:pt x="2147" y="730"/>
                  </a:cubicBezTo>
                  <a:cubicBezTo>
                    <a:pt x="2142" y="722"/>
                    <a:pt x="2135" y="714"/>
                    <a:pt x="2132" y="702"/>
                  </a:cubicBezTo>
                  <a:cubicBezTo>
                    <a:pt x="2130" y="697"/>
                    <a:pt x="2129" y="691"/>
                    <a:pt x="2127" y="686"/>
                  </a:cubicBezTo>
                  <a:cubicBezTo>
                    <a:pt x="2114" y="648"/>
                    <a:pt x="2107" y="635"/>
                    <a:pt x="2081" y="643"/>
                  </a:cubicBezTo>
                  <a:cubicBezTo>
                    <a:pt x="2076" y="643"/>
                    <a:pt x="2071" y="646"/>
                    <a:pt x="2066" y="648"/>
                  </a:cubicBezTo>
                  <a:cubicBezTo>
                    <a:pt x="2043" y="654"/>
                    <a:pt x="2017" y="666"/>
                    <a:pt x="1995" y="628"/>
                  </a:cubicBezTo>
                  <a:cubicBezTo>
                    <a:pt x="1987" y="615"/>
                    <a:pt x="1984" y="600"/>
                    <a:pt x="1981" y="585"/>
                  </a:cubicBezTo>
                  <a:cubicBezTo>
                    <a:pt x="1977" y="565"/>
                    <a:pt x="1974" y="549"/>
                    <a:pt x="1961" y="537"/>
                  </a:cubicBezTo>
                  <a:cubicBezTo>
                    <a:pt x="1933" y="516"/>
                    <a:pt x="1913" y="531"/>
                    <a:pt x="1878" y="569"/>
                  </a:cubicBezTo>
                  <a:cubicBezTo>
                    <a:pt x="1855" y="593"/>
                    <a:pt x="1831" y="620"/>
                    <a:pt x="1799" y="616"/>
                  </a:cubicBezTo>
                  <a:lnTo>
                    <a:pt x="1798" y="616"/>
                  </a:lnTo>
                  <a:cubicBezTo>
                    <a:pt x="1776" y="613"/>
                    <a:pt x="1761" y="597"/>
                    <a:pt x="1755" y="574"/>
                  </a:cubicBezTo>
                  <a:cubicBezTo>
                    <a:pt x="1750" y="547"/>
                    <a:pt x="1758" y="521"/>
                    <a:pt x="1778" y="509"/>
                  </a:cubicBezTo>
                  <a:cubicBezTo>
                    <a:pt x="1781" y="508"/>
                    <a:pt x="1786" y="504"/>
                    <a:pt x="1789" y="503"/>
                  </a:cubicBezTo>
                  <a:cubicBezTo>
                    <a:pt x="1794" y="501"/>
                    <a:pt x="1806" y="494"/>
                    <a:pt x="1806" y="493"/>
                  </a:cubicBezTo>
                  <a:cubicBezTo>
                    <a:pt x="1806" y="491"/>
                    <a:pt x="1806" y="488"/>
                    <a:pt x="1801" y="483"/>
                  </a:cubicBezTo>
                  <a:cubicBezTo>
                    <a:pt x="1788" y="466"/>
                    <a:pt x="1766" y="463"/>
                    <a:pt x="1742" y="458"/>
                  </a:cubicBezTo>
                  <a:cubicBezTo>
                    <a:pt x="1715" y="453"/>
                    <a:pt x="1687" y="448"/>
                    <a:pt x="1666" y="425"/>
                  </a:cubicBezTo>
                  <a:cubicBezTo>
                    <a:pt x="1648" y="407"/>
                    <a:pt x="1641" y="389"/>
                    <a:pt x="1636" y="371"/>
                  </a:cubicBezTo>
                  <a:cubicBezTo>
                    <a:pt x="1635" y="369"/>
                    <a:pt x="1635" y="368"/>
                    <a:pt x="1635" y="366"/>
                  </a:cubicBezTo>
                  <a:cubicBezTo>
                    <a:pt x="1631" y="359"/>
                    <a:pt x="1630" y="353"/>
                    <a:pt x="1626" y="345"/>
                  </a:cubicBezTo>
                  <a:cubicBezTo>
                    <a:pt x="1626" y="343"/>
                    <a:pt x="1625" y="340"/>
                    <a:pt x="1623" y="336"/>
                  </a:cubicBezTo>
                  <a:cubicBezTo>
                    <a:pt x="1616" y="322"/>
                    <a:pt x="1605" y="307"/>
                    <a:pt x="1592" y="290"/>
                  </a:cubicBezTo>
                  <a:cubicBezTo>
                    <a:pt x="1582" y="277"/>
                    <a:pt x="1572" y="264"/>
                    <a:pt x="1564" y="249"/>
                  </a:cubicBezTo>
                  <a:cubicBezTo>
                    <a:pt x="1547" y="221"/>
                    <a:pt x="1534" y="200"/>
                    <a:pt x="1506" y="188"/>
                  </a:cubicBezTo>
                  <a:cubicBezTo>
                    <a:pt x="1465" y="170"/>
                    <a:pt x="1440" y="158"/>
                    <a:pt x="1427" y="109"/>
                  </a:cubicBezTo>
                  <a:cubicBezTo>
                    <a:pt x="1424" y="96"/>
                    <a:pt x="1420" y="83"/>
                    <a:pt x="1417" y="68"/>
                  </a:cubicBezTo>
                  <a:cubicBezTo>
                    <a:pt x="1412" y="48"/>
                    <a:pt x="1407" y="27"/>
                    <a:pt x="1401" y="5"/>
                  </a:cubicBezTo>
                  <a:cubicBezTo>
                    <a:pt x="1371" y="22"/>
                    <a:pt x="1340" y="33"/>
                    <a:pt x="1298" y="22"/>
                  </a:cubicBezTo>
                  <a:cubicBezTo>
                    <a:pt x="1290" y="20"/>
                    <a:pt x="1282" y="17"/>
                    <a:pt x="1275" y="13"/>
                  </a:cubicBezTo>
                  <a:cubicBezTo>
                    <a:pt x="1254" y="7"/>
                    <a:pt x="1236" y="0"/>
                    <a:pt x="1216" y="8"/>
                  </a:cubicBezTo>
                  <a:cubicBezTo>
                    <a:pt x="1191" y="17"/>
                    <a:pt x="1178" y="35"/>
                    <a:pt x="1178" y="56"/>
                  </a:cubicBezTo>
                  <a:cubicBezTo>
                    <a:pt x="1178" y="61"/>
                    <a:pt x="1180" y="65"/>
                    <a:pt x="1180" y="69"/>
                  </a:cubicBezTo>
                  <a:cubicBezTo>
                    <a:pt x="1182" y="76"/>
                    <a:pt x="1183" y="84"/>
                    <a:pt x="1183" y="93"/>
                  </a:cubicBezTo>
                  <a:cubicBezTo>
                    <a:pt x="1182" y="101"/>
                    <a:pt x="1178" y="107"/>
                    <a:pt x="1177" y="114"/>
                  </a:cubicBezTo>
                  <a:cubicBezTo>
                    <a:pt x="1173" y="119"/>
                    <a:pt x="1172" y="122"/>
                    <a:pt x="1172" y="125"/>
                  </a:cubicBezTo>
                  <a:cubicBezTo>
                    <a:pt x="1170" y="130"/>
                    <a:pt x="1172" y="136"/>
                    <a:pt x="1173" y="142"/>
                  </a:cubicBezTo>
                  <a:cubicBezTo>
                    <a:pt x="1175" y="148"/>
                    <a:pt x="1175" y="155"/>
                    <a:pt x="1175" y="162"/>
                  </a:cubicBezTo>
                  <a:cubicBezTo>
                    <a:pt x="1175" y="173"/>
                    <a:pt x="1172" y="183"/>
                    <a:pt x="1167" y="190"/>
                  </a:cubicBezTo>
                  <a:cubicBezTo>
                    <a:pt x="1165" y="193"/>
                    <a:pt x="1163" y="198"/>
                    <a:pt x="1163" y="203"/>
                  </a:cubicBezTo>
                  <a:cubicBezTo>
                    <a:pt x="1157" y="231"/>
                    <a:pt x="1200" y="298"/>
                    <a:pt x="1228" y="310"/>
                  </a:cubicBezTo>
                  <a:cubicBezTo>
                    <a:pt x="1233" y="312"/>
                    <a:pt x="1239" y="313"/>
                    <a:pt x="1246" y="313"/>
                  </a:cubicBezTo>
                  <a:cubicBezTo>
                    <a:pt x="1261" y="315"/>
                    <a:pt x="1279" y="318"/>
                    <a:pt x="1290" y="335"/>
                  </a:cubicBezTo>
                  <a:cubicBezTo>
                    <a:pt x="1297" y="346"/>
                    <a:pt x="1294" y="356"/>
                    <a:pt x="1294" y="364"/>
                  </a:cubicBezTo>
                  <a:cubicBezTo>
                    <a:pt x="1292" y="369"/>
                    <a:pt x="1292" y="373"/>
                    <a:pt x="1292" y="374"/>
                  </a:cubicBezTo>
                  <a:cubicBezTo>
                    <a:pt x="1292" y="381"/>
                    <a:pt x="1295" y="384"/>
                    <a:pt x="1297" y="389"/>
                  </a:cubicBezTo>
                  <a:cubicBezTo>
                    <a:pt x="1300" y="394"/>
                    <a:pt x="1303" y="399"/>
                    <a:pt x="1305" y="406"/>
                  </a:cubicBezTo>
                  <a:cubicBezTo>
                    <a:pt x="1317" y="442"/>
                    <a:pt x="1295" y="457"/>
                    <a:pt x="1275" y="471"/>
                  </a:cubicBezTo>
                  <a:cubicBezTo>
                    <a:pt x="1262" y="481"/>
                    <a:pt x="1254" y="491"/>
                    <a:pt x="1244" y="501"/>
                  </a:cubicBezTo>
                  <a:cubicBezTo>
                    <a:pt x="1234" y="511"/>
                    <a:pt x="1224" y="521"/>
                    <a:pt x="1213" y="529"/>
                  </a:cubicBezTo>
                  <a:cubicBezTo>
                    <a:pt x="1186" y="550"/>
                    <a:pt x="1154" y="549"/>
                    <a:pt x="1126" y="547"/>
                  </a:cubicBezTo>
                  <a:lnTo>
                    <a:pt x="1112" y="547"/>
                  </a:lnTo>
                  <a:cubicBezTo>
                    <a:pt x="1104" y="547"/>
                    <a:pt x="1094" y="547"/>
                    <a:pt x="1084" y="549"/>
                  </a:cubicBezTo>
                  <a:cubicBezTo>
                    <a:pt x="1063" y="550"/>
                    <a:pt x="1038" y="554"/>
                    <a:pt x="1018" y="544"/>
                  </a:cubicBezTo>
                  <a:cubicBezTo>
                    <a:pt x="1010" y="541"/>
                    <a:pt x="1005" y="536"/>
                    <a:pt x="1000" y="532"/>
                  </a:cubicBezTo>
                  <a:cubicBezTo>
                    <a:pt x="995" y="534"/>
                    <a:pt x="992" y="537"/>
                    <a:pt x="990" y="541"/>
                  </a:cubicBezTo>
                  <a:cubicBezTo>
                    <a:pt x="987" y="546"/>
                    <a:pt x="987" y="549"/>
                    <a:pt x="989" y="557"/>
                  </a:cubicBezTo>
                  <a:lnTo>
                    <a:pt x="989" y="564"/>
                  </a:lnTo>
                  <a:cubicBezTo>
                    <a:pt x="990" y="572"/>
                    <a:pt x="990" y="578"/>
                    <a:pt x="990" y="587"/>
                  </a:cubicBezTo>
                  <a:cubicBezTo>
                    <a:pt x="990" y="593"/>
                    <a:pt x="990" y="602"/>
                    <a:pt x="990" y="608"/>
                  </a:cubicBezTo>
                  <a:cubicBezTo>
                    <a:pt x="992" y="620"/>
                    <a:pt x="997" y="621"/>
                    <a:pt x="1007" y="626"/>
                  </a:cubicBezTo>
                  <a:cubicBezTo>
                    <a:pt x="1015" y="631"/>
                    <a:pt x="1025" y="636"/>
                    <a:pt x="1033" y="648"/>
                  </a:cubicBezTo>
                  <a:cubicBezTo>
                    <a:pt x="1043" y="663"/>
                    <a:pt x="1048" y="682"/>
                    <a:pt x="1051" y="702"/>
                  </a:cubicBezTo>
                  <a:cubicBezTo>
                    <a:pt x="1055" y="717"/>
                    <a:pt x="1058" y="732"/>
                    <a:pt x="1063" y="743"/>
                  </a:cubicBezTo>
                  <a:cubicBezTo>
                    <a:pt x="1068" y="751"/>
                    <a:pt x="1071" y="760"/>
                    <a:pt x="1076" y="768"/>
                  </a:cubicBezTo>
                  <a:cubicBezTo>
                    <a:pt x="1091" y="793"/>
                    <a:pt x="1104" y="819"/>
                    <a:pt x="1114" y="849"/>
                  </a:cubicBezTo>
                  <a:cubicBezTo>
                    <a:pt x="1117" y="857"/>
                    <a:pt x="1121" y="867"/>
                    <a:pt x="1122" y="875"/>
                  </a:cubicBezTo>
                  <a:cubicBezTo>
                    <a:pt x="1129" y="898"/>
                    <a:pt x="1135" y="921"/>
                    <a:pt x="1149" y="934"/>
                  </a:cubicBezTo>
                  <a:cubicBezTo>
                    <a:pt x="1160" y="946"/>
                    <a:pt x="1175" y="946"/>
                    <a:pt x="1193" y="946"/>
                  </a:cubicBezTo>
                  <a:cubicBezTo>
                    <a:pt x="1205" y="946"/>
                    <a:pt x="1218" y="944"/>
                    <a:pt x="1231" y="949"/>
                  </a:cubicBezTo>
                  <a:cubicBezTo>
                    <a:pt x="1247" y="954"/>
                    <a:pt x="1254" y="962"/>
                    <a:pt x="1261" y="969"/>
                  </a:cubicBezTo>
                  <a:cubicBezTo>
                    <a:pt x="1262" y="972"/>
                    <a:pt x="1266" y="976"/>
                    <a:pt x="1269" y="979"/>
                  </a:cubicBezTo>
                  <a:cubicBezTo>
                    <a:pt x="1275" y="984"/>
                    <a:pt x="1282" y="987"/>
                    <a:pt x="1290" y="990"/>
                  </a:cubicBezTo>
                  <a:cubicBezTo>
                    <a:pt x="1297" y="994"/>
                    <a:pt x="1302" y="995"/>
                    <a:pt x="1307" y="999"/>
                  </a:cubicBezTo>
                  <a:cubicBezTo>
                    <a:pt x="1366" y="1032"/>
                    <a:pt x="1378" y="1119"/>
                    <a:pt x="1350" y="1173"/>
                  </a:cubicBezTo>
                  <a:cubicBezTo>
                    <a:pt x="1330" y="1211"/>
                    <a:pt x="1295" y="1221"/>
                    <a:pt x="1262" y="1231"/>
                  </a:cubicBezTo>
                  <a:cubicBezTo>
                    <a:pt x="1236" y="1239"/>
                    <a:pt x="1211" y="1247"/>
                    <a:pt x="1195" y="1267"/>
                  </a:cubicBezTo>
                  <a:cubicBezTo>
                    <a:pt x="1185" y="1277"/>
                    <a:pt x="1178" y="1289"/>
                    <a:pt x="1172" y="1300"/>
                  </a:cubicBezTo>
                  <a:cubicBezTo>
                    <a:pt x="1162" y="1315"/>
                    <a:pt x="1152" y="1330"/>
                    <a:pt x="1139" y="1345"/>
                  </a:cubicBezTo>
                  <a:cubicBezTo>
                    <a:pt x="1126" y="1358"/>
                    <a:pt x="1119" y="1373"/>
                    <a:pt x="1111" y="1389"/>
                  </a:cubicBezTo>
                  <a:cubicBezTo>
                    <a:pt x="1104" y="1402"/>
                    <a:pt x="1098" y="1417"/>
                    <a:pt x="1088" y="1432"/>
                  </a:cubicBezTo>
                  <a:cubicBezTo>
                    <a:pt x="1074" y="1448"/>
                    <a:pt x="1056" y="1463"/>
                    <a:pt x="1040" y="1478"/>
                  </a:cubicBezTo>
                  <a:cubicBezTo>
                    <a:pt x="1032" y="1486"/>
                    <a:pt x="1022" y="1493"/>
                    <a:pt x="1015" y="1501"/>
                  </a:cubicBezTo>
                  <a:cubicBezTo>
                    <a:pt x="1005" y="1509"/>
                    <a:pt x="994" y="1518"/>
                    <a:pt x="982" y="1524"/>
                  </a:cubicBezTo>
                  <a:cubicBezTo>
                    <a:pt x="967" y="1534"/>
                    <a:pt x="953" y="1542"/>
                    <a:pt x="944" y="1555"/>
                  </a:cubicBezTo>
                  <a:cubicBezTo>
                    <a:pt x="931" y="1575"/>
                    <a:pt x="934" y="1615"/>
                    <a:pt x="948" y="1636"/>
                  </a:cubicBezTo>
                  <a:cubicBezTo>
                    <a:pt x="956" y="1649"/>
                    <a:pt x="969" y="1654"/>
                    <a:pt x="982" y="1662"/>
                  </a:cubicBezTo>
                  <a:cubicBezTo>
                    <a:pt x="995" y="1669"/>
                    <a:pt x="1010" y="1676"/>
                    <a:pt x="1020" y="1687"/>
                  </a:cubicBezTo>
                  <a:cubicBezTo>
                    <a:pt x="1068" y="1738"/>
                    <a:pt x="1046" y="1814"/>
                    <a:pt x="1009" y="1863"/>
                  </a:cubicBezTo>
                  <a:cubicBezTo>
                    <a:pt x="1004" y="1870"/>
                    <a:pt x="999" y="1877"/>
                    <a:pt x="994" y="1883"/>
                  </a:cubicBezTo>
                  <a:cubicBezTo>
                    <a:pt x="979" y="1903"/>
                    <a:pt x="962" y="1928"/>
                    <a:pt x="941" y="1939"/>
                  </a:cubicBezTo>
                  <a:cubicBezTo>
                    <a:pt x="928" y="1947"/>
                    <a:pt x="915" y="1952"/>
                    <a:pt x="901" y="1957"/>
                  </a:cubicBezTo>
                  <a:cubicBezTo>
                    <a:pt x="885" y="1962"/>
                    <a:pt x="870" y="1968"/>
                    <a:pt x="855" y="1980"/>
                  </a:cubicBezTo>
                  <a:cubicBezTo>
                    <a:pt x="840" y="1993"/>
                    <a:pt x="824" y="2002"/>
                    <a:pt x="809" y="2008"/>
                  </a:cubicBezTo>
                  <a:cubicBezTo>
                    <a:pt x="799" y="2013"/>
                    <a:pt x="791" y="2018"/>
                    <a:pt x="781" y="2023"/>
                  </a:cubicBezTo>
                  <a:cubicBezTo>
                    <a:pt x="776" y="2027"/>
                    <a:pt x="773" y="2028"/>
                    <a:pt x="770" y="2032"/>
                  </a:cubicBezTo>
                  <a:cubicBezTo>
                    <a:pt x="760" y="2038"/>
                    <a:pt x="750" y="2046"/>
                    <a:pt x="730" y="2048"/>
                  </a:cubicBezTo>
                  <a:cubicBezTo>
                    <a:pt x="725" y="2048"/>
                    <a:pt x="722" y="2048"/>
                    <a:pt x="717" y="2048"/>
                  </a:cubicBezTo>
                  <a:cubicBezTo>
                    <a:pt x="707" y="2048"/>
                    <a:pt x="700" y="2048"/>
                    <a:pt x="694" y="2053"/>
                  </a:cubicBezTo>
                  <a:cubicBezTo>
                    <a:pt x="677" y="2064"/>
                    <a:pt x="669" y="2084"/>
                    <a:pt x="661" y="2104"/>
                  </a:cubicBezTo>
                  <a:cubicBezTo>
                    <a:pt x="658" y="2111"/>
                    <a:pt x="656" y="2117"/>
                    <a:pt x="653" y="2124"/>
                  </a:cubicBezTo>
                  <a:cubicBezTo>
                    <a:pt x="636" y="2162"/>
                    <a:pt x="608" y="2180"/>
                    <a:pt x="579" y="2201"/>
                  </a:cubicBezTo>
                  <a:cubicBezTo>
                    <a:pt x="549" y="2219"/>
                    <a:pt x="532" y="2239"/>
                    <a:pt x="514" y="2272"/>
                  </a:cubicBezTo>
                  <a:lnTo>
                    <a:pt x="509" y="2280"/>
                  </a:lnTo>
                  <a:cubicBezTo>
                    <a:pt x="498" y="2303"/>
                    <a:pt x="480" y="2338"/>
                    <a:pt x="447" y="2340"/>
                  </a:cubicBezTo>
                  <a:cubicBezTo>
                    <a:pt x="430" y="2340"/>
                    <a:pt x="417" y="2333"/>
                    <a:pt x="406" y="2326"/>
                  </a:cubicBezTo>
                  <a:cubicBezTo>
                    <a:pt x="394" y="2320"/>
                    <a:pt x="384" y="2315"/>
                    <a:pt x="373" y="2318"/>
                  </a:cubicBezTo>
                  <a:cubicBezTo>
                    <a:pt x="355" y="2320"/>
                    <a:pt x="340" y="2336"/>
                    <a:pt x="325" y="2351"/>
                  </a:cubicBezTo>
                  <a:cubicBezTo>
                    <a:pt x="317" y="2359"/>
                    <a:pt x="310" y="2366"/>
                    <a:pt x="302" y="2373"/>
                  </a:cubicBezTo>
                  <a:cubicBezTo>
                    <a:pt x="284" y="2387"/>
                    <a:pt x="247" y="2410"/>
                    <a:pt x="214" y="2405"/>
                  </a:cubicBezTo>
                  <a:cubicBezTo>
                    <a:pt x="203" y="2404"/>
                    <a:pt x="195" y="2397"/>
                    <a:pt x="188" y="2392"/>
                  </a:cubicBezTo>
                  <a:cubicBezTo>
                    <a:pt x="183" y="2389"/>
                    <a:pt x="180" y="2387"/>
                    <a:pt x="175" y="2386"/>
                  </a:cubicBezTo>
                  <a:cubicBezTo>
                    <a:pt x="168" y="2384"/>
                    <a:pt x="165" y="2386"/>
                    <a:pt x="155" y="2392"/>
                  </a:cubicBezTo>
                  <a:cubicBezTo>
                    <a:pt x="152" y="2394"/>
                    <a:pt x="147" y="2397"/>
                    <a:pt x="140" y="2399"/>
                  </a:cubicBezTo>
                  <a:cubicBezTo>
                    <a:pt x="130" y="2404"/>
                    <a:pt x="117" y="2405"/>
                    <a:pt x="107" y="2405"/>
                  </a:cubicBezTo>
                  <a:cubicBezTo>
                    <a:pt x="96" y="2407"/>
                    <a:pt x="83" y="2409"/>
                    <a:pt x="79" y="2414"/>
                  </a:cubicBezTo>
                  <a:cubicBezTo>
                    <a:pt x="78" y="2415"/>
                    <a:pt x="76" y="2422"/>
                    <a:pt x="78" y="2432"/>
                  </a:cubicBezTo>
                  <a:cubicBezTo>
                    <a:pt x="79" y="2438"/>
                    <a:pt x="84" y="2447"/>
                    <a:pt x="89" y="2455"/>
                  </a:cubicBezTo>
                  <a:cubicBezTo>
                    <a:pt x="101" y="2473"/>
                    <a:pt x="114" y="2494"/>
                    <a:pt x="102" y="2516"/>
                  </a:cubicBezTo>
                  <a:cubicBezTo>
                    <a:pt x="98" y="2526"/>
                    <a:pt x="88" y="2532"/>
                    <a:pt x="79" y="2537"/>
                  </a:cubicBezTo>
                  <a:cubicBezTo>
                    <a:pt x="76" y="2539"/>
                    <a:pt x="73" y="2541"/>
                    <a:pt x="71" y="2544"/>
                  </a:cubicBezTo>
                  <a:cubicBezTo>
                    <a:pt x="63" y="2552"/>
                    <a:pt x="58" y="2562"/>
                    <a:pt x="55" y="2575"/>
                  </a:cubicBezTo>
                  <a:cubicBezTo>
                    <a:pt x="51" y="2582"/>
                    <a:pt x="50" y="2588"/>
                    <a:pt x="46" y="2595"/>
                  </a:cubicBezTo>
                  <a:cubicBezTo>
                    <a:pt x="43" y="2602"/>
                    <a:pt x="35" y="2620"/>
                    <a:pt x="38" y="2625"/>
                  </a:cubicBezTo>
                  <a:cubicBezTo>
                    <a:pt x="40" y="2628"/>
                    <a:pt x="45" y="2633"/>
                    <a:pt x="65" y="2636"/>
                  </a:cubicBezTo>
                  <a:cubicBezTo>
                    <a:pt x="68" y="2638"/>
                    <a:pt x="71" y="2638"/>
                    <a:pt x="76" y="2638"/>
                  </a:cubicBezTo>
                  <a:cubicBezTo>
                    <a:pt x="96" y="2643"/>
                    <a:pt x="122" y="2646"/>
                    <a:pt x="132" y="2664"/>
                  </a:cubicBezTo>
                  <a:cubicBezTo>
                    <a:pt x="139" y="2674"/>
                    <a:pt x="139" y="2686"/>
                    <a:pt x="134" y="2697"/>
                  </a:cubicBezTo>
                  <a:cubicBezTo>
                    <a:pt x="126" y="2720"/>
                    <a:pt x="98" y="2732"/>
                    <a:pt x="78" y="2743"/>
                  </a:cubicBezTo>
                  <a:cubicBezTo>
                    <a:pt x="70" y="2746"/>
                    <a:pt x="63" y="2748"/>
                    <a:pt x="58" y="2751"/>
                  </a:cubicBezTo>
                  <a:cubicBezTo>
                    <a:pt x="25" y="2773"/>
                    <a:pt x="9" y="2809"/>
                    <a:pt x="0" y="2849"/>
                  </a:cubicBezTo>
                  <a:cubicBezTo>
                    <a:pt x="37" y="2857"/>
                    <a:pt x="53" y="2877"/>
                    <a:pt x="70" y="2903"/>
                  </a:cubicBezTo>
                  <a:cubicBezTo>
                    <a:pt x="106" y="2957"/>
                    <a:pt x="149" y="3008"/>
                    <a:pt x="223" y="3010"/>
                  </a:cubicBezTo>
                  <a:cubicBezTo>
                    <a:pt x="256" y="3012"/>
                    <a:pt x="290" y="3008"/>
                    <a:pt x="325" y="3007"/>
                  </a:cubicBezTo>
                  <a:cubicBezTo>
                    <a:pt x="361" y="3005"/>
                    <a:pt x="401" y="3003"/>
                    <a:pt x="440" y="3005"/>
                  </a:cubicBezTo>
                  <a:cubicBezTo>
                    <a:pt x="521" y="3007"/>
                    <a:pt x="585" y="2995"/>
                    <a:pt x="641" y="2966"/>
                  </a:cubicBezTo>
                  <a:cubicBezTo>
                    <a:pt x="656" y="2957"/>
                    <a:pt x="672" y="2947"/>
                    <a:pt x="687" y="2938"/>
                  </a:cubicBezTo>
                  <a:cubicBezTo>
                    <a:pt x="700" y="2929"/>
                    <a:pt x="714" y="2919"/>
                    <a:pt x="727" y="2913"/>
                  </a:cubicBezTo>
                  <a:cubicBezTo>
                    <a:pt x="747" y="2901"/>
                    <a:pt x="768" y="2895"/>
                    <a:pt x="788" y="2888"/>
                  </a:cubicBezTo>
                  <a:cubicBezTo>
                    <a:pt x="799" y="2883"/>
                    <a:pt x="813" y="2880"/>
                    <a:pt x="822" y="2875"/>
                  </a:cubicBezTo>
                  <a:cubicBezTo>
                    <a:pt x="847" y="2865"/>
                    <a:pt x="870" y="2854"/>
                    <a:pt x="893" y="2842"/>
                  </a:cubicBezTo>
                  <a:cubicBezTo>
                    <a:pt x="921" y="2826"/>
                    <a:pt x="951" y="2811"/>
                    <a:pt x="984" y="2799"/>
                  </a:cubicBezTo>
                  <a:cubicBezTo>
                    <a:pt x="1033" y="2781"/>
                    <a:pt x="1046" y="2751"/>
                    <a:pt x="1066" y="2707"/>
                  </a:cubicBezTo>
                  <a:cubicBezTo>
                    <a:pt x="1069" y="2700"/>
                    <a:pt x="1073" y="2694"/>
                    <a:pt x="1076" y="2687"/>
                  </a:cubicBezTo>
                  <a:cubicBezTo>
                    <a:pt x="1104" y="2626"/>
                    <a:pt x="1150" y="2577"/>
                    <a:pt x="1211" y="2539"/>
                  </a:cubicBezTo>
                  <a:cubicBezTo>
                    <a:pt x="1275" y="2499"/>
                    <a:pt x="1333" y="2498"/>
                    <a:pt x="1412" y="2529"/>
                  </a:cubicBezTo>
                  <a:cubicBezTo>
                    <a:pt x="1476" y="2557"/>
                    <a:pt x="1514" y="2554"/>
                    <a:pt x="1580" y="2521"/>
                  </a:cubicBezTo>
                  <a:cubicBezTo>
                    <a:pt x="1603" y="2508"/>
                    <a:pt x="1635" y="2493"/>
                    <a:pt x="1669" y="2496"/>
                  </a:cubicBezTo>
                  <a:cubicBezTo>
                    <a:pt x="1691" y="2498"/>
                    <a:pt x="1707" y="2506"/>
                    <a:pt x="1722" y="2516"/>
                  </a:cubicBezTo>
                  <a:cubicBezTo>
                    <a:pt x="1725" y="2519"/>
                    <a:pt x="1730" y="2521"/>
                    <a:pt x="1733" y="2524"/>
                  </a:cubicBezTo>
                  <a:cubicBezTo>
                    <a:pt x="1738" y="2527"/>
                    <a:pt x="1742" y="2531"/>
                    <a:pt x="1747" y="2532"/>
                  </a:cubicBezTo>
                  <a:cubicBezTo>
                    <a:pt x="1748" y="2534"/>
                    <a:pt x="1752" y="2536"/>
                    <a:pt x="1755" y="2537"/>
                  </a:cubicBezTo>
                  <a:cubicBezTo>
                    <a:pt x="1803" y="2564"/>
                    <a:pt x="1887" y="2557"/>
                    <a:pt x="1948" y="2541"/>
                  </a:cubicBezTo>
                  <a:cubicBezTo>
                    <a:pt x="1987" y="2531"/>
                    <a:pt x="2004" y="2501"/>
                    <a:pt x="2020" y="2468"/>
                  </a:cubicBezTo>
                  <a:cubicBezTo>
                    <a:pt x="2032" y="2448"/>
                    <a:pt x="2041" y="2427"/>
                    <a:pt x="2058" y="2410"/>
                  </a:cubicBezTo>
                  <a:cubicBezTo>
                    <a:pt x="2071" y="2396"/>
                    <a:pt x="2089" y="2382"/>
                    <a:pt x="2106" y="2371"/>
                  </a:cubicBezTo>
                  <a:cubicBezTo>
                    <a:pt x="2142" y="2345"/>
                    <a:pt x="2173" y="2323"/>
                    <a:pt x="2167" y="2277"/>
                  </a:cubicBezTo>
                  <a:cubicBezTo>
                    <a:pt x="2165" y="2264"/>
                    <a:pt x="2158" y="2251"/>
                    <a:pt x="2153" y="2237"/>
                  </a:cubicBezTo>
                  <a:cubicBezTo>
                    <a:pt x="2149" y="2224"/>
                    <a:pt x="2142" y="2209"/>
                    <a:pt x="2140" y="2195"/>
                  </a:cubicBezTo>
                  <a:cubicBezTo>
                    <a:pt x="2132" y="2152"/>
                    <a:pt x="2139" y="2107"/>
                    <a:pt x="2147" y="2063"/>
                  </a:cubicBezTo>
                  <a:cubicBezTo>
                    <a:pt x="2153" y="2028"/>
                    <a:pt x="2158" y="1994"/>
                    <a:pt x="2163" y="1959"/>
                  </a:cubicBezTo>
                  <a:close/>
                  <a:moveTo>
                    <a:pt x="1483" y="2387"/>
                  </a:moveTo>
                  <a:cubicBezTo>
                    <a:pt x="1462" y="2425"/>
                    <a:pt x="1422" y="2425"/>
                    <a:pt x="1389" y="2425"/>
                  </a:cubicBezTo>
                  <a:lnTo>
                    <a:pt x="1376" y="2427"/>
                  </a:lnTo>
                  <a:cubicBezTo>
                    <a:pt x="1338" y="2427"/>
                    <a:pt x="1312" y="2437"/>
                    <a:pt x="1285" y="2458"/>
                  </a:cubicBezTo>
                  <a:cubicBezTo>
                    <a:pt x="1242" y="2494"/>
                    <a:pt x="1203" y="2513"/>
                    <a:pt x="1167" y="2516"/>
                  </a:cubicBezTo>
                  <a:cubicBezTo>
                    <a:pt x="1152" y="2517"/>
                    <a:pt x="1139" y="2513"/>
                    <a:pt x="1129" y="2509"/>
                  </a:cubicBezTo>
                  <a:cubicBezTo>
                    <a:pt x="1116" y="2506"/>
                    <a:pt x="1107" y="2503"/>
                    <a:pt x="1096" y="2511"/>
                  </a:cubicBezTo>
                  <a:cubicBezTo>
                    <a:pt x="1091" y="2514"/>
                    <a:pt x="1084" y="2519"/>
                    <a:pt x="1081" y="2522"/>
                  </a:cubicBezTo>
                  <a:cubicBezTo>
                    <a:pt x="1068" y="2534"/>
                    <a:pt x="1053" y="2547"/>
                    <a:pt x="1033" y="2546"/>
                  </a:cubicBezTo>
                  <a:cubicBezTo>
                    <a:pt x="1027" y="2546"/>
                    <a:pt x="1018" y="2542"/>
                    <a:pt x="1012" y="2536"/>
                  </a:cubicBezTo>
                  <a:cubicBezTo>
                    <a:pt x="1004" y="2529"/>
                    <a:pt x="1000" y="2521"/>
                    <a:pt x="999" y="2513"/>
                  </a:cubicBezTo>
                  <a:cubicBezTo>
                    <a:pt x="995" y="2504"/>
                    <a:pt x="994" y="2499"/>
                    <a:pt x="989" y="2498"/>
                  </a:cubicBezTo>
                  <a:cubicBezTo>
                    <a:pt x="984" y="2494"/>
                    <a:pt x="982" y="2494"/>
                    <a:pt x="982" y="2494"/>
                  </a:cubicBezTo>
                  <a:lnTo>
                    <a:pt x="982" y="2494"/>
                  </a:lnTo>
                  <a:cubicBezTo>
                    <a:pt x="982" y="2496"/>
                    <a:pt x="981" y="2496"/>
                    <a:pt x="981" y="2498"/>
                  </a:cubicBezTo>
                  <a:cubicBezTo>
                    <a:pt x="977" y="2501"/>
                    <a:pt x="972" y="2504"/>
                    <a:pt x="966" y="2509"/>
                  </a:cubicBezTo>
                  <a:cubicBezTo>
                    <a:pt x="954" y="2516"/>
                    <a:pt x="938" y="2524"/>
                    <a:pt x="921" y="2519"/>
                  </a:cubicBezTo>
                  <a:cubicBezTo>
                    <a:pt x="913" y="2516"/>
                    <a:pt x="905" y="2514"/>
                    <a:pt x="903" y="2504"/>
                  </a:cubicBezTo>
                  <a:cubicBezTo>
                    <a:pt x="903" y="2504"/>
                    <a:pt x="903" y="2503"/>
                    <a:pt x="901" y="2501"/>
                  </a:cubicBezTo>
                  <a:cubicBezTo>
                    <a:pt x="898" y="2496"/>
                    <a:pt x="895" y="2493"/>
                    <a:pt x="893" y="2488"/>
                  </a:cubicBezTo>
                  <a:cubicBezTo>
                    <a:pt x="890" y="2481"/>
                    <a:pt x="887" y="2476"/>
                    <a:pt x="880" y="2473"/>
                  </a:cubicBezTo>
                  <a:cubicBezTo>
                    <a:pt x="872" y="2468"/>
                    <a:pt x="865" y="2465"/>
                    <a:pt x="859" y="2461"/>
                  </a:cubicBezTo>
                  <a:cubicBezTo>
                    <a:pt x="832" y="2450"/>
                    <a:pt x="816" y="2438"/>
                    <a:pt x="829" y="2392"/>
                  </a:cubicBezTo>
                  <a:cubicBezTo>
                    <a:pt x="837" y="2363"/>
                    <a:pt x="849" y="2333"/>
                    <a:pt x="872" y="2326"/>
                  </a:cubicBezTo>
                  <a:cubicBezTo>
                    <a:pt x="885" y="2321"/>
                    <a:pt x="901" y="2326"/>
                    <a:pt x="916" y="2340"/>
                  </a:cubicBezTo>
                  <a:cubicBezTo>
                    <a:pt x="923" y="2345"/>
                    <a:pt x="928" y="2349"/>
                    <a:pt x="934" y="2354"/>
                  </a:cubicBezTo>
                  <a:cubicBezTo>
                    <a:pt x="943" y="2364"/>
                    <a:pt x="953" y="2373"/>
                    <a:pt x="959" y="2373"/>
                  </a:cubicBezTo>
                  <a:cubicBezTo>
                    <a:pt x="962" y="2373"/>
                    <a:pt x="969" y="2368"/>
                    <a:pt x="974" y="2359"/>
                  </a:cubicBezTo>
                  <a:cubicBezTo>
                    <a:pt x="977" y="2356"/>
                    <a:pt x="979" y="2351"/>
                    <a:pt x="981" y="2348"/>
                  </a:cubicBezTo>
                  <a:cubicBezTo>
                    <a:pt x="985" y="2338"/>
                    <a:pt x="992" y="2325"/>
                    <a:pt x="1010" y="2318"/>
                  </a:cubicBezTo>
                  <a:cubicBezTo>
                    <a:pt x="1023" y="2313"/>
                    <a:pt x="1035" y="2317"/>
                    <a:pt x="1045" y="2318"/>
                  </a:cubicBezTo>
                  <a:cubicBezTo>
                    <a:pt x="1050" y="2320"/>
                    <a:pt x="1055" y="2321"/>
                    <a:pt x="1060" y="2321"/>
                  </a:cubicBezTo>
                  <a:cubicBezTo>
                    <a:pt x="1063" y="2320"/>
                    <a:pt x="1065" y="2320"/>
                    <a:pt x="1065" y="2320"/>
                  </a:cubicBezTo>
                  <a:cubicBezTo>
                    <a:pt x="1065" y="2318"/>
                    <a:pt x="1065" y="2317"/>
                    <a:pt x="1065" y="2313"/>
                  </a:cubicBezTo>
                  <a:cubicBezTo>
                    <a:pt x="1063" y="2310"/>
                    <a:pt x="1063" y="2307"/>
                    <a:pt x="1063" y="2302"/>
                  </a:cubicBezTo>
                  <a:cubicBezTo>
                    <a:pt x="1061" y="2298"/>
                    <a:pt x="1061" y="2293"/>
                    <a:pt x="1061" y="2290"/>
                  </a:cubicBezTo>
                  <a:cubicBezTo>
                    <a:pt x="1058" y="2275"/>
                    <a:pt x="1055" y="2261"/>
                    <a:pt x="1060" y="2244"/>
                  </a:cubicBezTo>
                  <a:cubicBezTo>
                    <a:pt x="1066" y="2218"/>
                    <a:pt x="1081" y="2200"/>
                    <a:pt x="1104" y="2198"/>
                  </a:cubicBezTo>
                  <a:cubicBezTo>
                    <a:pt x="1122" y="2196"/>
                    <a:pt x="1130" y="2206"/>
                    <a:pt x="1137" y="2211"/>
                  </a:cubicBezTo>
                  <a:cubicBezTo>
                    <a:pt x="1139" y="2214"/>
                    <a:pt x="1142" y="2218"/>
                    <a:pt x="1144" y="2219"/>
                  </a:cubicBezTo>
                  <a:cubicBezTo>
                    <a:pt x="1149" y="2221"/>
                    <a:pt x="1157" y="2224"/>
                    <a:pt x="1162" y="2223"/>
                  </a:cubicBezTo>
                  <a:cubicBezTo>
                    <a:pt x="1170" y="2216"/>
                    <a:pt x="1177" y="2191"/>
                    <a:pt x="1178" y="2176"/>
                  </a:cubicBezTo>
                  <a:cubicBezTo>
                    <a:pt x="1186" y="2139"/>
                    <a:pt x="1210" y="2092"/>
                    <a:pt x="1246" y="2078"/>
                  </a:cubicBezTo>
                  <a:cubicBezTo>
                    <a:pt x="1289" y="2060"/>
                    <a:pt x="1336" y="2083"/>
                    <a:pt x="1371" y="2099"/>
                  </a:cubicBezTo>
                  <a:cubicBezTo>
                    <a:pt x="1378" y="2102"/>
                    <a:pt x="1386" y="2106"/>
                    <a:pt x="1394" y="2109"/>
                  </a:cubicBezTo>
                  <a:cubicBezTo>
                    <a:pt x="1430" y="2124"/>
                    <a:pt x="1481" y="2144"/>
                    <a:pt x="1485" y="2181"/>
                  </a:cubicBezTo>
                  <a:cubicBezTo>
                    <a:pt x="1488" y="2200"/>
                    <a:pt x="1480" y="2249"/>
                    <a:pt x="1453" y="2259"/>
                  </a:cubicBezTo>
                  <a:cubicBezTo>
                    <a:pt x="1442" y="2262"/>
                    <a:pt x="1430" y="2259"/>
                    <a:pt x="1422" y="2257"/>
                  </a:cubicBezTo>
                  <a:cubicBezTo>
                    <a:pt x="1414" y="2256"/>
                    <a:pt x="1409" y="2254"/>
                    <a:pt x="1404" y="2254"/>
                  </a:cubicBezTo>
                  <a:cubicBezTo>
                    <a:pt x="1396" y="2259"/>
                    <a:pt x="1394" y="2261"/>
                    <a:pt x="1394" y="2261"/>
                  </a:cubicBezTo>
                  <a:cubicBezTo>
                    <a:pt x="1394" y="2265"/>
                    <a:pt x="1409" y="2279"/>
                    <a:pt x="1447" y="2295"/>
                  </a:cubicBezTo>
                  <a:cubicBezTo>
                    <a:pt x="1468" y="2303"/>
                    <a:pt x="1485" y="2318"/>
                    <a:pt x="1490" y="2336"/>
                  </a:cubicBezTo>
                  <a:cubicBezTo>
                    <a:pt x="1496" y="2353"/>
                    <a:pt x="1493" y="2371"/>
                    <a:pt x="1483" y="2387"/>
                  </a:cubicBezTo>
                  <a:close/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44" name="Freeform 80">
              <a:extLst>
                <a:ext uri="{FF2B5EF4-FFF2-40B4-BE49-F238E27FC236}">
                  <a16:creationId xmlns:a16="http://schemas.microsoft.com/office/drawing/2014/main" id="{4853C64E-44E2-3A4B-8E0E-089C0FD218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3750" y="1827213"/>
              <a:ext cx="2070100" cy="2314575"/>
            </a:xfrm>
            <a:custGeom>
              <a:avLst/>
              <a:gdLst>
                <a:gd name="T0" fmla="*/ 5601 w 5752"/>
                <a:gd name="T1" fmla="*/ 1254 h 6431"/>
                <a:gd name="T2" fmla="*/ 5451 w 5752"/>
                <a:gd name="T3" fmla="*/ 1537 h 6431"/>
                <a:gd name="T4" fmla="*/ 5589 w 5752"/>
                <a:gd name="T5" fmla="*/ 2027 h 6431"/>
                <a:gd name="T6" fmla="*/ 5428 w 5752"/>
                <a:gd name="T7" fmla="*/ 2243 h 6431"/>
                <a:gd name="T8" fmla="*/ 5187 w 5752"/>
                <a:gd name="T9" fmla="*/ 2402 h 6431"/>
                <a:gd name="T10" fmla="*/ 5090 w 5752"/>
                <a:gd name="T11" fmla="*/ 2584 h 6431"/>
                <a:gd name="T12" fmla="*/ 5116 w 5752"/>
                <a:gd name="T13" fmla="*/ 2893 h 6431"/>
                <a:gd name="T14" fmla="*/ 5278 w 5752"/>
                <a:gd name="T15" fmla="*/ 3127 h 6431"/>
                <a:gd name="T16" fmla="*/ 5276 w 5752"/>
                <a:gd name="T17" fmla="*/ 3366 h 6431"/>
                <a:gd name="T18" fmla="*/ 5062 w 5752"/>
                <a:gd name="T19" fmla="*/ 3463 h 6431"/>
                <a:gd name="T20" fmla="*/ 4744 w 5752"/>
                <a:gd name="T21" fmla="*/ 3565 h 6431"/>
                <a:gd name="T22" fmla="*/ 4794 w 5752"/>
                <a:gd name="T23" fmla="*/ 3788 h 6431"/>
                <a:gd name="T24" fmla="*/ 4724 w 5752"/>
                <a:gd name="T25" fmla="*/ 4093 h 6431"/>
                <a:gd name="T26" fmla="*/ 4904 w 5752"/>
                <a:gd name="T27" fmla="*/ 4402 h 6431"/>
                <a:gd name="T28" fmla="*/ 4611 w 5752"/>
                <a:gd name="T29" fmla="*/ 4798 h 6431"/>
                <a:gd name="T30" fmla="*/ 4406 w 5752"/>
                <a:gd name="T31" fmla="*/ 4878 h 6431"/>
                <a:gd name="T32" fmla="*/ 4336 w 5752"/>
                <a:gd name="T33" fmla="*/ 5127 h 6431"/>
                <a:gd name="T34" fmla="*/ 4326 w 5752"/>
                <a:gd name="T35" fmla="*/ 5396 h 6431"/>
                <a:gd name="T36" fmla="*/ 4354 w 5752"/>
                <a:gd name="T37" fmla="*/ 5598 h 6431"/>
                <a:gd name="T38" fmla="*/ 4509 w 5752"/>
                <a:gd name="T39" fmla="*/ 6041 h 6431"/>
                <a:gd name="T40" fmla="*/ 4057 w 5752"/>
                <a:gd name="T41" fmla="*/ 6280 h 6431"/>
                <a:gd name="T42" fmla="*/ 3858 w 5752"/>
                <a:gd name="T43" fmla="*/ 6381 h 6431"/>
                <a:gd name="T44" fmla="*/ 3635 w 5752"/>
                <a:gd name="T45" fmla="*/ 6386 h 6431"/>
                <a:gd name="T46" fmla="*/ 3105 w 5752"/>
                <a:gd name="T47" fmla="*/ 6358 h 6431"/>
                <a:gd name="T48" fmla="*/ 2540 w 5752"/>
                <a:gd name="T49" fmla="*/ 6252 h 6431"/>
                <a:gd name="T50" fmla="*/ 2314 w 5752"/>
                <a:gd name="T51" fmla="*/ 5849 h 6431"/>
                <a:gd name="T52" fmla="*/ 1785 w 5752"/>
                <a:gd name="T53" fmla="*/ 5552 h 6431"/>
                <a:gd name="T54" fmla="*/ 1357 w 5752"/>
                <a:gd name="T55" fmla="*/ 6074 h 6431"/>
                <a:gd name="T56" fmla="*/ 1034 w 5752"/>
                <a:gd name="T57" fmla="*/ 6160 h 6431"/>
                <a:gd name="T58" fmla="*/ 914 w 5752"/>
                <a:gd name="T59" fmla="*/ 5737 h 6431"/>
                <a:gd name="T60" fmla="*/ 795 w 5752"/>
                <a:gd name="T61" fmla="*/ 5295 h 6431"/>
                <a:gd name="T62" fmla="*/ 690 w 5752"/>
                <a:gd name="T63" fmla="*/ 4972 h 6431"/>
                <a:gd name="T64" fmla="*/ 538 w 5752"/>
                <a:gd name="T65" fmla="*/ 4710 h 6431"/>
                <a:gd name="T66" fmla="*/ 265 w 5752"/>
                <a:gd name="T67" fmla="*/ 4607 h 6431"/>
                <a:gd name="T68" fmla="*/ 184 w 5752"/>
                <a:gd name="T69" fmla="*/ 4406 h 6431"/>
                <a:gd name="T70" fmla="*/ 123 w 5752"/>
                <a:gd name="T71" fmla="*/ 4068 h 6431"/>
                <a:gd name="T72" fmla="*/ 146 w 5752"/>
                <a:gd name="T73" fmla="*/ 3610 h 6431"/>
                <a:gd name="T74" fmla="*/ 146 w 5752"/>
                <a:gd name="T75" fmla="*/ 3017 h 6431"/>
                <a:gd name="T76" fmla="*/ 357 w 5752"/>
                <a:gd name="T77" fmla="*/ 2752 h 6431"/>
                <a:gd name="T78" fmla="*/ 598 w 5752"/>
                <a:gd name="T79" fmla="*/ 2442 h 6431"/>
                <a:gd name="T80" fmla="*/ 336 w 5752"/>
                <a:gd name="T81" fmla="*/ 2005 h 6431"/>
                <a:gd name="T82" fmla="*/ 303 w 5752"/>
                <a:gd name="T83" fmla="*/ 1612 h 6431"/>
                <a:gd name="T84" fmla="*/ 619 w 5752"/>
                <a:gd name="T85" fmla="*/ 1577 h 6431"/>
                <a:gd name="T86" fmla="*/ 1072 w 5752"/>
                <a:gd name="T87" fmla="*/ 1653 h 6431"/>
                <a:gd name="T88" fmla="*/ 1377 w 5752"/>
                <a:gd name="T89" fmla="*/ 1585 h 6431"/>
                <a:gd name="T90" fmla="*/ 1413 w 5752"/>
                <a:gd name="T91" fmla="*/ 1277 h 6431"/>
                <a:gd name="T92" fmla="*/ 1507 w 5752"/>
                <a:gd name="T93" fmla="*/ 1299 h 6431"/>
                <a:gd name="T94" fmla="*/ 1896 w 5752"/>
                <a:gd name="T95" fmla="*/ 1343 h 6431"/>
                <a:gd name="T96" fmla="*/ 1965 w 5752"/>
                <a:gd name="T97" fmla="*/ 1491 h 6431"/>
                <a:gd name="T98" fmla="*/ 2143 w 5752"/>
                <a:gd name="T99" fmla="*/ 1760 h 6431"/>
                <a:gd name="T100" fmla="*/ 2407 w 5752"/>
                <a:gd name="T101" fmla="*/ 1645 h 6431"/>
                <a:gd name="T102" fmla="*/ 2914 w 5752"/>
                <a:gd name="T103" fmla="*/ 1336 h 6431"/>
                <a:gd name="T104" fmla="*/ 2960 w 5752"/>
                <a:gd name="T105" fmla="*/ 864 h 6431"/>
                <a:gd name="T106" fmla="*/ 3293 w 5752"/>
                <a:gd name="T107" fmla="*/ 745 h 6431"/>
                <a:gd name="T108" fmla="*/ 3504 w 5752"/>
                <a:gd name="T109" fmla="*/ 720 h 6431"/>
                <a:gd name="T110" fmla="*/ 4059 w 5752"/>
                <a:gd name="T111" fmla="*/ 506 h 6431"/>
                <a:gd name="T112" fmla="*/ 4785 w 5752"/>
                <a:gd name="T113" fmla="*/ 28 h 6431"/>
                <a:gd name="T114" fmla="*/ 5209 w 5752"/>
                <a:gd name="T115" fmla="*/ 58 h 6431"/>
                <a:gd name="T116" fmla="*/ 5472 w 5752"/>
                <a:gd name="T117" fmla="*/ 213 h 6431"/>
                <a:gd name="T118" fmla="*/ 5313 w 5752"/>
                <a:gd name="T119" fmla="*/ 636 h 6431"/>
                <a:gd name="T120" fmla="*/ 5347 w 5752"/>
                <a:gd name="T121" fmla="*/ 811 h 6431"/>
                <a:gd name="T122" fmla="*/ 5705 w 5752"/>
                <a:gd name="T123" fmla="*/ 1032 h 6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752" h="6431">
                  <a:moveTo>
                    <a:pt x="5751" y="1081"/>
                  </a:moveTo>
                  <a:cubicBezTo>
                    <a:pt x="5751" y="1086"/>
                    <a:pt x="5741" y="1104"/>
                    <a:pt x="5736" y="1112"/>
                  </a:cubicBezTo>
                  <a:cubicBezTo>
                    <a:pt x="5731" y="1121"/>
                    <a:pt x="5728" y="1127"/>
                    <a:pt x="5726" y="1131"/>
                  </a:cubicBezTo>
                  <a:cubicBezTo>
                    <a:pt x="5724" y="1135"/>
                    <a:pt x="5721" y="1139"/>
                    <a:pt x="5719" y="1144"/>
                  </a:cubicBezTo>
                  <a:cubicBezTo>
                    <a:pt x="5713" y="1155"/>
                    <a:pt x="5706" y="1168"/>
                    <a:pt x="5706" y="1185"/>
                  </a:cubicBezTo>
                  <a:cubicBezTo>
                    <a:pt x="5705" y="1193"/>
                    <a:pt x="5706" y="1201"/>
                    <a:pt x="5708" y="1210"/>
                  </a:cubicBezTo>
                  <a:cubicBezTo>
                    <a:pt x="5710" y="1221"/>
                    <a:pt x="5713" y="1233"/>
                    <a:pt x="5708" y="1239"/>
                  </a:cubicBezTo>
                  <a:cubicBezTo>
                    <a:pt x="5701" y="1246"/>
                    <a:pt x="5693" y="1244"/>
                    <a:pt x="5673" y="1238"/>
                  </a:cubicBezTo>
                  <a:cubicBezTo>
                    <a:pt x="5652" y="1233"/>
                    <a:pt x="5621" y="1223"/>
                    <a:pt x="5601" y="1254"/>
                  </a:cubicBezTo>
                  <a:cubicBezTo>
                    <a:pt x="5596" y="1264"/>
                    <a:pt x="5596" y="1274"/>
                    <a:pt x="5594" y="1284"/>
                  </a:cubicBezTo>
                  <a:cubicBezTo>
                    <a:pt x="5594" y="1292"/>
                    <a:pt x="5594" y="1297"/>
                    <a:pt x="5591" y="1302"/>
                  </a:cubicBezTo>
                  <a:cubicBezTo>
                    <a:pt x="5586" y="1308"/>
                    <a:pt x="5576" y="1312"/>
                    <a:pt x="5566" y="1317"/>
                  </a:cubicBezTo>
                  <a:cubicBezTo>
                    <a:pt x="5561" y="1320"/>
                    <a:pt x="5556" y="1322"/>
                    <a:pt x="5553" y="1323"/>
                  </a:cubicBezTo>
                  <a:cubicBezTo>
                    <a:pt x="5512" y="1348"/>
                    <a:pt x="5472" y="1378"/>
                    <a:pt x="5444" y="1407"/>
                  </a:cubicBezTo>
                  <a:cubicBezTo>
                    <a:pt x="5426" y="1425"/>
                    <a:pt x="5410" y="1445"/>
                    <a:pt x="5413" y="1467"/>
                  </a:cubicBezTo>
                  <a:cubicBezTo>
                    <a:pt x="5415" y="1481"/>
                    <a:pt x="5426" y="1495"/>
                    <a:pt x="5444" y="1506"/>
                  </a:cubicBezTo>
                  <a:cubicBezTo>
                    <a:pt x="5461" y="1516"/>
                    <a:pt x="5461" y="1521"/>
                    <a:pt x="5461" y="1521"/>
                  </a:cubicBezTo>
                  <a:cubicBezTo>
                    <a:pt x="5462" y="1524"/>
                    <a:pt x="5456" y="1533"/>
                    <a:pt x="5451" y="1537"/>
                  </a:cubicBezTo>
                  <a:cubicBezTo>
                    <a:pt x="5444" y="1544"/>
                    <a:pt x="5439" y="1552"/>
                    <a:pt x="5433" y="1561"/>
                  </a:cubicBezTo>
                  <a:cubicBezTo>
                    <a:pt x="5418" y="1585"/>
                    <a:pt x="5410" y="1626"/>
                    <a:pt x="5462" y="1674"/>
                  </a:cubicBezTo>
                  <a:cubicBezTo>
                    <a:pt x="5497" y="1704"/>
                    <a:pt x="5495" y="1715"/>
                    <a:pt x="5482" y="1765"/>
                  </a:cubicBezTo>
                  <a:cubicBezTo>
                    <a:pt x="5467" y="1818"/>
                    <a:pt x="5490" y="1847"/>
                    <a:pt x="5515" y="1882"/>
                  </a:cubicBezTo>
                  <a:lnTo>
                    <a:pt x="5520" y="1888"/>
                  </a:lnTo>
                  <a:cubicBezTo>
                    <a:pt x="5530" y="1900"/>
                    <a:pt x="5538" y="1913"/>
                    <a:pt x="5555" y="1923"/>
                  </a:cubicBezTo>
                  <a:cubicBezTo>
                    <a:pt x="5561" y="1926"/>
                    <a:pt x="5568" y="1928"/>
                    <a:pt x="5574" y="1930"/>
                  </a:cubicBezTo>
                  <a:cubicBezTo>
                    <a:pt x="5586" y="1934"/>
                    <a:pt x="5594" y="1936"/>
                    <a:pt x="5599" y="1944"/>
                  </a:cubicBezTo>
                  <a:cubicBezTo>
                    <a:pt x="5609" y="1962"/>
                    <a:pt x="5602" y="2010"/>
                    <a:pt x="5589" y="2027"/>
                  </a:cubicBezTo>
                  <a:cubicBezTo>
                    <a:pt x="5584" y="2030"/>
                    <a:pt x="5578" y="2035"/>
                    <a:pt x="5573" y="2038"/>
                  </a:cubicBezTo>
                  <a:cubicBezTo>
                    <a:pt x="5563" y="2042"/>
                    <a:pt x="5555" y="2048"/>
                    <a:pt x="5546" y="2056"/>
                  </a:cubicBezTo>
                  <a:cubicBezTo>
                    <a:pt x="5537" y="2070"/>
                    <a:pt x="5532" y="2084"/>
                    <a:pt x="5528" y="2098"/>
                  </a:cubicBezTo>
                  <a:cubicBezTo>
                    <a:pt x="5528" y="2104"/>
                    <a:pt x="5527" y="2109"/>
                    <a:pt x="5525" y="2114"/>
                  </a:cubicBezTo>
                  <a:cubicBezTo>
                    <a:pt x="5520" y="2126"/>
                    <a:pt x="5514" y="2135"/>
                    <a:pt x="5507" y="2145"/>
                  </a:cubicBezTo>
                  <a:cubicBezTo>
                    <a:pt x="5497" y="2160"/>
                    <a:pt x="5486" y="2178"/>
                    <a:pt x="5487" y="2208"/>
                  </a:cubicBezTo>
                  <a:cubicBezTo>
                    <a:pt x="5487" y="2211"/>
                    <a:pt x="5487" y="2215"/>
                    <a:pt x="5489" y="2218"/>
                  </a:cubicBezTo>
                  <a:cubicBezTo>
                    <a:pt x="5490" y="2234"/>
                    <a:pt x="5490" y="2238"/>
                    <a:pt x="5482" y="2243"/>
                  </a:cubicBezTo>
                  <a:cubicBezTo>
                    <a:pt x="5472" y="2246"/>
                    <a:pt x="5436" y="2247"/>
                    <a:pt x="5428" y="2243"/>
                  </a:cubicBezTo>
                  <a:cubicBezTo>
                    <a:pt x="5423" y="2239"/>
                    <a:pt x="5418" y="2233"/>
                    <a:pt x="5413" y="2226"/>
                  </a:cubicBezTo>
                  <a:cubicBezTo>
                    <a:pt x="5405" y="2215"/>
                    <a:pt x="5397" y="2201"/>
                    <a:pt x="5382" y="2200"/>
                  </a:cubicBezTo>
                  <a:cubicBezTo>
                    <a:pt x="5380" y="2200"/>
                    <a:pt x="5380" y="2200"/>
                    <a:pt x="5380" y="2200"/>
                  </a:cubicBezTo>
                  <a:cubicBezTo>
                    <a:pt x="5370" y="2200"/>
                    <a:pt x="5359" y="2205"/>
                    <a:pt x="5347" y="2215"/>
                  </a:cubicBezTo>
                  <a:cubicBezTo>
                    <a:pt x="5334" y="2228"/>
                    <a:pt x="5329" y="2243"/>
                    <a:pt x="5326" y="2256"/>
                  </a:cubicBezTo>
                  <a:cubicBezTo>
                    <a:pt x="5324" y="2261"/>
                    <a:pt x="5322" y="2267"/>
                    <a:pt x="5319" y="2274"/>
                  </a:cubicBezTo>
                  <a:cubicBezTo>
                    <a:pt x="5311" y="2292"/>
                    <a:pt x="5296" y="2308"/>
                    <a:pt x="5276" y="2322"/>
                  </a:cubicBezTo>
                  <a:cubicBezTo>
                    <a:pt x="5270" y="2327"/>
                    <a:pt x="5260" y="2332"/>
                    <a:pt x="5248" y="2335"/>
                  </a:cubicBezTo>
                  <a:cubicBezTo>
                    <a:pt x="5219" y="2345"/>
                    <a:pt x="5176" y="2361"/>
                    <a:pt x="5187" y="2402"/>
                  </a:cubicBezTo>
                  <a:cubicBezTo>
                    <a:pt x="5196" y="2430"/>
                    <a:pt x="5217" y="2439"/>
                    <a:pt x="5237" y="2447"/>
                  </a:cubicBezTo>
                  <a:cubicBezTo>
                    <a:pt x="5258" y="2457"/>
                    <a:pt x="5271" y="2463"/>
                    <a:pt x="5275" y="2481"/>
                  </a:cubicBezTo>
                  <a:cubicBezTo>
                    <a:pt x="5276" y="2490"/>
                    <a:pt x="5276" y="2500"/>
                    <a:pt x="5271" y="2506"/>
                  </a:cubicBezTo>
                  <a:cubicBezTo>
                    <a:pt x="5265" y="2513"/>
                    <a:pt x="5245" y="2513"/>
                    <a:pt x="5227" y="2513"/>
                  </a:cubicBezTo>
                  <a:cubicBezTo>
                    <a:pt x="5210" y="2511"/>
                    <a:pt x="5189" y="2513"/>
                    <a:pt x="5174" y="2528"/>
                  </a:cubicBezTo>
                  <a:cubicBezTo>
                    <a:pt x="5166" y="2536"/>
                    <a:pt x="5163" y="2544"/>
                    <a:pt x="5161" y="2551"/>
                  </a:cubicBezTo>
                  <a:cubicBezTo>
                    <a:pt x="5156" y="2559"/>
                    <a:pt x="5154" y="2562"/>
                    <a:pt x="5146" y="2565"/>
                  </a:cubicBezTo>
                  <a:cubicBezTo>
                    <a:pt x="5141" y="2567"/>
                    <a:pt x="5136" y="2567"/>
                    <a:pt x="5130" y="2569"/>
                  </a:cubicBezTo>
                  <a:cubicBezTo>
                    <a:pt x="5116" y="2569"/>
                    <a:pt x="5102" y="2570"/>
                    <a:pt x="5090" y="2584"/>
                  </a:cubicBezTo>
                  <a:cubicBezTo>
                    <a:pt x="5074" y="2600"/>
                    <a:pt x="5079" y="2621"/>
                    <a:pt x="5082" y="2638"/>
                  </a:cubicBezTo>
                  <a:cubicBezTo>
                    <a:pt x="5084" y="2643"/>
                    <a:pt x="5084" y="2649"/>
                    <a:pt x="5084" y="2654"/>
                  </a:cubicBezTo>
                  <a:cubicBezTo>
                    <a:pt x="5085" y="2673"/>
                    <a:pt x="5080" y="2684"/>
                    <a:pt x="5074" y="2699"/>
                  </a:cubicBezTo>
                  <a:cubicBezTo>
                    <a:pt x="5072" y="2705"/>
                    <a:pt x="5070" y="2710"/>
                    <a:pt x="5069" y="2717"/>
                  </a:cubicBezTo>
                  <a:cubicBezTo>
                    <a:pt x="5060" y="2740"/>
                    <a:pt x="5060" y="2745"/>
                    <a:pt x="5074" y="2763"/>
                  </a:cubicBezTo>
                  <a:lnTo>
                    <a:pt x="5077" y="2766"/>
                  </a:lnTo>
                  <a:cubicBezTo>
                    <a:pt x="5090" y="2786"/>
                    <a:pt x="5090" y="2788"/>
                    <a:pt x="5090" y="2816"/>
                  </a:cubicBezTo>
                  <a:cubicBezTo>
                    <a:pt x="5092" y="2839"/>
                    <a:pt x="5093" y="2862"/>
                    <a:pt x="5107" y="2880"/>
                  </a:cubicBezTo>
                  <a:cubicBezTo>
                    <a:pt x="5110" y="2887"/>
                    <a:pt x="5113" y="2890"/>
                    <a:pt x="5116" y="2893"/>
                  </a:cubicBezTo>
                  <a:cubicBezTo>
                    <a:pt x="5121" y="2898"/>
                    <a:pt x="5125" y="2902"/>
                    <a:pt x="5126" y="2906"/>
                  </a:cubicBezTo>
                  <a:cubicBezTo>
                    <a:pt x="5130" y="2911"/>
                    <a:pt x="5131" y="2916"/>
                    <a:pt x="5131" y="2920"/>
                  </a:cubicBezTo>
                  <a:cubicBezTo>
                    <a:pt x="5136" y="2934"/>
                    <a:pt x="5141" y="2948"/>
                    <a:pt x="5161" y="2959"/>
                  </a:cubicBezTo>
                  <a:cubicBezTo>
                    <a:pt x="5181" y="2974"/>
                    <a:pt x="5196" y="2990"/>
                    <a:pt x="5212" y="3009"/>
                  </a:cubicBezTo>
                  <a:cubicBezTo>
                    <a:pt x="5222" y="3020"/>
                    <a:pt x="5233" y="3033"/>
                    <a:pt x="5247" y="3045"/>
                  </a:cubicBezTo>
                  <a:cubicBezTo>
                    <a:pt x="5250" y="3048"/>
                    <a:pt x="5253" y="3050"/>
                    <a:pt x="5258" y="3053"/>
                  </a:cubicBezTo>
                  <a:cubicBezTo>
                    <a:pt x="5266" y="3060"/>
                    <a:pt x="5273" y="3066"/>
                    <a:pt x="5276" y="3071"/>
                  </a:cubicBezTo>
                  <a:cubicBezTo>
                    <a:pt x="5281" y="3079"/>
                    <a:pt x="5280" y="3086"/>
                    <a:pt x="5278" y="3096"/>
                  </a:cubicBezTo>
                  <a:cubicBezTo>
                    <a:pt x="5276" y="3106"/>
                    <a:pt x="5275" y="3116"/>
                    <a:pt x="5278" y="3127"/>
                  </a:cubicBezTo>
                  <a:cubicBezTo>
                    <a:pt x="5281" y="3145"/>
                    <a:pt x="5289" y="3150"/>
                    <a:pt x="5296" y="3155"/>
                  </a:cubicBezTo>
                  <a:cubicBezTo>
                    <a:pt x="5299" y="3157"/>
                    <a:pt x="5303" y="3160"/>
                    <a:pt x="5306" y="3163"/>
                  </a:cubicBezTo>
                  <a:cubicBezTo>
                    <a:pt x="5316" y="3175"/>
                    <a:pt x="5316" y="3178"/>
                    <a:pt x="5314" y="3201"/>
                  </a:cubicBezTo>
                  <a:cubicBezTo>
                    <a:pt x="5314" y="3206"/>
                    <a:pt x="5314" y="3211"/>
                    <a:pt x="5314" y="3215"/>
                  </a:cubicBezTo>
                  <a:cubicBezTo>
                    <a:pt x="5313" y="3224"/>
                    <a:pt x="5313" y="3233"/>
                    <a:pt x="5313" y="3241"/>
                  </a:cubicBezTo>
                  <a:cubicBezTo>
                    <a:pt x="5311" y="3272"/>
                    <a:pt x="5311" y="3300"/>
                    <a:pt x="5311" y="3330"/>
                  </a:cubicBezTo>
                  <a:cubicBezTo>
                    <a:pt x="5311" y="3343"/>
                    <a:pt x="5308" y="3361"/>
                    <a:pt x="5299" y="3371"/>
                  </a:cubicBezTo>
                  <a:cubicBezTo>
                    <a:pt x="5296" y="3374"/>
                    <a:pt x="5291" y="3374"/>
                    <a:pt x="5286" y="3374"/>
                  </a:cubicBezTo>
                  <a:cubicBezTo>
                    <a:pt x="5285" y="3373"/>
                    <a:pt x="5281" y="3373"/>
                    <a:pt x="5276" y="3366"/>
                  </a:cubicBezTo>
                  <a:cubicBezTo>
                    <a:pt x="5271" y="3361"/>
                    <a:pt x="5263" y="3351"/>
                    <a:pt x="5250" y="3350"/>
                  </a:cubicBezTo>
                  <a:lnTo>
                    <a:pt x="5248" y="3350"/>
                  </a:lnTo>
                  <a:cubicBezTo>
                    <a:pt x="5235" y="3348"/>
                    <a:pt x="5224" y="3353"/>
                    <a:pt x="5212" y="3358"/>
                  </a:cubicBezTo>
                  <a:cubicBezTo>
                    <a:pt x="5204" y="3361"/>
                    <a:pt x="5196" y="3364"/>
                    <a:pt x="5189" y="3364"/>
                  </a:cubicBezTo>
                  <a:cubicBezTo>
                    <a:pt x="5184" y="3366"/>
                    <a:pt x="5179" y="3366"/>
                    <a:pt x="5176" y="3364"/>
                  </a:cubicBezTo>
                  <a:cubicBezTo>
                    <a:pt x="5154" y="3364"/>
                    <a:pt x="5146" y="3368"/>
                    <a:pt x="5136" y="3392"/>
                  </a:cubicBezTo>
                  <a:cubicBezTo>
                    <a:pt x="5133" y="3399"/>
                    <a:pt x="5131" y="3404"/>
                    <a:pt x="5128" y="3411"/>
                  </a:cubicBezTo>
                  <a:cubicBezTo>
                    <a:pt x="5125" y="3424"/>
                    <a:pt x="5120" y="3435"/>
                    <a:pt x="5110" y="3445"/>
                  </a:cubicBezTo>
                  <a:cubicBezTo>
                    <a:pt x="5095" y="3460"/>
                    <a:pt x="5082" y="3462"/>
                    <a:pt x="5062" y="3463"/>
                  </a:cubicBezTo>
                  <a:cubicBezTo>
                    <a:pt x="5051" y="3465"/>
                    <a:pt x="5036" y="3465"/>
                    <a:pt x="5021" y="3472"/>
                  </a:cubicBezTo>
                  <a:cubicBezTo>
                    <a:pt x="5013" y="3475"/>
                    <a:pt x="5008" y="3480"/>
                    <a:pt x="5003" y="3485"/>
                  </a:cubicBezTo>
                  <a:cubicBezTo>
                    <a:pt x="4998" y="3490"/>
                    <a:pt x="4993" y="3493"/>
                    <a:pt x="4988" y="3495"/>
                  </a:cubicBezTo>
                  <a:cubicBezTo>
                    <a:pt x="4980" y="3496"/>
                    <a:pt x="4968" y="3493"/>
                    <a:pt x="4957" y="3490"/>
                  </a:cubicBezTo>
                  <a:cubicBezTo>
                    <a:pt x="4950" y="3486"/>
                    <a:pt x="4945" y="3485"/>
                    <a:pt x="4939" y="3485"/>
                  </a:cubicBezTo>
                  <a:cubicBezTo>
                    <a:pt x="4925" y="3481"/>
                    <a:pt x="4912" y="3478"/>
                    <a:pt x="4901" y="3475"/>
                  </a:cubicBezTo>
                  <a:cubicBezTo>
                    <a:pt x="4869" y="3465"/>
                    <a:pt x="4840" y="3457"/>
                    <a:pt x="4803" y="3462"/>
                  </a:cubicBezTo>
                  <a:cubicBezTo>
                    <a:pt x="4775" y="3467"/>
                    <a:pt x="4756" y="3480"/>
                    <a:pt x="4744" y="3498"/>
                  </a:cubicBezTo>
                  <a:cubicBezTo>
                    <a:pt x="4738" y="3511"/>
                    <a:pt x="4731" y="3532"/>
                    <a:pt x="4744" y="3565"/>
                  </a:cubicBezTo>
                  <a:cubicBezTo>
                    <a:pt x="4749" y="3575"/>
                    <a:pt x="4756" y="3584"/>
                    <a:pt x="4761" y="3592"/>
                  </a:cubicBezTo>
                  <a:cubicBezTo>
                    <a:pt x="4767" y="3600"/>
                    <a:pt x="4774" y="3608"/>
                    <a:pt x="4775" y="3618"/>
                  </a:cubicBezTo>
                  <a:cubicBezTo>
                    <a:pt x="4779" y="3626"/>
                    <a:pt x="4775" y="3635"/>
                    <a:pt x="4774" y="3644"/>
                  </a:cubicBezTo>
                  <a:cubicBezTo>
                    <a:pt x="4771" y="3654"/>
                    <a:pt x="4769" y="3663"/>
                    <a:pt x="4769" y="3673"/>
                  </a:cubicBezTo>
                  <a:cubicBezTo>
                    <a:pt x="4769" y="3691"/>
                    <a:pt x="4775" y="3699"/>
                    <a:pt x="4780" y="3705"/>
                  </a:cubicBezTo>
                  <a:cubicBezTo>
                    <a:pt x="4784" y="3709"/>
                    <a:pt x="4785" y="3712"/>
                    <a:pt x="4787" y="3715"/>
                  </a:cubicBezTo>
                  <a:cubicBezTo>
                    <a:pt x="4790" y="3725"/>
                    <a:pt x="4790" y="3732"/>
                    <a:pt x="4789" y="3742"/>
                  </a:cubicBezTo>
                  <a:cubicBezTo>
                    <a:pt x="4789" y="3748"/>
                    <a:pt x="4787" y="3755"/>
                    <a:pt x="4789" y="3763"/>
                  </a:cubicBezTo>
                  <a:cubicBezTo>
                    <a:pt x="4789" y="3771"/>
                    <a:pt x="4792" y="3780"/>
                    <a:pt x="4794" y="3788"/>
                  </a:cubicBezTo>
                  <a:cubicBezTo>
                    <a:pt x="4795" y="3793"/>
                    <a:pt x="4797" y="3799"/>
                    <a:pt x="4799" y="3804"/>
                  </a:cubicBezTo>
                  <a:cubicBezTo>
                    <a:pt x="4799" y="3817"/>
                    <a:pt x="4792" y="3831"/>
                    <a:pt x="4784" y="3844"/>
                  </a:cubicBezTo>
                  <a:cubicBezTo>
                    <a:pt x="4782" y="3849"/>
                    <a:pt x="4779" y="3854"/>
                    <a:pt x="4777" y="3859"/>
                  </a:cubicBezTo>
                  <a:cubicBezTo>
                    <a:pt x="4772" y="3869"/>
                    <a:pt x="4766" y="3880"/>
                    <a:pt x="4761" y="3890"/>
                  </a:cubicBezTo>
                  <a:cubicBezTo>
                    <a:pt x="4743" y="3918"/>
                    <a:pt x="4726" y="3948"/>
                    <a:pt x="4731" y="3982"/>
                  </a:cubicBezTo>
                  <a:lnTo>
                    <a:pt x="4733" y="3987"/>
                  </a:lnTo>
                  <a:cubicBezTo>
                    <a:pt x="4734" y="4002"/>
                    <a:pt x="4734" y="4002"/>
                    <a:pt x="4729" y="4017"/>
                  </a:cubicBezTo>
                  <a:lnTo>
                    <a:pt x="4728" y="4022"/>
                  </a:lnTo>
                  <a:cubicBezTo>
                    <a:pt x="4719" y="4043"/>
                    <a:pt x="4713" y="4068"/>
                    <a:pt x="4724" y="4093"/>
                  </a:cubicBezTo>
                  <a:cubicBezTo>
                    <a:pt x="4736" y="4117"/>
                    <a:pt x="4757" y="4126"/>
                    <a:pt x="4775" y="4134"/>
                  </a:cubicBezTo>
                  <a:cubicBezTo>
                    <a:pt x="4785" y="4139"/>
                    <a:pt x="4794" y="4144"/>
                    <a:pt x="4802" y="4149"/>
                  </a:cubicBezTo>
                  <a:cubicBezTo>
                    <a:pt x="4813" y="4157"/>
                    <a:pt x="4815" y="4160"/>
                    <a:pt x="4818" y="4175"/>
                  </a:cubicBezTo>
                  <a:cubicBezTo>
                    <a:pt x="4822" y="4190"/>
                    <a:pt x="4827" y="4201"/>
                    <a:pt x="4833" y="4213"/>
                  </a:cubicBezTo>
                  <a:cubicBezTo>
                    <a:pt x="4835" y="4219"/>
                    <a:pt x="4838" y="4224"/>
                    <a:pt x="4840" y="4231"/>
                  </a:cubicBezTo>
                  <a:cubicBezTo>
                    <a:pt x="4845" y="4243"/>
                    <a:pt x="4846" y="4252"/>
                    <a:pt x="4850" y="4262"/>
                  </a:cubicBezTo>
                  <a:cubicBezTo>
                    <a:pt x="4855" y="4284"/>
                    <a:pt x="4861" y="4303"/>
                    <a:pt x="4883" y="4330"/>
                  </a:cubicBezTo>
                  <a:cubicBezTo>
                    <a:pt x="4896" y="4345"/>
                    <a:pt x="4919" y="4369"/>
                    <a:pt x="4916" y="4387"/>
                  </a:cubicBezTo>
                  <a:cubicBezTo>
                    <a:pt x="4916" y="4392"/>
                    <a:pt x="4912" y="4399"/>
                    <a:pt x="4904" y="4402"/>
                  </a:cubicBezTo>
                  <a:cubicBezTo>
                    <a:pt x="4901" y="4406"/>
                    <a:pt x="4897" y="4407"/>
                    <a:pt x="4892" y="4409"/>
                  </a:cubicBezTo>
                  <a:cubicBezTo>
                    <a:pt x="4884" y="4411"/>
                    <a:pt x="4874" y="4414"/>
                    <a:pt x="4864" y="4425"/>
                  </a:cubicBezTo>
                  <a:cubicBezTo>
                    <a:pt x="4853" y="4440"/>
                    <a:pt x="4850" y="4463"/>
                    <a:pt x="4848" y="4481"/>
                  </a:cubicBezTo>
                  <a:lnTo>
                    <a:pt x="4846" y="4496"/>
                  </a:lnTo>
                  <a:cubicBezTo>
                    <a:pt x="4840" y="4542"/>
                    <a:pt x="4835" y="4572"/>
                    <a:pt x="4799" y="4597"/>
                  </a:cubicBezTo>
                  <a:cubicBezTo>
                    <a:pt x="4766" y="4620"/>
                    <a:pt x="4738" y="4631"/>
                    <a:pt x="4710" y="4633"/>
                  </a:cubicBezTo>
                  <a:cubicBezTo>
                    <a:pt x="4667" y="4636"/>
                    <a:pt x="4627" y="4646"/>
                    <a:pt x="4621" y="4712"/>
                  </a:cubicBezTo>
                  <a:cubicBezTo>
                    <a:pt x="4621" y="4725"/>
                    <a:pt x="4622" y="4737"/>
                    <a:pt x="4624" y="4748"/>
                  </a:cubicBezTo>
                  <a:cubicBezTo>
                    <a:pt x="4627" y="4773"/>
                    <a:pt x="4627" y="4786"/>
                    <a:pt x="4611" y="4798"/>
                  </a:cubicBezTo>
                  <a:cubicBezTo>
                    <a:pt x="4603" y="4804"/>
                    <a:pt x="4594" y="4806"/>
                    <a:pt x="4584" y="4806"/>
                  </a:cubicBezTo>
                  <a:cubicBezTo>
                    <a:pt x="4578" y="4806"/>
                    <a:pt x="4571" y="4806"/>
                    <a:pt x="4563" y="4808"/>
                  </a:cubicBezTo>
                  <a:cubicBezTo>
                    <a:pt x="4545" y="4811"/>
                    <a:pt x="4537" y="4821"/>
                    <a:pt x="4528" y="4831"/>
                  </a:cubicBezTo>
                  <a:cubicBezTo>
                    <a:pt x="4523" y="4836"/>
                    <a:pt x="4520" y="4841"/>
                    <a:pt x="4514" y="4842"/>
                  </a:cubicBezTo>
                  <a:cubicBezTo>
                    <a:pt x="4510" y="4845"/>
                    <a:pt x="4502" y="4844"/>
                    <a:pt x="4494" y="4844"/>
                  </a:cubicBezTo>
                  <a:cubicBezTo>
                    <a:pt x="4486" y="4842"/>
                    <a:pt x="4476" y="4841"/>
                    <a:pt x="4467" y="4842"/>
                  </a:cubicBezTo>
                  <a:cubicBezTo>
                    <a:pt x="4451" y="4845"/>
                    <a:pt x="4443" y="4855"/>
                    <a:pt x="4434" y="4862"/>
                  </a:cubicBezTo>
                  <a:cubicBezTo>
                    <a:pt x="4431" y="4867"/>
                    <a:pt x="4428" y="4870"/>
                    <a:pt x="4423" y="4873"/>
                  </a:cubicBezTo>
                  <a:cubicBezTo>
                    <a:pt x="4418" y="4877"/>
                    <a:pt x="4413" y="4877"/>
                    <a:pt x="4406" y="4878"/>
                  </a:cubicBezTo>
                  <a:cubicBezTo>
                    <a:pt x="4398" y="4878"/>
                    <a:pt x="4390" y="4880"/>
                    <a:pt x="4382" y="4883"/>
                  </a:cubicBezTo>
                  <a:cubicBezTo>
                    <a:pt x="4364" y="4892"/>
                    <a:pt x="4354" y="4908"/>
                    <a:pt x="4346" y="4923"/>
                  </a:cubicBezTo>
                  <a:lnTo>
                    <a:pt x="4341" y="4931"/>
                  </a:lnTo>
                  <a:cubicBezTo>
                    <a:pt x="4322" y="4961"/>
                    <a:pt x="4329" y="4977"/>
                    <a:pt x="4334" y="4995"/>
                  </a:cubicBezTo>
                  <a:cubicBezTo>
                    <a:pt x="4337" y="5005"/>
                    <a:pt x="4341" y="5015"/>
                    <a:pt x="4341" y="5028"/>
                  </a:cubicBezTo>
                  <a:cubicBezTo>
                    <a:pt x="4341" y="5035"/>
                    <a:pt x="4337" y="5040"/>
                    <a:pt x="4331" y="5045"/>
                  </a:cubicBezTo>
                  <a:cubicBezTo>
                    <a:pt x="4326" y="5051"/>
                    <a:pt x="4319" y="5058"/>
                    <a:pt x="4318" y="5070"/>
                  </a:cubicBezTo>
                  <a:cubicBezTo>
                    <a:pt x="4314" y="5084"/>
                    <a:pt x="4321" y="5098"/>
                    <a:pt x="4327" y="5109"/>
                  </a:cubicBezTo>
                  <a:cubicBezTo>
                    <a:pt x="4331" y="5116"/>
                    <a:pt x="4334" y="5122"/>
                    <a:pt x="4336" y="5127"/>
                  </a:cubicBezTo>
                  <a:cubicBezTo>
                    <a:pt x="4336" y="5142"/>
                    <a:pt x="4331" y="5155"/>
                    <a:pt x="4327" y="5168"/>
                  </a:cubicBezTo>
                  <a:cubicBezTo>
                    <a:pt x="4321" y="5188"/>
                    <a:pt x="4313" y="5210"/>
                    <a:pt x="4319" y="5234"/>
                  </a:cubicBezTo>
                  <a:cubicBezTo>
                    <a:pt x="4329" y="5280"/>
                    <a:pt x="4331" y="5300"/>
                    <a:pt x="4299" y="5312"/>
                  </a:cubicBezTo>
                  <a:cubicBezTo>
                    <a:pt x="4298" y="5312"/>
                    <a:pt x="4296" y="5312"/>
                    <a:pt x="4293" y="5312"/>
                  </a:cubicBezTo>
                  <a:cubicBezTo>
                    <a:pt x="4288" y="5312"/>
                    <a:pt x="4280" y="5310"/>
                    <a:pt x="4271" y="5318"/>
                  </a:cubicBezTo>
                  <a:cubicBezTo>
                    <a:pt x="4265" y="5325"/>
                    <a:pt x="4265" y="5335"/>
                    <a:pt x="4266" y="5341"/>
                  </a:cubicBezTo>
                  <a:cubicBezTo>
                    <a:pt x="4268" y="5361"/>
                    <a:pt x="4286" y="5369"/>
                    <a:pt x="4299" y="5374"/>
                  </a:cubicBezTo>
                  <a:cubicBezTo>
                    <a:pt x="4303" y="5376"/>
                    <a:pt x="4306" y="5378"/>
                    <a:pt x="4308" y="5379"/>
                  </a:cubicBezTo>
                  <a:cubicBezTo>
                    <a:pt x="4316" y="5383"/>
                    <a:pt x="4321" y="5389"/>
                    <a:pt x="4326" y="5396"/>
                  </a:cubicBezTo>
                  <a:cubicBezTo>
                    <a:pt x="4329" y="5402"/>
                    <a:pt x="4334" y="5407"/>
                    <a:pt x="4341" y="5412"/>
                  </a:cubicBezTo>
                  <a:cubicBezTo>
                    <a:pt x="4362" y="5432"/>
                    <a:pt x="4380" y="5422"/>
                    <a:pt x="4395" y="5430"/>
                  </a:cubicBezTo>
                  <a:cubicBezTo>
                    <a:pt x="4398" y="5432"/>
                    <a:pt x="4402" y="5435"/>
                    <a:pt x="4402" y="5437"/>
                  </a:cubicBezTo>
                  <a:cubicBezTo>
                    <a:pt x="4403" y="5443"/>
                    <a:pt x="4397" y="5455"/>
                    <a:pt x="4392" y="5467"/>
                  </a:cubicBezTo>
                  <a:cubicBezTo>
                    <a:pt x="4383" y="5481"/>
                    <a:pt x="4375" y="5496"/>
                    <a:pt x="4377" y="5511"/>
                  </a:cubicBezTo>
                  <a:cubicBezTo>
                    <a:pt x="4377" y="5521"/>
                    <a:pt x="4380" y="5527"/>
                    <a:pt x="4383" y="5536"/>
                  </a:cubicBezTo>
                  <a:cubicBezTo>
                    <a:pt x="4387" y="5546"/>
                    <a:pt x="4390" y="5552"/>
                    <a:pt x="4388" y="5557"/>
                  </a:cubicBezTo>
                  <a:cubicBezTo>
                    <a:pt x="4387" y="5562"/>
                    <a:pt x="4383" y="5564"/>
                    <a:pt x="4377" y="5567"/>
                  </a:cubicBezTo>
                  <a:cubicBezTo>
                    <a:pt x="4369" y="5572"/>
                    <a:pt x="4355" y="5579"/>
                    <a:pt x="4354" y="5598"/>
                  </a:cubicBezTo>
                  <a:cubicBezTo>
                    <a:pt x="4347" y="5643"/>
                    <a:pt x="4403" y="5656"/>
                    <a:pt x="4430" y="5663"/>
                  </a:cubicBezTo>
                  <a:lnTo>
                    <a:pt x="4438" y="5664"/>
                  </a:lnTo>
                  <a:cubicBezTo>
                    <a:pt x="4476" y="5672"/>
                    <a:pt x="4495" y="5691"/>
                    <a:pt x="4507" y="5727"/>
                  </a:cubicBezTo>
                  <a:cubicBezTo>
                    <a:pt x="4517" y="5753"/>
                    <a:pt x="4509" y="5760"/>
                    <a:pt x="4492" y="5773"/>
                  </a:cubicBezTo>
                  <a:cubicBezTo>
                    <a:pt x="4482" y="5781"/>
                    <a:pt x="4471" y="5789"/>
                    <a:pt x="4462" y="5803"/>
                  </a:cubicBezTo>
                  <a:cubicBezTo>
                    <a:pt x="4444" y="5832"/>
                    <a:pt x="4456" y="5877"/>
                    <a:pt x="4464" y="5913"/>
                  </a:cubicBezTo>
                  <a:cubicBezTo>
                    <a:pt x="4467" y="5923"/>
                    <a:pt x="4469" y="5929"/>
                    <a:pt x="4471" y="5936"/>
                  </a:cubicBezTo>
                  <a:cubicBezTo>
                    <a:pt x="4477" y="5966"/>
                    <a:pt x="4487" y="5990"/>
                    <a:pt x="4499" y="6015"/>
                  </a:cubicBezTo>
                  <a:cubicBezTo>
                    <a:pt x="4502" y="6023"/>
                    <a:pt x="4505" y="6032"/>
                    <a:pt x="4509" y="6041"/>
                  </a:cubicBezTo>
                  <a:cubicBezTo>
                    <a:pt x="4505" y="6043"/>
                    <a:pt x="4502" y="6045"/>
                    <a:pt x="4497" y="6046"/>
                  </a:cubicBezTo>
                  <a:cubicBezTo>
                    <a:pt x="4477" y="6055"/>
                    <a:pt x="4458" y="6066"/>
                    <a:pt x="4439" y="6076"/>
                  </a:cubicBezTo>
                  <a:cubicBezTo>
                    <a:pt x="4411" y="6093"/>
                    <a:pt x="4385" y="6109"/>
                    <a:pt x="4352" y="6116"/>
                  </a:cubicBezTo>
                  <a:cubicBezTo>
                    <a:pt x="4294" y="6132"/>
                    <a:pt x="4265" y="6149"/>
                    <a:pt x="4253" y="6210"/>
                  </a:cubicBezTo>
                  <a:cubicBezTo>
                    <a:pt x="4245" y="6254"/>
                    <a:pt x="4219" y="6256"/>
                    <a:pt x="4171" y="6252"/>
                  </a:cubicBezTo>
                  <a:cubicBezTo>
                    <a:pt x="4159" y="6252"/>
                    <a:pt x="4149" y="6251"/>
                    <a:pt x="4138" y="6252"/>
                  </a:cubicBezTo>
                  <a:cubicBezTo>
                    <a:pt x="4120" y="6252"/>
                    <a:pt x="4107" y="6259"/>
                    <a:pt x="4092" y="6267"/>
                  </a:cubicBezTo>
                  <a:cubicBezTo>
                    <a:pt x="4085" y="6270"/>
                    <a:pt x="4077" y="6275"/>
                    <a:pt x="4070" y="6277"/>
                  </a:cubicBezTo>
                  <a:cubicBezTo>
                    <a:pt x="4065" y="6279"/>
                    <a:pt x="4062" y="6279"/>
                    <a:pt x="4057" y="6280"/>
                  </a:cubicBezTo>
                  <a:cubicBezTo>
                    <a:pt x="4049" y="6280"/>
                    <a:pt x="4039" y="6282"/>
                    <a:pt x="4029" y="6289"/>
                  </a:cubicBezTo>
                  <a:cubicBezTo>
                    <a:pt x="4023" y="6294"/>
                    <a:pt x="4019" y="6298"/>
                    <a:pt x="4014" y="6302"/>
                  </a:cubicBezTo>
                  <a:cubicBezTo>
                    <a:pt x="4009" y="6308"/>
                    <a:pt x="4006" y="6312"/>
                    <a:pt x="3998" y="6313"/>
                  </a:cubicBezTo>
                  <a:cubicBezTo>
                    <a:pt x="3995" y="6315"/>
                    <a:pt x="3990" y="6313"/>
                    <a:pt x="3985" y="6313"/>
                  </a:cubicBezTo>
                  <a:cubicBezTo>
                    <a:pt x="3978" y="6315"/>
                    <a:pt x="3972" y="6313"/>
                    <a:pt x="3962" y="6317"/>
                  </a:cubicBezTo>
                  <a:cubicBezTo>
                    <a:pt x="3950" y="6320"/>
                    <a:pt x="3944" y="6328"/>
                    <a:pt x="3937" y="6333"/>
                  </a:cubicBezTo>
                  <a:cubicBezTo>
                    <a:pt x="3934" y="6336"/>
                    <a:pt x="3932" y="6338"/>
                    <a:pt x="3929" y="6341"/>
                  </a:cubicBezTo>
                  <a:cubicBezTo>
                    <a:pt x="3919" y="6348"/>
                    <a:pt x="3907" y="6354"/>
                    <a:pt x="3894" y="6359"/>
                  </a:cubicBezTo>
                  <a:cubicBezTo>
                    <a:pt x="3883" y="6366"/>
                    <a:pt x="3869" y="6373"/>
                    <a:pt x="3858" y="6381"/>
                  </a:cubicBezTo>
                  <a:cubicBezTo>
                    <a:pt x="3855" y="6382"/>
                    <a:pt x="3851" y="6386"/>
                    <a:pt x="3846" y="6389"/>
                  </a:cubicBezTo>
                  <a:cubicBezTo>
                    <a:pt x="3833" y="6401"/>
                    <a:pt x="3818" y="6412"/>
                    <a:pt x="3805" y="6409"/>
                  </a:cubicBezTo>
                  <a:cubicBezTo>
                    <a:pt x="3800" y="6407"/>
                    <a:pt x="3797" y="6404"/>
                    <a:pt x="3790" y="6397"/>
                  </a:cubicBezTo>
                  <a:cubicBezTo>
                    <a:pt x="3784" y="6391"/>
                    <a:pt x="3779" y="6384"/>
                    <a:pt x="3769" y="6379"/>
                  </a:cubicBezTo>
                  <a:cubicBezTo>
                    <a:pt x="3746" y="6369"/>
                    <a:pt x="3728" y="6381"/>
                    <a:pt x="3713" y="6387"/>
                  </a:cubicBezTo>
                  <a:cubicBezTo>
                    <a:pt x="3708" y="6391"/>
                    <a:pt x="3703" y="6392"/>
                    <a:pt x="3698" y="6394"/>
                  </a:cubicBezTo>
                  <a:cubicBezTo>
                    <a:pt x="3690" y="6397"/>
                    <a:pt x="3683" y="6401"/>
                    <a:pt x="3677" y="6399"/>
                  </a:cubicBezTo>
                  <a:cubicBezTo>
                    <a:pt x="3672" y="6399"/>
                    <a:pt x="3668" y="6397"/>
                    <a:pt x="3663" y="6394"/>
                  </a:cubicBezTo>
                  <a:cubicBezTo>
                    <a:pt x="3655" y="6391"/>
                    <a:pt x="3647" y="6386"/>
                    <a:pt x="3635" y="6386"/>
                  </a:cubicBezTo>
                  <a:cubicBezTo>
                    <a:pt x="3622" y="6387"/>
                    <a:pt x="3611" y="6396"/>
                    <a:pt x="3599" y="6404"/>
                  </a:cubicBezTo>
                  <a:cubicBezTo>
                    <a:pt x="3591" y="6409"/>
                    <a:pt x="3584" y="6415"/>
                    <a:pt x="3579" y="6417"/>
                  </a:cubicBezTo>
                  <a:cubicBezTo>
                    <a:pt x="3547" y="6429"/>
                    <a:pt x="3522" y="6430"/>
                    <a:pt x="3504" y="6424"/>
                  </a:cubicBezTo>
                  <a:cubicBezTo>
                    <a:pt x="3484" y="6417"/>
                    <a:pt x="3467" y="6402"/>
                    <a:pt x="3449" y="6386"/>
                  </a:cubicBezTo>
                  <a:cubicBezTo>
                    <a:pt x="3423" y="6361"/>
                    <a:pt x="3393" y="6335"/>
                    <a:pt x="3350" y="6338"/>
                  </a:cubicBezTo>
                  <a:cubicBezTo>
                    <a:pt x="3336" y="6338"/>
                    <a:pt x="3324" y="6341"/>
                    <a:pt x="3313" y="6343"/>
                  </a:cubicBezTo>
                  <a:cubicBezTo>
                    <a:pt x="3298" y="6348"/>
                    <a:pt x="3283" y="6350"/>
                    <a:pt x="3265" y="6350"/>
                  </a:cubicBezTo>
                  <a:cubicBezTo>
                    <a:pt x="3229" y="6345"/>
                    <a:pt x="3210" y="6353"/>
                    <a:pt x="3181" y="6364"/>
                  </a:cubicBezTo>
                  <a:cubicBezTo>
                    <a:pt x="3154" y="6374"/>
                    <a:pt x="3131" y="6366"/>
                    <a:pt x="3105" y="6358"/>
                  </a:cubicBezTo>
                  <a:cubicBezTo>
                    <a:pt x="3080" y="6348"/>
                    <a:pt x="3052" y="6338"/>
                    <a:pt x="3023" y="6345"/>
                  </a:cubicBezTo>
                  <a:cubicBezTo>
                    <a:pt x="2988" y="6351"/>
                    <a:pt x="2978" y="6351"/>
                    <a:pt x="2950" y="6331"/>
                  </a:cubicBezTo>
                  <a:cubicBezTo>
                    <a:pt x="2922" y="6313"/>
                    <a:pt x="2901" y="6307"/>
                    <a:pt x="2869" y="6308"/>
                  </a:cubicBezTo>
                  <a:cubicBezTo>
                    <a:pt x="2795" y="6313"/>
                    <a:pt x="2743" y="6354"/>
                    <a:pt x="2701" y="6394"/>
                  </a:cubicBezTo>
                  <a:cubicBezTo>
                    <a:pt x="2693" y="6402"/>
                    <a:pt x="2683" y="6411"/>
                    <a:pt x="2672" y="6419"/>
                  </a:cubicBezTo>
                  <a:cubicBezTo>
                    <a:pt x="2672" y="6417"/>
                    <a:pt x="2672" y="6415"/>
                    <a:pt x="2672" y="6415"/>
                  </a:cubicBezTo>
                  <a:cubicBezTo>
                    <a:pt x="2664" y="6396"/>
                    <a:pt x="2649" y="6379"/>
                    <a:pt x="2637" y="6363"/>
                  </a:cubicBezTo>
                  <a:cubicBezTo>
                    <a:pt x="2626" y="6350"/>
                    <a:pt x="2617" y="6338"/>
                    <a:pt x="2609" y="6325"/>
                  </a:cubicBezTo>
                  <a:cubicBezTo>
                    <a:pt x="2593" y="6295"/>
                    <a:pt x="2575" y="6267"/>
                    <a:pt x="2540" y="6252"/>
                  </a:cubicBezTo>
                  <a:cubicBezTo>
                    <a:pt x="2502" y="6238"/>
                    <a:pt x="2486" y="6228"/>
                    <a:pt x="2476" y="6191"/>
                  </a:cubicBezTo>
                  <a:cubicBezTo>
                    <a:pt x="2472" y="6178"/>
                    <a:pt x="2469" y="6165"/>
                    <a:pt x="2466" y="6152"/>
                  </a:cubicBezTo>
                  <a:cubicBezTo>
                    <a:pt x="2461" y="6129"/>
                    <a:pt x="2456" y="6106"/>
                    <a:pt x="2449" y="6083"/>
                  </a:cubicBezTo>
                  <a:lnTo>
                    <a:pt x="2439" y="6056"/>
                  </a:lnTo>
                  <a:cubicBezTo>
                    <a:pt x="2430" y="6030"/>
                    <a:pt x="2415" y="6005"/>
                    <a:pt x="2393" y="5987"/>
                  </a:cubicBezTo>
                  <a:cubicBezTo>
                    <a:pt x="2370" y="5967"/>
                    <a:pt x="2362" y="5944"/>
                    <a:pt x="2352" y="5916"/>
                  </a:cubicBezTo>
                  <a:cubicBezTo>
                    <a:pt x="2350" y="5910"/>
                    <a:pt x="2347" y="5903"/>
                    <a:pt x="2346" y="5897"/>
                  </a:cubicBezTo>
                  <a:cubicBezTo>
                    <a:pt x="2337" y="5878"/>
                    <a:pt x="2331" y="5869"/>
                    <a:pt x="2322" y="5859"/>
                  </a:cubicBezTo>
                  <a:lnTo>
                    <a:pt x="2314" y="5849"/>
                  </a:lnTo>
                  <a:cubicBezTo>
                    <a:pt x="2303" y="5834"/>
                    <a:pt x="2301" y="5829"/>
                    <a:pt x="2299" y="5809"/>
                  </a:cubicBezTo>
                  <a:lnTo>
                    <a:pt x="2299" y="5803"/>
                  </a:lnTo>
                  <a:cubicBezTo>
                    <a:pt x="2296" y="5766"/>
                    <a:pt x="2275" y="5742"/>
                    <a:pt x="2232" y="5727"/>
                  </a:cubicBezTo>
                  <a:cubicBezTo>
                    <a:pt x="2194" y="5712"/>
                    <a:pt x="2171" y="5728"/>
                    <a:pt x="2150" y="5743"/>
                  </a:cubicBezTo>
                  <a:cubicBezTo>
                    <a:pt x="2140" y="5750"/>
                    <a:pt x="2130" y="5756"/>
                    <a:pt x="2117" y="5761"/>
                  </a:cubicBezTo>
                  <a:cubicBezTo>
                    <a:pt x="2089" y="5773"/>
                    <a:pt x="2052" y="5776"/>
                    <a:pt x="2033" y="5758"/>
                  </a:cubicBezTo>
                  <a:cubicBezTo>
                    <a:pt x="2021" y="5747"/>
                    <a:pt x="2016" y="5724"/>
                    <a:pt x="2013" y="5700"/>
                  </a:cubicBezTo>
                  <a:cubicBezTo>
                    <a:pt x="2009" y="5684"/>
                    <a:pt x="2006" y="5666"/>
                    <a:pt x="2000" y="5653"/>
                  </a:cubicBezTo>
                  <a:cubicBezTo>
                    <a:pt x="1963" y="5572"/>
                    <a:pt x="1861" y="5549"/>
                    <a:pt x="1785" y="5552"/>
                  </a:cubicBezTo>
                  <a:cubicBezTo>
                    <a:pt x="1703" y="5555"/>
                    <a:pt x="1664" y="5582"/>
                    <a:pt x="1624" y="5656"/>
                  </a:cubicBezTo>
                  <a:cubicBezTo>
                    <a:pt x="1604" y="5694"/>
                    <a:pt x="1589" y="5725"/>
                    <a:pt x="1578" y="5766"/>
                  </a:cubicBezTo>
                  <a:cubicBezTo>
                    <a:pt x="1568" y="5801"/>
                    <a:pt x="1550" y="5834"/>
                    <a:pt x="1520" y="5869"/>
                  </a:cubicBezTo>
                  <a:cubicBezTo>
                    <a:pt x="1494" y="5898"/>
                    <a:pt x="1467" y="5931"/>
                    <a:pt x="1472" y="5982"/>
                  </a:cubicBezTo>
                  <a:cubicBezTo>
                    <a:pt x="1476" y="6020"/>
                    <a:pt x="1466" y="6027"/>
                    <a:pt x="1426" y="6050"/>
                  </a:cubicBezTo>
                  <a:cubicBezTo>
                    <a:pt x="1410" y="6058"/>
                    <a:pt x="1395" y="6068"/>
                    <a:pt x="1380" y="6084"/>
                  </a:cubicBezTo>
                  <a:cubicBezTo>
                    <a:pt x="1379" y="6086"/>
                    <a:pt x="1377" y="6088"/>
                    <a:pt x="1375" y="6091"/>
                  </a:cubicBezTo>
                  <a:cubicBezTo>
                    <a:pt x="1370" y="6097"/>
                    <a:pt x="1369" y="6099"/>
                    <a:pt x="1364" y="6097"/>
                  </a:cubicBezTo>
                  <a:cubicBezTo>
                    <a:pt x="1362" y="6097"/>
                    <a:pt x="1359" y="6093"/>
                    <a:pt x="1357" y="6074"/>
                  </a:cubicBezTo>
                  <a:lnTo>
                    <a:pt x="1357" y="6069"/>
                  </a:lnTo>
                  <a:cubicBezTo>
                    <a:pt x="1352" y="6017"/>
                    <a:pt x="1336" y="5989"/>
                    <a:pt x="1308" y="5984"/>
                  </a:cubicBezTo>
                  <a:cubicBezTo>
                    <a:pt x="1280" y="5979"/>
                    <a:pt x="1262" y="6007"/>
                    <a:pt x="1247" y="6032"/>
                  </a:cubicBezTo>
                  <a:cubicBezTo>
                    <a:pt x="1238" y="6043"/>
                    <a:pt x="1232" y="6055"/>
                    <a:pt x="1227" y="6058"/>
                  </a:cubicBezTo>
                  <a:cubicBezTo>
                    <a:pt x="1197" y="6081"/>
                    <a:pt x="1141" y="6088"/>
                    <a:pt x="1112" y="6091"/>
                  </a:cubicBezTo>
                  <a:cubicBezTo>
                    <a:pt x="1108" y="6093"/>
                    <a:pt x="1103" y="6093"/>
                    <a:pt x="1100" y="6093"/>
                  </a:cubicBezTo>
                  <a:cubicBezTo>
                    <a:pt x="1087" y="6093"/>
                    <a:pt x="1069" y="6094"/>
                    <a:pt x="1056" y="6107"/>
                  </a:cubicBezTo>
                  <a:cubicBezTo>
                    <a:pt x="1046" y="6117"/>
                    <a:pt x="1044" y="6130"/>
                    <a:pt x="1041" y="6140"/>
                  </a:cubicBezTo>
                  <a:cubicBezTo>
                    <a:pt x="1039" y="6149"/>
                    <a:pt x="1038" y="6155"/>
                    <a:pt x="1034" y="6160"/>
                  </a:cubicBezTo>
                  <a:cubicBezTo>
                    <a:pt x="1019" y="6180"/>
                    <a:pt x="977" y="6196"/>
                    <a:pt x="953" y="6186"/>
                  </a:cubicBezTo>
                  <a:cubicBezTo>
                    <a:pt x="940" y="6182"/>
                    <a:pt x="930" y="6168"/>
                    <a:pt x="921" y="6154"/>
                  </a:cubicBezTo>
                  <a:cubicBezTo>
                    <a:pt x="914" y="6142"/>
                    <a:pt x="906" y="6130"/>
                    <a:pt x="894" y="6121"/>
                  </a:cubicBezTo>
                  <a:cubicBezTo>
                    <a:pt x="865" y="6097"/>
                    <a:pt x="865" y="6097"/>
                    <a:pt x="871" y="6061"/>
                  </a:cubicBezTo>
                  <a:cubicBezTo>
                    <a:pt x="873" y="6046"/>
                    <a:pt x="874" y="6030"/>
                    <a:pt x="876" y="6017"/>
                  </a:cubicBezTo>
                  <a:cubicBezTo>
                    <a:pt x="879" y="5990"/>
                    <a:pt x="881" y="5966"/>
                    <a:pt x="889" y="5939"/>
                  </a:cubicBezTo>
                  <a:cubicBezTo>
                    <a:pt x="897" y="5913"/>
                    <a:pt x="896" y="5887"/>
                    <a:pt x="894" y="5864"/>
                  </a:cubicBezTo>
                  <a:cubicBezTo>
                    <a:pt x="893" y="5845"/>
                    <a:pt x="891" y="5829"/>
                    <a:pt x="894" y="5812"/>
                  </a:cubicBezTo>
                  <a:cubicBezTo>
                    <a:pt x="896" y="5788"/>
                    <a:pt x="906" y="5763"/>
                    <a:pt x="914" y="5737"/>
                  </a:cubicBezTo>
                  <a:cubicBezTo>
                    <a:pt x="922" y="5717"/>
                    <a:pt x="930" y="5694"/>
                    <a:pt x="934" y="5671"/>
                  </a:cubicBezTo>
                  <a:cubicBezTo>
                    <a:pt x="935" y="5663"/>
                    <a:pt x="939" y="5653"/>
                    <a:pt x="944" y="5641"/>
                  </a:cubicBezTo>
                  <a:cubicBezTo>
                    <a:pt x="953" y="5610"/>
                    <a:pt x="965" y="5574"/>
                    <a:pt x="953" y="5549"/>
                  </a:cubicBezTo>
                  <a:cubicBezTo>
                    <a:pt x="945" y="5526"/>
                    <a:pt x="919" y="5521"/>
                    <a:pt x="899" y="5518"/>
                  </a:cubicBezTo>
                  <a:cubicBezTo>
                    <a:pt x="891" y="5516"/>
                    <a:pt x="884" y="5514"/>
                    <a:pt x="879" y="5513"/>
                  </a:cubicBezTo>
                  <a:cubicBezTo>
                    <a:pt x="850" y="5501"/>
                    <a:pt x="843" y="5488"/>
                    <a:pt x="838" y="5462"/>
                  </a:cubicBezTo>
                  <a:cubicBezTo>
                    <a:pt x="833" y="5429"/>
                    <a:pt x="818" y="5411"/>
                    <a:pt x="804" y="5392"/>
                  </a:cubicBezTo>
                  <a:cubicBezTo>
                    <a:pt x="797" y="5386"/>
                    <a:pt x="790" y="5378"/>
                    <a:pt x="785" y="5369"/>
                  </a:cubicBezTo>
                  <a:cubicBezTo>
                    <a:pt x="771" y="5348"/>
                    <a:pt x="779" y="5328"/>
                    <a:pt x="795" y="5295"/>
                  </a:cubicBezTo>
                  <a:cubicBezTo>
                    <a:pt x="812" y="5261"/>
                    <a:pt x="832" y="5219"/>
                    <a:pt x="789" y="5183"/>
                  </a:cubicBezTo>
                  <a:cubicBezTo>
                    <a:pt x="774" y="5170"/>
                    <a:pt x="753" y="5165"/>
                    <a:pt x="733" y="5160"/>
                  </a:cubicBezTo>
                  <a:cubicBezTo>
                    <a:pt x="715" y="5155"/>
                    <a:pt x="695" y="5150"/>
                    <a:pt x="692" y="5142"/>
                  </a:cubicBezTo>
                  <a:cubicBezTo>
                    <a:pt x="690" y="5139"/>
                    <a:pt x="690" y="5130"/>
                    <a:pt x="703" y="5112"/>
                  </a:cubicBezTo>
                  <a:cubicBezTo>
                    <a:pt x="706" y="5109"/>
                    <a:pt x="708" y="5106"/>
                    <a:pt x="711" y="5104"/>
                  </a:cubicBezTo>
                  <a:cubicBezTo>
                    <a:pt x="718" y="5096"/>
                    <a:pt x="728" y="5086"/>
                    <a:pt x="726" y="5068"/>
                  </a:cubicBezTo>
                  <a:cubicBezTo>
                    <a:pt x="726" y="5053"/>
                    <a:pt x="720" y="5042"/>
                    <a:pt x="713" y="5030"/>
                  </a:cubicBezTo>
                  <a:cubicBezTo>
                    <a:pt x="710" y="5025"/>
                    <a:pt x="708" y="5022"/>
                    <a:pt x="706" y="5018"/>
                  </a:cubicBezTo>
                  <a:cubicBezTo>
                    <a:pt x="700" y="5004"/>
                    <a:pt x="695" y="4989"/>
                    <a:pt x="690" y="4972"/>
                  </a:cubicBezTo>
                  <a:cubicBezTo>
                    <a:pt x="685" y="4957"/>
                    <a:pt x="680" y="4941"/>
                    <a:pt x="675" y="4926"/>
                  </a:cubicBezTo>
                  <a:cubicBezTo>
                    <a:pt x="664" y="4901"/>
                    <a:pt x="647" y="4869"/>
                    <a:pt x="616" y="4854"/>
                  </a:cubicBezTo>
                  <a:cubicBezTo>
                    <a:pt x="593" y="4842"/>
                    <a:pt x="570" y="4845"/>
                    <a:pt x="550" y="4847"/>
                  </a:cubicBezTo>
                  <a:cubicBezTo>
                    <a:pt x="537" y="4849"/>
                    <a:pt x="527" y="4850"/>
                    <a:pt x="515" y="4849"/>
                  </a:cubicBezTo>
                  <a:lnTo>
                    <a:pt x="515" y="4849"/>
                  </a:lnTo>
                  <a:cubicBezTo>
                    <a:pt x="509" y="4849"/>
                    <a:pt x="497" y="4845"/>
                    <a:pt x="494" y="4837"/>
                  </a:cubicBezTo>
                  <a:cubicBezTo>
                    <a:pt x="491" y="4829"/>
                    <a:pt x="496" y="4817"/>
                    <a:pt x="505" y="4808"/>
                  </a:cubicBezTo>
                  <a:cubicBezTo>
                    <a:pt x="510" y="4803"/>
                    <a:pt x="517" y="4796"/>
                    <a:pt x="522" y="4793"/>
                  </a:cubicBezTo>
                  <a:cubicBezTo>
                    <a:pt x="545" y="4771"/>
                    <a:pt x="558" y="4755"/>
                    <a:pt x="538" y="4710"/>
                  </a:cubicBezTo>
                  <a:cubicBezTo>
                    <a:pt x="537" y="4707"/>
                    <a:pt x="535" y="4702"/>
                    <a:pt x="533" y="4697"/>
                  </a:cubicBezTo>
                  <a:cubicBezTo>
                    <a:pt x="527" y="4679"/>
                    <a:pt x="520" y="4658"/>
                    <a:pt x="505" y="4648"/>
                  </a:cubicBezTo>
                  <a:cubicBezTo>
                    <a:pt x="502" y="4644"/>
                    <a:pt x="499" y="4641"/>
                    <a:pt x="494" y="4640"/>
                  </a:cubicBezTo>
                  <a:cubicBezTo>
                    <a:pt x="489" y="4640"/>
                    <a:pt x="486" y="4638"/>
                    <a:pt x="481" y="4640"/>
                  </a:cubicBezTo>
                  <a:cubicBezTo>
                    <a:pt x="471" y="4640"/>
                    <a:pt x="459" y="4644"/>
                    <a:pt x="449" y="4648"/>
                  </a:cubicBezTo>
                  <a:cubicBezTo>
                    <a:pt x="444" y="4651"/>
                    <a:pt x="439" y="4653"/>
                    <a:pt x="435" y="4653"/>
                  </a:cubicBezTo>
                  <a:cubicBezTo>
                    <a:pt x="415" y="4658"/>
                    <a:pt x="393" y="4656"/>
                    <a:pt x="369" y="4651"/>
                  </a:cubicBezTo>
                  <a:cubicBezTo>
                    <a:pt x="355" y="4648"/>
                    <a:pt x="342" y="4640"/>
                    <a:pt x="327" y="4631"/>
                  </a:cubicBezTo>
                  <a:cubicBezTo>
                    <a:pt x="308" y="4621"/>
                    <a:pt x="288" y="4610"/>
                    <a:pt x="265" y="4607"/>
                  </a:cubicBezTo>
                  <a:cubicBezTo>
                    <a:pt x="248" y="4607"/>
                    <a:pt x="232" y="4610"/>
                    <a:pt x="217" y="4613"/>
                  </a:cubicBezTo>
                  <a:cubicBezTo>
                    <a:pt x="194" y="4620"/>
                    <a:pt x="174" y="4623"/>
                    <a:pt x="158" y="4612"/>
                  </a:cubicBezTo>
                  <a:cubicBezTo>
                    <a:pt x="138" y="4598"/>
                    <a:pt x="143" y="4580"/>
                    <a:pt x="153" y="4551"/>
                  </a:cubicBezTo>
                  <a:cubicBezTo>
                    <a:pt x="154" y="4544"/>
                    <a:pt x="156" y="4539"/>
                    <a:pt x="158" y="4532"/>
                  </a:cubicBezTo>
                  <a:cubicBezTo>
                    <a:pt x="164" y="4511"/>
                    <a:pt x="161" y="4500"/>
                    <a:pt x="158" y="4483"/>
                  </a:cubicBezTo>
                  <a:lnTo>
                    <a:pt x="156" y="4475"/>
                  </a:lnTo>
                  <a:cubicBezTo>
                    <a:pt x="153" y="4455"/>
                    <a:pt x="156" y="4450"/>
                    <a:pt x="168" y="4434"/>
                  </a:cubicBezTo>
                  <a:lnTo>
                    <a:pt x="169" y="4430"/>
                  </a:lnTo>
                  <a:cubicBezTo>
                    <a:pt x="176" y="4424"/>
                    <a:pt x="179" y="4414"/>
                    <a:pt x="184" y="4406"/>
                  </a:cubicBezTo>
                  <a:cubicBezTo>
                    <a:pt x="187" y="4399"/>
                    <a:pt x="191" y="4391"/>
                    <a:pt x="196" y="4384"/>
                  </a:cubicBezTo>
                  <a:cubicBezTo>
                    <a:pt x="199" y="4379"/>
                    <a:pt x="204" y="4376"/>
                    <a:pt x="207" y="4371"/>
                  </a:cubicBezTo>
                  <a:cubicBezTo>
                    <a:pt x="214" y="4364"/>
                    <a:pt x="222" y="4358"/>
                    <a:pt x="227" y="4348"/>
                  </a:cubicBezTo>
                  <a:cubicBezTo>
                    <a:pt x="245" y="4312"/>
                    <a:pt x="222" y="4285"/>
                    <a:pt x="204" y="4267"/>
                  </a:cubicBezTo>
                  <a:cubicBezTo>
                    <a:pt x="196" y="4257"/>
                    <a:pt x="187" y="4251"/>
                    <a:pt x="183" y="4243"/>
                  </a:cubicBezTo>
                  <a:cubicBezTo>
                    <a:pt x="176" y="4229"/>
                    <a:pt x="178" y="4215"/>
                    <a:pt x="178" y="4198"/>
                  </a:cubicBezTo>
                  <a:cubicBezTo>
                    <a:pt x="179" y="4183"/>
                    <a:pt x="179" y="4167"/>
                    <a:pt x="173" y="4150"/>
                  </a:cubicBezTo>
                  <a:cubicBezTo>
                    <a:pt x="168" y="4134"/>
                    <a:pt x="156" y="4121"/>
                    <a:pt x="146" y="4111"/>
                  </a:cubicBezTo>
                  <a:cubicBezTo>
                    <a:pt x="135" y="4098"/>
                    <a:pt x="125" y="4086"/>
                    <a:pt x="123" y="4068"/>
                  </a:cubicBezTo>
                  <a:cubicBezTo>
                    <a:pt x="122" y="4053"/>
                    <a:pt x="126" y="4037"/>
                    <a:pt x="130" y="4020"/>
                  </a:cubicBezTo>
                  <a:cubicBezTo>
                    <a:pt x="136" y="3999"/>
                    <a:pt x="141" y="3976"/>
                    <a:pt x="136" y="3953"/>
                  </a:cubicBezTo>
                  <a:cubicBezTo>
                    <a:pt x="130" y="3920"/>
                    <a:pt x="107" y="3906"/>
                    <a:pt x="89" y="3895"/>
                  </a:cubicBezTo>
                  <a:cubicBezTo>
                    <a:pt x="80" y="3890"/>
                    <a:pt x="70" y="3885"/>
                    <a:pt x="64" y="3878"/>
                  </a:cubicBezTo>
                  <a:cubicBezTo>
                    <a:pt x="56" y="3870"/>
                    <a:pt x="51" y="3864"/>
                    <a:pt x="51" y="3857"/>
                  </a:cubicBezTo>
                  <a:cubicBezTo>
                    <a:pt x="51" y="3837"/>
                    <a:pt x="82" y="3813"/>
                    <a:pt x="105" y="3793"/>
                  </a:cubicBezTo>
                  <a:cubicBezTo>
                    <a:pt x="128" y="3775"/>
                    <a:pt x="148" y="3760"/>
                    <a:pt x="154" y="3742"/>
                  </a:cubicBezTo>
                  <a:cubicBezTo>
                    <a:pt x="164" y="3719"/>
                    <a:pt x="158" y="3687"/>
                    <a:pt x="153" y="3658"/>
                  </a:cubicBezTo>
                  <a:cubicBezTo>
                    <a:pt x="150" y="3641"/>
                    <a:pt x="146" y="3625"/>
                    <a:pt x="146" y="3610"/>
                  </a:cubicBezTo>
                  <a:lnTo>
                    <a:pt x="146" y="3607"/>
                  </a:lnTo>
                  <a:cubicBezTo>
                    <a:pt x="150" y="3556"/>
                    <a:pt x="151" y="3508"/>
                    <a:pt x="145" y="3457"/>
                  </a:cubicBezTo>
                  <a:lnTo>
                    <a:pt x="143" y="3440"/>
                  </a:lnTo>
                  <a:cubicBezTo>
                    <a:pt x="131" y="3358"/>
                    <a:pt x="120" y="3266"/>
                    <a:pt x="77" y="3191"/>
                  </a:cubicBezTo>
                  <a:cubicBezTo>
                    <a:pt x="61" y="3162"/>
                    <a:pt x="39" y="3137"/>
                    <a:pt x="18" y="3114"/>
                  </a:cubicBezTo>
                  <a:cubicBezTo>
                    <a:pt x="11" y="3107"/>
                    <a:pt x="6" y="3103"/>
                    <a:pt x="0" y="3094"/>
                  </a:cubicBezTo>
                  <a:cubicBezTo>
                    <a:pt x="11" y="3086"/>
                    <a:pt x="24" y="3078"/>
                    <a:pt x="39" y="3074"/>
                  </a:cubicBezTo>
                  <a:cubicBezTo>
                    <a:pt x="70" y="3068"/>
                    <a:pt x="92" y="3053"/>
                    <a:pt x="112" y="3038"/>
                  </a:cubicBezTo>
                  <a:cubicBezTo>
                    <a:pt x="122" y="3032"/>
                    <a:pt x="133" y="3023"/>
                    <a:pt x="146" y="3017"/>
                  </a:cubicBezTo>
                  <a:cubicBezTo>
                    <a:pt x="150" y="3015"/>
                    <a:pt x="153" y="3014"/>
                    <a:pt x="156" y="3012"/>
                  </a:cubicBezTo>
                  <a:cubicBezTo>
                    <a:pt x="169" y="3005"/>
                    <a:pt x="183" y="2999"/>
                    <a:pt x="194" y="2984"/>
                  </a:cubicBezTo>
                  <a:cubicBezTo>
                    <a:pt x="197" y="2977"/>
                    <a:pt x="201" y="2971"/>
                    <a:pt x="204" y="2964"/>
                  </a:cubicBezTo>
                  <a:cubicBezTo>
                    <a:pt x="209" y="2953"/>
                    <a:pt x="211" y="2948"/>
                    <a:pt x="224" y="2944"/>
                  </a:cubicBezTo>
                  <a:cubicBezTo>
                    <a:pt x="234" y="2941"/>
                    <a:pt x="247" y="2944"/>
                    <a:pt x="260" y="2946"/>
                  </a:cubicBezTo>
                  <a:cubicBezTo>
                    <a:pt x="281" y="2949"/>
                    <a:pt x="308" y="2954"/>
                    <a:pt x="332" y="2933"/>
                  </a:cubicBezTo>
                  <a:cubicBezTo>
                    <a:pt x="365" y="2903"/>
                    <a:pt x="347" y="2865"/>
                    <a:pt x="334" y="2837"/>
                  </a:cubicBezTo>
                  <a:cubicBezTo>
                    <a:pt x="331" y="2831"/>
                    <a:pt x="327" y="2826"/>
                    <a:pt x="324" y="2819"/>
                  </a:cubicBezTo>
                  <a:cubicBezTo>
                    <a:pt x="313" y="2791"/>
                    <a:pt x="327" y="2776"/>
                    <a:pt x="357" y="2752"/>
                  </a:cubicBezTo>
                  <a:lnTo>
                    <a:pt x="362" y="2747"/>
                  </a:lnTo>
                  <a:cubicBezTo>
                    <a:pt x="374" y="2738"/>
                    <a:pt x="387" y="2729"/>
                    <a:pt x="388" y="2707"/>
                  </a:cubicBezTo>
                  <a:cubicBezTo>
                    <a:pt x="390" y="2696"/>
                    <a:pt x="387" y="2686"/>
                    <a:pt x="383" y="2676"/>
                  </a:cubicBezTo>
                  <a:cubicBezTo>
                    <a:pt x="380" y="2669"/>
                    <a:pt x="379" y="2661"/>
                    <a:pt x="379" y="2654"/>
                  </a:cubicBezTo>
                  <a:cubicBezTo>
                    <a:pt x="383" y="2631"/>
                    <a:pt x="415" y="2610"/>
                    <a:pt x="436" y="2593"/>
                  </a:cubicBezTo>
                  <a:lnTo>
                    <a:pt x="446" y="2587"/>
                  </a:lnTo>
                  <a:cubicBezTo>
                    <a:pt x="479" y="2562"/>
                    <a:pt x="510" y="2537"/>
                    <a:pt x="540" y="2514"/>
                  </a:cubicBezTo>
                  <a:lnTo>
                    <a:pt x="565" y="2495"/>
                  </a:lnTo>
                  <a:cubicBezTo>
                    <a:pt x="586" y="2476"/>
                    <a:pt x="598" y="2460"/>
                    <a:pt x="598" y="2442"/>
                  </a:cubicBezTo>
                  <a:cubicBezTo>
                    <a:pt x="598" y="2416"/>
                    <a:pt x="573" y="2397"/>
                    <a:pt x="548" y="2378"/>
                  </a:cubicBezTo>
                  <a:cubicBezTo>
                    <a:pt x="528" y="2363"/>
                    <a:pt x="507" y="2346"/>
                    <a:pt x="502" y="2328"/>
                  </a:cubicBezTo>
                  <a:cubicBezTo>
                    <a:pt x="496" y="2308"/>
                    <a:pt x="496" y="2287"/>
                    <a:pt x="494" y="2264"/>
                  </a:cubicBezTo>
                  <a:cubicBezTo>
                    <a:pt x="494" y="2243"/>
                    <a:pt x="492" y="2219"/>
                    <a:pt x="486" y="2196"/>
                  </a:cubicBezTo>
                  <a:cubicBezTo>
                    <a:pt x="474" y="2155"/>
                    <a:pt x="446" y="2135"/>
                    <a:pt x="420" y="2117"/>
                  </a:cubicBezTo>
                  <a:cubicBezTo>
                    <a:pt x="411" y="2112"/>
                    <a:pt x="403" y="2106"/>
                    <a:pt x="395" y="2099"/>
                  </a:cubicBezTo>
                  <a:cubicBezTo>
                    <a:pt x="380" y="2088"/>
                    <a:pt x="375" y="2073"/>
                    <a:pt x="367" y="2056"/>
                  </a:cubicBezTo>
                  <a:cubicBezTo>
                    <a:pt x="362" y="2042"/>
                    <a:pt x="355" y="2027"/>
                    <a:pt x="342" y="2012"/>
                  </a:cubicBezTo>
                  <a:lnTo>
                    <a:pt x="336" y="2005"/>
                  </a:lnTo>
                  <a:cubicBezTo>
                    <a:pt x="316" y="1982"/>
                    <a:pt x="304" y="1969"/>
                    <a:pt x="303" y="1936"/>
                  </a:cubicBezTo>
                  <a:cubicBezTo>
                    <a:pt x="301" y="1926"/>
                    <a:pt x="303" y="1916"/>
                    <a:pt x="304" y="1906"/>
                  </a:cubicBezTo>
                  <a:cubicBezTo>
                    <a:pt x="306" y="1882"/>
                    <a:pt x="308" y="1855"/>
                    <a:pt x="285" y="1831"/>
                  </a:cubicBezTo>
                  <a:cubicBezTo>
                    <a:pt x="257" y="1801"/>
                    <a:pt x="247" y="1783"/>
                    <a:pt x="267" y="1745"/>
                  </a:cubicBezTo>
                  <a:cubicBezTo>
                    <a:pt x="268" y="1742"/>
                    <a:pt x="271" y="1737"/>
                    <a:pt x="273" y="1734"/>
                  </a:cubicBezTo>
                  <a:cubicBezTo>
                    <a:pt x="281" y="1722"/>
                    <a:pt x="290" y="1710"/>
                    <a:pt x="290" y="1692"/>
                  </a:cubicBezTo>
                  <a:cubicBezTo>
                    <a:pt x="290" y="1682"/>
                    <a:pt x="285" y="1674"/>
                    <a:pt x="283" y="1668"/>
                  </a:cubicBezTo>
                  <a:cubicBezTo>
                    <a:pt x="280" y="1661"/>
                    <a:pt x="276" y="1656"/>
                    <a:pt x="278" y="1651"/>
                  </a:cubicBezTo>
                  <a:cubicBezTo>
                    <a:pt x="281" y="1638"/>
                    <a:pt x="291" y="1625"/>
                    <a:pt x="303" y="1612"/>
                  </a:cubicBezTo>
                  <a:cubicBezTo>
                    <a:pt x="316" y="1618"/>
                    <a:pt x="329" y="1621"/>
                    <a:pt x="341" y="1623"/>
                  </a:cubicBezTo>
                  <a:cubicBezTo>
                    <a:pt x="380" y="1630"/>
                    <a:pt x="397" y="1618"/>
                    <a:pt x="407" y="1582"/>
                  </a:cubicBezTo>
                  <a:cubicBezTo>
                    <a:pt x="411" y="1557"/>
                    <a:pt x="410" y="1524"/>
                    <a:pt x="435" y="1551"/>
                  </a:cubicBezTo>
                  <a:cubicBezTo>
                    <a:pt x="454" y="1574"/>
                    <a:pt x="469" y="1603"/>
                    <a:pt x="472" y="1633"/>
                  </a:cubicBezTo>
                  <a:cubicBezTo>
                    <a:pt x="476" y="1658"/>
                    <a:pt x="474" y="1686"/>
                    <a:pt x="492" y="1707"/>
                  </a:cubicBezTo>
                  <a:cubicBezTo>
                    <a:pt x="499" y="1714"/>
                    <a:pt x="515" y="1730"/>
                    <a:pt x="519" y="1715"/>
                  </a:cubicBezTo>
                  <a:cubicBezTo>
                    <a:pt x="520" y="1705"/>
                    <a:pt x="504" y="1691"/>
                    <a:pt x="499" y="1684"/>
                  </a:cubicBezTo>
                  <a:cubicBezTo>
                    <a:pt x="482" y="1654"/>
                    <a:pt x="500" y="1646"/>
                    <a:pt x="527" y="1631"/>
                  </a:cubicBezTo>
                  <a:cubicBezTo>
                    <a:pt x="560" y="1615"/>
                    <a:pt x="589" y="1597"/>
                    <a:pt x="619" y="1577"/>
                  </a:cubicBezTo>
                  <a:cubicBezTo>
                    <a:pt x="644" y="1559"/>
                    <a:pt x="667" y="1557"/>
                    <a:pt x="695" y="1552"/>
                  </a:cubicBezTo>
                  <a:cubicBezTo>
                    <a:pt x="720" y="1547"/>
                    <a:pt x="741" y="1541"/>
                    <a:pt x="766" y="1549"/>
                  </a:cubicBezTo>
                  <a:cubicBezTo>
                    <a:pt x="781" y="1554"/>
                    <a:pt x="797" y="1554"/>
                    <a:pt x="812" y="1551"/>
                  </a:cubicBezTo>
                  <a:cubicBezTo>
                    <a:pt x="840" y="1544"/>
                    <a:pt x="873" y="1533"/>
                    <a:pt x="899" y="1523"/>
                  </a:cubicBezTo>
                  <a:cubicBezTo>
                    <a:pt x="919" y="1516"/>
                    <a:pt x="980" y="1493"/>
                    <a:pt x="975" y="1537"/>
                  </a:cubicBezTo>
                  <a:cubicBezTo>
                    <a:pt x="973" y="1547"/>
                    <a:pt x="952" y="1559"/>
                    <a:pt x="949" y="1567"/>
                  </a:cubicBezTo>
                  <a:cubicBezTo>
                    <a:pt x="942" y="1579"/>
                    <a:pt x="942" y="1587"/>
                    <a:pt x="947" y="1598"/>
                  </a:cubicBezTo>
                  <a:cubicBezTo>
                    <a:pt x="955" y="1620"/>
                    <a:pt x="975" y="1645"/>
                    <a:pt x="996" y="1649"/>
                  </a:cubicBezTo>
                  <a:cubicBezTo>
                    <a:pt x="1016" y="1653"/>
                    <a:pt x="1052" y="1658"/>
                    <a:pt x="1072" y="1653"/>
                  </a:cubicBezTo>
                  <a:cubicBezTo>
                    <a:pt x="1095" y="1646"/>
                    <a:pt x="1103" y="1602"/>
                    <a:pt x="1125" y="1613"/>
                  </a:cubicBezTo>
                  <a:cubicBezTo>
                    <a:pt x="1133" y="1617"/>
                    <a:pt x="1140" y="1636"/>
                    <a:pt x="1150" y="1641"/>
                  </a:cubicBezTo>
                  <a:cubicBezTo>
                    <a:pt x="1158" y="1648"/>
                    <a:pt x="1168" y="1649"/>
                    <a:pt x="1179" y="1649"/>
                  </a:cubicBezTo>
                  <a:cubicBezTo>
                    <a:pt x="1209" y="1651"/>
                    <a:pt x="1242" y="1631"/>
                    <a:pt x="1266" y="1618"/>
                  </a:cubicBezTo>
                  <a:cubicBezTo>
                    <a:pt x="1273" y="1613"/>
                    <a:pt x="1283" y="1607"/>
                    <a:pt x="1291" y="1605"/>
                  </a:cubicBezTo>
                  <a:cubicBezTo>
                    <a:pt x="1304" y="1602"/>
                    <a:pt x="1316" y="1612"/>
                    <a:pt x="1329" y="1608"/>
                  </a:cubicBezTo>
                  <a:cubicBezTo>
                    <a:pt x="1337" y="1607"/>
                    <a:pt x="1342" y="1603"/>
                    <a:pt x="1349" y="1600"/>
                  </a:cubicBezTo>
                  <a:cubicBezTo>
                    <a:pt x="1357" y="1595"/>
                    <a:pt x="1364" y="1589"/>
                    <a:pt x="1372" y="1585"/>
                  </a:cubicBezTo>
                  <a:cubicBezTo>
                    <a:pt x="1374" y="1585"/>
                    <a:pt x="1375" y="1585"/>
                    <a:pt x="1377" y="1585"/>
                  </a:cubicBezTo>
                  <a:cubicBezTo>
                    <a:pt x="1387" y="1580"/>
                    <a:pt x="1392" y="1580"/>
                    <a:pt x="1400" y="1572"/>
                  </a:cubicBezTo>
                  <a:cubicBezTo>
                    <a:pt x="1410" y="1564"/>
                    <a:pt x="1415" y="1552"/>
                    <a:pt x="1420" y="1541"/>
                  </a:cubicBezTo>
                  <a:cubicBezTo>
                    <a:pt x="1421" y="1531"/>
                    <a:pt x="1423" y="1523"/>
                    <a:pt x="1421" y="1513"/>
                  </a:cubicBezTo>
                  <a:lnTo>
                    <a:pt x="1421" y="1513"/>
                  </a:lnTo>
                  <a:cubicBezTo>
                    <a:pt x="1421" y="1511"/>
                    <a:pt x="1421" y="1511"/>
                    <a:pt x="1421" y="1509"/>
                  </a:cubicBezTo>
                  <a:cubicBezTo>
                    <a:pt x="1415" y="1472"/>
                    <a:pt x="1314" y="1374"/>
                    <a:pt x="1355" y="1346"/>
                  </a:cubicBezTo>
                  <a:cubicBezTo>
                    <a:pt x="1365" y="1340"/>
                    <a:pt x="1370" y="1346"/>
                    <a:pt x="1380" y="1335"/>
                  </a:cubicBezTo>
                  <a:cubicBezTo>
                    <a:pt x="1383" y="1330"/>
                    <a:pt x="1390" y="1312"/>
                    <a:pt x="1393" y="1305"/>
                  </a:cubicBezTo>
                  <a:cubicBezTo>
                    <a:pt x="1400" y="1297"/>
                    <a:pt x="1410" y="1289"/>
                    <a:pt x="1413" y="1277"/>
                  </a:cubicBezTo>
                  <a:cubicBezTo>
                    <a:pt x="1418" y="1262"/>
                    <a:pt x="1407" y="1249"/>
                    <a:pt x="1410" y="1234"/>
                  </a:cubicBezTo>
                  <a:cubicBezTo>
                    <a:pt x="1410" y="1233"/>
                    <a:pt x="1416" y="1234"/>
                    <a:pt x="1416" y="1234"/>
                  </a:cubicBezTo>
                  <a:cubicBezTo>
                    <a:pt x="1420" y="1236"/>
                    <a:pt x="1421" y="1238"/>
                    <a:pt x="1423" y="1241"/>
                  </a:cubicBezTo>
                  <a:cubicBezTo>
                    <a:pt x="1426" y="1248"/>
                    <a:pt x="1430" y="1256"/>
                    <a:pt x="1433" y="1262"/>
                  </a:cubicBezTo>
                  <a:cubicBezTo>
                    <a:pt x="1435" y="1272"/>
                    <a:pt x="1439" y="1284"/>
                    <a:pt x="1448" y="1290"/>
                  </a:cubicBezTo>
                  <a:cubicBezTo>
                    <a:pt x="1451" y="1294"/>
                    <a:pt x="1456" y="1294"/>
                    <a:pt x="1461" y="1292"/>
                  </a:cubicBezTo>
                  <a:cubicBezTo>
                    <a:pt x="1466" y="1290"/>
                    <a:pt x="1472" y="1282"/>
                    <a:pt x="1479" y="1284"/>
                  </a:cubicBezTo>
                  <a:cubicBezTo>
                    <a:pt x="1486" y="1285"/>
                    <a:pt x="1489" y="1289"/>
                    <a:pt x="1492" y="1292"/>
                  </a:cubicBezTo>
                  <a:cubicBezTo>
                    <a:pt x="1497" y="1295"/>
                    <a:pt x="1502" y="1297"/>
                    <a:pt x="1507" y="1299"/>
                  </a:cubicBezTo>
                  <a:cubicBezTo>
                    <a:pt x="1519" y="1302"/>
                    <a:pt x="1528" y="1305"/>
                    <a:pt x="1538" y="1308"/>
                  </a:cubicBezTo>
                  <a:cubicBezTo>
                    <a:pt x="1568" y="1317"/>
                    <a:pt x="1563" y="1313"/>
                    <a:pt x="1586" y="1304"/>
                  </a:cubicBezTo>
                  <a:cubicBezTo>
                    <a:pt x="1608" y="1294"/>
                    <a:pt x="1614" y="1307"/>
                    <a:pt x="1624" y="1312"/>
                  </a:cubicBezTo>
                  <a:cubicBezTo>
                    <a:pt x="1627" y="1313"/>
                    <a:pt x="1632" y="1315"/>
                    <a:pt x="1637" y="1315"/>
                  </a:cubicBezTo>
                  <a:cubicBezTo>
                    <a:pt x="1644" y="1313"/>
                    <a:pt x="1649" y="1310"/>
                    <a:pt x="1650" y="1305"/>
                  </a:cubicBezTo>
                  <a:cubicBezTo>
                    <a:pt x="1657" y="1294"/>
                    <a:pt x="1657" y="1274"/>
                    <a:pt x="1664" y="1264"/>
                  </a:cubicBezTo>
                  <a:cubicBezTo>
                    <a:pt x="1701" y="1201"/>
                    <a:pt x="1777" y="1276"/>
                    <a:pt x="1822" y="1276"/>
                  </a:cubicBezTo>
                  <a:cubicBezTo>
                    <a:pt x="1848" y="1276"/>
                    <a:pt x="1868" y="1274"/>
                    <a:pt x="1883" y="1302"/>
                  </a:cubicBezTo>
                  <a:cubicBezTo>
                    <a:pt x="1891" y="1315"/>
                    <a:pt x="1893" y="1330"/>
                    <a:pt x="1896" y="1343"/>
                  </a:cubicBezTo>
                  <a:cubicBezTo>
                    <a:pt x="1899" y="1351"/>
                    <a:pt x="1902" y="1360"/>
                    <a:pt x="1909" y="1366"/>
                  </a:cubicBezTo>
                  <a:cubicBezTo>
                    <a:pt x="1911" y="1366"/>
                    <a:pt x="1911" y="1366"/>
                    <a:pt x="1911" y="1366"/>
                  </a:cubicBezTo>
                  <a:cubicBezTo>
                    <a:pt x="1917" y="1374"/>
                    <a:pt x="1932" y="1384"/>
                    <a:pt x="1939" y="1389"/>
                  </a:cubicBezTo>
                  <a:cubicBezTo>
                    <a:pt x="1942" y="1391"/>
                    <a:pt x="1958" y="1397"/>
                    <a:pt x="1958" y="1399"/>
                  </a:cubicBezTo>
                  <a:cubicBezTo>
                    <a:pt x="1975" y="1416"/>
                    <a:pt x="1963" y="1422"/>
                    <a:pt x="1953" y="1445"/>
                  </a:cubicBezTo>
                  <a:cubicBezTo>
                    <a:pt x="1950" y="1452"/>
                    <a:pt x="1945" y="1462"/>
                    <a:pt x="1945" y="1472"/>
                  </a:cubicBezTo>
                  <a:cubicBezTo>
                    <a:pt x="1945" y="1477"/>
                    <a:pt x="1947" y="1481"/>
                    <a:pt x="1952" y="1485"/>
                  </a:cubicBezTo>
                  <a:cubicBezTo>
                    <a:pt x="1957" y="1491"/>
                    <a:pt x="1960" y="1491"/>
                    <a:pt x="1965" y="1490"/>
                  </a:cubicBezTo>
                  <a:cubicBezTo>
                    <a:pt x="1965" y="1491"/>
                    <a:pt x="1965" y="1491"/>
                    <a:pt x="1965" y="1491"/>
                  </a:cubicBezTo>
                  <a:cubicBezTo>
                    <a:pt x="1970" y="1490"/>
                    <a:pt x="1975" y="1486"/>
                    <a:pt x="1981" y="1486"/>
                  </a:cubicBezTo>
                  <a:cubicBezTo>
                    <a:pt x="2009" y="1485"/>
                    <a:pt x="2031" y="1495"/>
                    <a:pt x="2046" y="1519"/>
                  </a:cubicBezTo>
                  <a:cubicBezTo>
                    <a:pt x="2065" y="1546"/>
                    <a:pt x="2059" y="1579"/>
                    <a:pt x="2031" y="1597"/>
                  </a:cubicBezTo>
                  <a:cubicBezTo>
                    <a:pt x="2021" y="1603"/>
                    <a:pt x="2001" y="1603"/>
                    <a:pt x="1988" y="1608"/>
                  </a:cubicBezTo>
                  <a:cubicBezTo>
                    <a:pt x="1981" y="1610"/>
                    <a:pt x="1975" y="1613"/>
                    <a:pt x="1973" y="1620"/>
                  </a:cubicBezTo>
                  <a:cubicBezTo>
                    <a:pt x="1973" y="1623"/>
                    <a:pt x="1973" y="1626"/>
                    <a:pt x="1973" y="1630"/>
                  </a:cubicBezTo>
                  <a:cubicBezTo>
                    <a:pt x="1981" y="1663"/>
                    <a:pt x="2064" y="1686"/>
                    <a:pt x="2077" y="1710"/>
                  </a:cubicBezTo>
                  <a:cubicBezTo>
                    <a:pt x="2085" y="1725"/>
                    <a:pt x="2084" y="1737"/>
                    <a:pt x="2102" y="1748"/>
                  </a:cubicBezTo>
                  <a:cubicBezTo>
                    <a:pt x="2113" y="1755"/>
                    <a:pt x="2130" y="1753"/>
                    <a:pt x="2143" y="1760"/>
                  </a:cubicBezTo>
                  <a:cubicBezTo>
                    <a:pt x="2156" y="1766"/>
                    <a:pt x="2159" y="1778"/>
                    <a:pt x="2171" y="1788"/>
                  </a:cubicBezTo>
                  <a:cubicBezTo>
                    <a:pt x="2182" y="1799"/>
                    <a:pt x="2196" y="1804"/>
                    <a:pt x="2209" y="1814"/>
                  </a:cubicBezTo>
                  <a:cubicBezTo>
                    <a:pt x="2222" y="1826"/>
                    <a:pt x="2229" y="1837"/>
                    <a:pt x="2247" y="1842"/>
                  </a:cubicBezTo>
                  <a:cubicBezTo>
                    <a:pt x="2265" y="1849"/>
                    <a:pt x="2281" y="1847"/>
                    <a:pt x="2298" y="1855"/>
                  </a:cubicBezTo>
                  <a:cubicBezTo>
                    <a:pt x="2311" y="1860"/>
                    <a:pt x="2322" y="1869"/>
                    <a:pt x="2337" y="1867"/>
                  </a:cubicBezTo>
                  <a:cubicBezTo>
                    <a:pt x="2347" y="1865"/>
                    <a:pt x="2354" y="1855"/>
                    <a:pt x="2365" y="1859"/>
                  </a:cubicBezTo>
                  <a:cubicBezTo>
                    <a:pt x="2383" y="1865"/>
                    <a:pt x="2393" y="1903"/>
                    <a:pt x="2421" y="1880"/>
                  </a:cubicBezTo>
                  <a:cubicBezTo>
                    <a:pt x="2439" y="1867"/>
                    <a:pt x="2435" y="1831"/>
                    <a:pt x="2433" y="1813"/>
                  </a:cubicBezTo>
                  <a:cubicBezTo>
                    <a:pt x="2426" y="1757"/>
                    <a:pt x="2423" y="1697"/>
                    <a:pt x="2407" y="1645"/>
                  </a:cubicBezTo>
                  <a:cubicBezTo>
                    <a:pt x="2398" y="1620"/>
                    <a:pt x="2347" y="1500"/>
                    <a:pt x="2395" y="1493"/>
                  </a:cubicBezTo>
                  <a:cubicBezTo>
                    <a:pt x="2413" y="1491"/>
                    <a:pt x="2441" y="1519"/>
                    <a:pt x="2454" y="1531"/>
                  </a:cubicBezTo>
                  <a:cubicBezTo>
                    <a:pt x="2477" y="1549"/>
                    <a:pt x="2500" y="1559"/>
                    <a:pt x="2530" y="1565"/>
                  </a:cubicBezTo>
                  <a:cubicBezTo>
                    <a:pt x="2565" y="1572"/>
                    <a:pt x="2589" y="1565"/>
                    <a:pt x="2622" y="1556"/>
                  </a:cubicBezTo>
                  <a:cubicBezTo>
                    <a:pt x="2655" y="1547"/>
                    <a:pt x="2652" y="1549"/>
                    <a:pt x="2644" y="1521"/>
                  </a:cubicBezTo>
                  <a:cubicBezTo>
                    <a:pt x="2629" y="1468"/>
                    <a:pt x="2700" y="1399"/>
                    <a:pt x="2748" y="1388"/>
                  </a:cubicBezTo>
                  <a:cubicBezTo>
                    <a:pt x="2795" y="1378"/>
                    <a:pt x="2879" y="1383"/>
                    <a:pt x="2922" y="1406"/>
                  </a:cubicBezTo>
                  <a:cubicBezTo>
                    <a:pt x="2940" y="1417"/>
                    <a:pt x="2978" y="1425"/>
                    <a:pt x="2968" y="1384"/>
                  </a:cubicBezTo>
                  <a:cubicBezTo>
                    <a:pt x="2963" y="1361"/>
                    <a:pt x="2929" y="1351"/>
                    <a:pt x="2914" y="1336"/>
                  </a:cubicBezTo>
                  <a:cubicBezTo>
                    <a:pt x="2879" y="1300"/>
                    <a:pt x="2947" y="1243"/>
                    <a:pt x="2986" y="1252"/>
                  </a:cubicBezTo>
                  <a:cubicBezTo>
                    <a:pt x="3006" y="1257"/>
                    <a:pt x="3009" y="1271"/>
                    <a:pt x="3033" y="1262"/>
                  </a:cubicBezTo>
                  <a:cubicBezTo>
                    <a:pt x="3042" y="1259"/>
                    <a:pt x="3054" y="1249"/>
                    <a:pt x="3064" y="1243"/>
                  </a:cubicBezTo>
                  <a:cubicBezTo>
                    <a:pt x="3092" y="1228"/>
                    <a:pt x="3090" y="1223"/>
                    <a:pt x="3062" y="1200"/>
                  </a:cubicBezTo>
                  <a:cubicBezTo>
                    <a:pt x="3018" y="1160"/>
                    <a:pt x="2950" y="1119"/>
                    <a:pt x="2963" y="1053"/>
                  </a:cubicBezTo>
                  <a:cubicBezTo>
                    <a:pt x="2980" y="958"/>
                    <a:pt x="2919" y="1075"/>
                    <a:pt x="2904" y="1076"/>
                  </a:cubicBezTo>
                  <a:cubicBezTo>
                    <a:pt x="2876" y="1081"/>
                    <a:pt x="2860" y="1037"/>
                    <a:pt x="2860" y="1017"/>
                  </a:cubicBezTo>
                  <a:cubicBezTo>
                    <a:pt x="2860" y="992"/>
                    <a:pt x="2873" y="977"/>
                    <a:pt x="2889" y="963"/>
                  </a:cubicBezTo>
                  <a:cubicBezTo>
                    <a:pt x="2916" y="939"/>
                    <a:pt x="2981" y="908"/>
                    <a:pt x="2960" y="864"/>
                  </a:cubicBezTo>
                  <a:cubicBezTo>
                    <a:pt x="2949" y="839"/>
                    <a:pt x="2904" y="844"/>
                    <a:pt x="2896" y="816"/>
                  </a:cubicBezTo>
                  <a:cubicBezTo>
                    <a:pt x="2888" y="788"/>
                    <a:pt x="2924" y="785"/>
                    <a:pt x="2944" y="785"/>
                  </a:cubicBezTo>
                  <a:cubicBezTo>
                    <a:pt x="2986" y="783"/>
                    <a:pt x="3016" y="781"/>
                    <a:pt x="3052" y="758"/>
                  </a:cubicBezTo>
                  <a:cubicBezTo>
                    <a:pt x="3084" y="738"/>
                    <a:pt x="3112" y="717"/>
                    <a:pt x="3143" y="697"/>
                  </a:cubicBezTo>
                  <a:cubicBezTo>
                    <a:pt x="3205" y="658"/>
                    <a:pt x="3283" y="626"/>
                    <a:pt x="3354" y="603"/>
                  </a:cubicBezTo>
                  <a:cubicBezTo>
                    <a:pt x="3369" y="598"/>
                    <a:pt x="3416" y="579"/>
                    <a:pt x="3428" y="598"/>
                  </a:cubicBezTo>
                  <a:cubicBezTo>
                    <a:pt x="3439" y="620"/>
                    <a:pt x="3392" y="650"/>
                    <a:pt x="3380" y="654"/>
                  </a:cubicBezTo>
                  <a:cubicBezTo>
                    <a:pt x="3357" y="666"/>
                    <a:pt x="3319" y="666"/>
                    <a:pt x="3301" y="684"/>
                  </a:cubicBezTo>
                  <a:cubicBezTo>
                    <a:pt x="3285" y="699"/>
                    <a:pt x="3293" y="724"/>
                    <a:pt x="3293" y="745"/>
                  </a:cubicBezTo>
                  <a:cubicBezTo>
                    <a:pt x="3290" y="814"/>
                    <a:pt x="3339" y="715"/>
                    <a:pt x="3352" y="701"/>
                  </a:cubicBezTo>
                  <a:cubicBezTo>
                    <a:pt x="3367" y="682"/>
                    <a:pt x="3400" y="664"/>
                    <a:pt x="3426" y="674"/>
                  </a:cubicBezTo>
                  <a:cubicBezTo>
                    <a:pt x="3431" y="674"/>
                    <a:pt x="3433" y="687"/>
                    <a:pt x="3420" y="697"/>
                  </a:cubicBezTo>
                  <a:cubicBezTo>
                    <a:pt x="3400" y="715"/>
                    <a:pt x="3434" y="737"/>
                    <a:pt x="3454" y="730"/>
                  </a:cubicBezTo>
                  <a:cubicBezTo>
                    <a:pt x="3467" y="727"/>
                    <a:pt x="3472" y="719"/>
                    <a:pt x="3477" y="730"/>
                  </a:cubicBezTo>
                  <a:cubicBezTo>
                    <a:pt x="3483" y="742"/>
                    <a:pt x="3448" y="771"/>
                    <a:pt x="3439" y="788"/>
                  </a:cubicBezTo>
                  <a:cubicBezTo>
                    <a:pt x="3428" y="806"/>
                    <a:pt x="3423" y="839"/>
                    <a:pt x="3444" y="854"/>
                  </a:cubicBezTo>
                  <a:cubicBezTo>
                    <a:pt x="3466" y="867"/>
                    <a:pt x="3492" y="824"/>
                    <a:pt x="3500" y="804"/>
                  </a:cubicBezTo>
                  <a:cubicBezTo>
                    <a:pt x="3514" y="776"/>
                    <a:pt x="3509" y="748"/>
                    <a:pt x="3504" y="720"/>
                  </a:cubicBezTo>
                  <a:cubicBezTo>
                    <a:pt x="3492" y="659"/>
                    <a:pt x="3456" y="589"/>
                    <a:pt x="3507" y="537"/>
                  </a:cubicBezTo>
                  <a:cubicBezTo>
                    <a:pt x="3551" y="495"/>
                    <a:pt x="3617" y="463"/>
                    <a:pt x="3677" y="450"/>
                  </a:cubicBezTo>
                  <a:cubicBezTo>
                    <a:pt x="3706" y="444"/>
                    <a:pt x="3743" y="440"/>
                    <a:pt x="3771" y="457"/>
                  </a:cubicBezTo>
                  <a:cubicBezTo>
                    <a:pt x="3789" y="467"/>
                    <a:pt x="3813" y="491"/>
                    <a:pt x="3800" y="514"/>
                  </a:cubicBezTo>
                  <a:cubicBezTo>
                    <a:pt x="3787" y="537"/>
                    <a:pt x="3698" y="557"/>
                    <a:pt x="3743" y="589"/>
                  </a:cubicBezTo>
                  <a:cubicBezTo>
                    <a:pt x="3766" y="605"/>
                    <a:pt x="3784" y="587"/>
                    <a:pt x="3805" y="572"/>
                  </a:cubicBezTo>
                  <a:cubicBezTo>
                    <a:pt x="3835" y="551"/>
                    <a:pt x="3846" y="551"/>
                    <a:pt x="3873" y="577"/>
                  </a:cubicBezTo>
                  <a:cubicBezTo>
                    <a:pt x="3904" y="612"/>
                    <a:pt x="3930" y="656"/>
                    <a:pt x="3952" y="590"/>
                  </a:cubicBezTo>
                  <a:cubicBezTo>
                    <a:pt x="3965" y="544"/>
                    <a:pt x="4004" y="485"/>
                    <a:pt x="4059" y="506"/>
                  </a:cubicBezTo>
                  <a:cubicBezTo>
                    <a:pt x="4074" y="513"/>
                    <a:pt x="4090" y="516"/>
                    <a:pt x="4105" y="521"/>
                  </a:cubicBezTo>
                  <a:cubicBezTo>
                    <a:pt x="4125" y="529"/>
                    <a:pt x="4121" y="534"/>
                    <a:pt x="4133" y="547"/>
                  </a:cubicBezTo>
                  <a:cubicBezTo>
                    <a:pt x="4156" y="574"/>
                    <a:pt x="4181" y="556"/>
                    <a:pt x="4204" y="539"/>
                  </a:cubicBezTo>
                  <a:cubicBezTo>
                    <a:pt x="4229" y="521"/>
                    <a:pt x="4255" y="500"/>
                    <a:pt x="4275" y="473"/>
                  </a:cubicBezTo>
                  <a:cubicBezTo>
                    <a:pt x="4296" y="445"/>
                    <a:pt x="4303" y="414"/>
                    <a:pt x="4316" y="381"/>
                  </a:cubicBezTo>
                  <a:cubicBezTo>
                    <a:pt x="4329" y="348"/>
                    <a:pt x="4346" y="325"/>
                    <a:pt x="4367" y="297"/>
                  </a:cubicBezTo>
                  <a:cubicBezTo>
                    <a:pt x="4388" y="269"/>
                    <a:pt x="4397" y="234"/>
                    <a:pt x="4420" y="206"/>
                  </a:cubicBezTo>
                  <a:cubicBezTo>
                    <a:pt x="4466" y="154"/>
                    <a:pt x="4520" y="108"/>
                    <a:pt x="4583" y="75"/>
                  </a:cubicBezTo>
                  <a:cubicBezTo>
                    <a:pt x="4640" y="43"/>
                    <a:pt x="4719" y="9"/>
                    <a:pt x="4785" y="28"/>
                  </a:cubicBezTo>
                  <a:cubicBezTo>
                    <a:pt x="4851" y="47"/>
                    <a:pt x="4894" y="91"/>
                    <a:pt x="4930" y="147"/>
                  </a:cubicBezTo>
                  <a:cubicBezTo>
                    <a:pt x="4945" y="170"/>
                    <a:pt x="4945" y="198"/>
                    <a:pt x="4978" y="195"/>
                  </a:cubicBezTo>
                  <a:cubicBezTo>
                    <a:pt x="5006" y="192"/>
                    <a:pt x="5031" y="170"/>
                    <a:pt x="5052" y="155"/>
                  </a:cubicBezTo>
                  <a:cubicBezTo>
                    <a:pt x="5121" y="116"/>
                    <a:pt x="5159" y="167"/>
                    <a:pt x="5210" y="205"/>
                  </a:cubicBezTo>
                  <a:cubicBezTo>
                    <a:pt x="5222" y="213"/>
                    <a:pt x="5255" y="231"/>
                    <a:pt x="5265" y="208"/>
                  </a:cubicBezTo>
                  <a:cubicBezTo>
                    <a:pt x="5268" y="195"/>
                    <a:pt x="5248" y="178"/>
                    <a:pt x="5240" y="172"/>
                  </a:cubicBezTo>
                  <a:cubicBezTo>
                    <a:pt x="5209" y="142"/>
                    <a:pt x="5159" y="122"/>
                    <a:pt x="5166" y="70"/>
                  </a:cubicBezTo>
                  <a:cubicBezTo>
                    <a:pt x="5169" y="48"/>
                    <a:pt x="5176" y="23"/>
                    <a:pt x="5186" y="0"/>
                  </a:cubicBezTo>
                  <a:cubicBezTo>
                    <a:pt x="5189" y="22"/>
                    <a:pt x="5197" y="43"/>
                    <a:pt x="5209" y="58"/>
                  </a:cubicBezTo>
                  <a:cubicBezTo>
                    <a:pt x="5229" y="81"/>
                    <a:pt x="5255" y="84"/>
                    <a:pt x="5280" y="89"/>
                  </a:cubicBezTo>
                  <a:cubicBezTo>
                    <a:pt x="5296" y="91"/>
                    <a:pt x="5313" y="94"/>
                    <a:pt x="5324" y="103"/>
                  </a:cubicBezTo>
                  <a:cubicBezTo>
                    <a:pt x="5329" y="106"/>
                    <a:pt x="5331" y="112"/>
                    <a:pt x="5334" y="119"/>
                  </a:cubicBezTo>
                  <a:cubicBezTo>
                    <a:pt x="5339" y="127"/>
                    <a:pt x="5342" y="137"/>
                    <a:pt x="5350" y="144"/>
                  </a:cubicBezTo>
                  <a:cubicBezTo>
                    <a:pt x="5365" y="155"/>
                    <a:pt x="5380" y="155"/>
                    <a:pt x="5392" y="155"/>
                  </a:cubicBezTo>
                  <a:cubicBezTo>
                    <a:pt x="5397" y="157"/>
                    <a:pt x="5401" y="157"/>
                    <a:pt x="5406" y="157"/>
                  </a:cubicBezTo>
                  <a:cubicBezTo>
                    <a:pt x="5420" y="160"/>
                    <a:pt x="5421" y="162"/>
                    <a:pt x="5430" y="173"/>
                  </a:cubicBezTo>
                  <a:cubicBezTo>
                    <a:pt x="5433" y="178"/>
                    <a:pt x="5434" y="182"/>
                    <a:pt x="5436" y="183"/>
                  </a:cubicBezTo>
                  <a:cubicBezTo>
                    <a:pt x="5444" y="196"/>
                    <a:pt x="5451" y="205"/>
                    <a:pt x="5472" y="213"/>
                  </a:cubicBezTo>
                  <a:cubicBezTo>
                    <a:pt x="5500" y="224"/>
                    <a:pt x="5518" y="252"/>
                    <a:pt x="5520" y="280"/>
                  </a:cubicBezTo>
                  <a:cubicBezTo>
                    <a:pt x="5520" y="300"/>
                    <a:pt x="5507" y="308"/>
                    <a:pt x="5484" y="322"/>
                  </a:cubicBezTo>
                  <a:cubicBezTo>
                    <a:pt x="5469" y="328"/>
                    <a:pt x="5454" y="336"/>
                    <a:pt x="5443" y="350"/>
                  </a:cubicBezTo>
                  <a:cubicBezTo>
                    <a:pt x="5425" y="373"/>
                    <a:pt x="5421" y="399"/>
                    <a:pt x="5418" y="425"/>
                  </a:cubicBezTo>
                  <a:cubicBezTo>
                    <a:pt x="5416" y="445"/>
                    <a:pt x="5413" y="463"/>
                    <a:pt x="5405" y="480"/>
                  </a:cubicBezTo>
                  <a:cubicBezTo>
                    <a:pt x="5397" y="495"/>
                    <a:pt x="5385" y="509"/>
                    <a:pt x="5373" y="523"/>
                  </a:cubicBezTo>
                  <a:cubicBezTo>
                    <a:pt x="5359" y="541"/>
                    <a:pt x="5344" y="557"/>
                    <a:pt x="5334" y="580"/>
                  </a:cubicBezTo>
                  <a:cubicBezTo>
                    <a:pt x="5327" y="590"/>
                    <a:pt x="5324" y="602"/>
                    <a:pt x="5321" y="613"/>
                  </a:cubicBezTo>
                  <a:cubicBezTo>
                    <a:pt x="5317" y="620"/>
                    <a:pt x="5316" y="628"/>
                    <a:pt x="5313" y="636"/>
                  </a:cubicBezTo>
                  <a:cubicBezTo>
                    <a:pt x="5309" y="641"/>
                    <a:pt x="5306" y="646"/>
                    <a:pt x="5303" y="653"/>
                  </a:cubicBezTo>
                  <a:cubicBezTo>
                    <a:pt x="5296" y="666"/>
                    <a:pt x="5288" y="681"/>
                    <a:pt x="5286" y="696"/>
                  </a:cubicBezTo>
                  <a:cubicBezTo>
                    <a:pt x="5285" y="717"/>
                    <a:pt x="5296" y="740"/>
                    <a:pt x="5316" y="755"/>
                  </a:cubicBezTo>
                  <a:cubicBezTo>
                    <a:pt x="5327" y="765"/>
                    <a:pt x="5342" y="771"/>
                    <a:pt x="5360" y="776"/>
                  </a:cubicBezTo>
                  <a:cubicBezTo>
                    <a:pt x="5360" y="776"/>
                    <a:pt x="5362" y="778"/>
                    <a:pt x="5364" y="776"/>
                  </a:cubicBezTo>
                  <a:cubicBezTo>
                    <a:pt x="5362" y="778"/>
                    <a:pt x="5362" y="780"/>
                    <a:pt x="5360" y="785"/>
                  </a:cubicBezTo>
                  <a:lnTo>
                    <a:pt x="5372" y="791"/>
                  </a:lnTo>
                  <a:lnTo>
                    <a:pt x="5357" y="788"/>
                  </a:lnTo>
                  <a:cubicBezTo>
                    <a:pt x="5354" y="794"/>
                    <a:pt x="5349" y="803"/>
                    <a:pt x="5347" y="811"/>
                  </a:cubicBezTo>
                  <a:cubicBezTo>
                    <a:pt x="5344" y="841"/>
                    <a:pt x="5367" y="864"/>
                    <a:pt x="5377" y="874"/>
                  </a:cubicBezTo>
                  <a:cubicBezTo>
                    <a:pt x="5415" y="908"/>
                    <a:pt x="5462" y="918"/>
                    <a:pt x="5509" y="903"/>
                  </a:cubicBezTo>
                  <a:cubicBezTo>
                    <a:pt x="5546" y="890"/>
                    <a:pt x="5565" y="885"/>
                    <a:pt x="5599" y="900"/>
                  </a:cubicBezTo>
                  <a:cubicBezTo>
                    <a:pt x="5602" y="902"/>
                    <a:pt x="5606" y="903"/>
                    <a:pt x="5611" y="905"/>
                  </a:cubicBezTo>
                  <a:cubicBezTo>
                    <a:pt x="5624" y="910"/>
                    <a:pt x="5630" y="913"/>
                    <a:pt x="5637" y="925"/>
                  </a:cubicBezTo>
                  <a:cubicBezTo>
                    <a:pt x="5642" y="933"/>
                    <a:pt x="5644" y="941"/>
                    <a:pt x="5647" y="949"/>
                  </a:cubicBezTo>
                  <a:cubicBezTo>
                    <a:pt x="5650" y="959"/>
                    <a:pt x="5654" y="969"/>
                    <a:pt x="5658" y="977"/>
                  </a:cubicBezTo>
                  <a:cubicBezTo>
                    <a:pt x="5670" y="1000"/>
                    <a:pt x="5687" y="1015"/>
                    <a:pt x="5701" y="1030"/>
                  </a:cubicBezTo>
                  <a:cubicBezTo>
                    <a:pt x="5703" y="1030"/>
                    <a:pt x="5705" y="1032"/>
                    <a:pt x="5705" y="1032"/>
                  </a:cubicBezTo>
                  <a:cubicBezTo>
                    <a:pt x="5711" y="1038"/>
                    <a:pt x="5718" y="1045"/>
                    <a:pt x="5724" y="1051"/>
                  </a:cubicBezTo>
                  <a:cubicBezTo>
                    <a:pt x="5726" y="1053"/>
                    <a:pt x="5728" y="1055"/>
                    <a:pt x="5729" y="1056"/>
                  </a:cubicBezTo>
                  <a:cubicBezTo>
                    <a:pt x="5731" y="1060"/>
                    <a:pt x="5734" y="1063"/>
                    <a:pt x="5738" y="1066"/>
                  </a:cubicBezTo>
                  <a:cubicBezTo>
                    <a:pt x="5743" y="1070"/>
                    <a:pt x="5751" y="1078"/>
                    <a:pt x="5751" y="108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45" name="Freeform 81">
              <a:extLst>
                <a:ext uri="{FF2B5EF4-FFF2-40B4-BE49-F238E27FC236}">
                  <a16:creationId xmlns:a16="http://schemas.microsoft.com/office/drawing/2014/main" id="{FD727E33-7D04-D447-906E-12F9D492BA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8950" y="3963988"/>
              <a:ext cx="1042988" cy="712787"/>
            </a:xfrm>
            <a:custGeom>
              <a:avLst/>
              <a:gdLst>
                <a:gd name="T0" fmla="*/ 2761 w 2897"/>
                <a:gd name="T1" fmla="*/ 1937 h 1981"/>
                <a:gd name="T2" fmla="*/ 2586 w 2897"/>
                <a:gd name="T3" fmla="*/ 1950 h 1981"/>
                <a:gd name="T4" fmla="*/ 2377 w 2897"/>
                <a:gd name="T5" fmla="*/ 1942 h 1981"/>
                <a:gd name="T6" fmla="*/ 2176 w 2897"/>
                <a:gd name="T7" fmla="*/ 1975 h 1981"/>
                <a:gd name="T8" fmla="*/ 1975 w 2897"/>
                <a:gd name="T9" fmla="*/ 1779 h 1981"/>
                <a:gd name="T10" fmla="*/ 1784 w 2897"/>
                <a:gd name="T11" fmla="*/ 1613 h 1981"/>
                <a:gd name="T12" fmla="*/ 1214 w 2897"/>
                <a:gd name="T13" fmla="*/ 1217 h 1981"/>
                <a:gd name="T14" fmla="*/ 685 w 2897"/>
                <a:gd name="T15" fmla="*/ 1333 h 1981"/>
                <a:gd name="T16" fmla="*/ 591 w 2897"/>
                <a:gd name="T17" fmla="*/ 1202 h 1981"/>
                <a:gd name="T18" fmla="*/ 561 w 2897"/>
                <a:gd name="T19" fmla="*/ 1127 h 1981"/>
                <a:gd name="T20" fmla="*/ 599 w 2897"/>
                <a:gd name="T21" fmla="*/ 1061 h 1981"/>
                <a:gd name="T22" fmla="*/ 525 w 2897"/>
                <a:gd name="T23" fmla="*/ 894 h 1981"/>
                <a:gd name="T24" fmla="*/ 415 w 2897"/>
                <a:gd name="T25" fmla="*/ 772 h 1981"/>
                <a:gd name="T26" fmla="*/ 318 w 2897"/>
                <a:gd name="T27" fmla="*/ 672 h 1981"/>
                <a:gd name="T28" fmla="*/ 123 w 2897"/>
                <a:gd name="T29" fmla="*/ 723 h 1981"/>
                <a:gd name="T30" fmla="*/ 164 w 2897"/>
                <a:gd name="T31" fmla="*/ 622 h 1981"/>
                <a:gd name="T32" fmla="*/ 0 w 2897"/>
                <a:gd name="T33" fmla="*/ 510 h 1981"/>
                <a:gd name="T34" fmla="*/ 346 w 2897"/>
                <a:gd name="T35" fmla="*/ 438 h 1981"/>
                <a:gd name="T36" fmla="*/ 637 w 2897"/>
                <a:gd name="T37" fmla="*/ 436 h 1981"/>
                <a:gd name="T38" fmla="*/ 906 w 2897"/>
                <a:gd name="T39" fmla="*/ 509 h 1981"/>
                <a:gd name="T40" fmla="*/ 993 w 2897"/>
                <a:gd name="T41" fmla="*/ 492 h 1981"/>
                <a:gd name="T42" fmla="*/ 1089 w 2897"/>
                <a:gd name="T43" fmla="*/ 482 h 1981"/>
                <a:gd name="T44" fmla="*/ 1224 w 2897"/>
                <a:gd name="T45" fmla="*/ 451 h 1981"/>
                <a:gd name="T46" fmla="*/ 1303 w 2897"/>
                <a:gd name="T47" fmla="*/ 408 h 1981"/>
                <a:gd name="T48" fmla="*/ 1380 w 2897"/>
                <a:gd name="T49" fmla="*/ 372 h 1981"/>
                <a:gd name="T50" fmla="*/ 1487 w 2897"/>
                <a:gd name="T51" fmla="*/ 346 h 1981"/>
                <a:gd name="T52" fmla="*/ 1827 w 2897"/>
                <a:gd name="T53" fmla="*/ 136 h 1981"/>
                <a:gd name="T54" fmla="*/ 1907 w 2897"/>
                <a:gd name="T55" fmla="*/ 120 h 1981"/>
                <a:gd name="T56" fmla="*/ 2042 w 2897"/>
                <a:gd name="T57" fmla="*/ 38 h 1981"/>
                <a:gd name="T58" fmla="*/ 2149 w 2897"/>
                <a:gd name="T59" fmla="*/ 99 h 1981"/>
                <a:gd name="T60" fmla="*/ 2125 w 2897"/>
                <a:gd name="T61" fmla="*/ 179 h 1981"/>
                <a:gd name="T62" fmla="*/ 2077 w 2897"/>
                <a:gd name="T63" fmla="*/ 296 h 1981"/>
                <a:gd name="T64" fmla="*/ 2029 w 2897"/>
                <a:gd name="T65" fmla="*/ 484 h 1981"/>
                <a:gd name="T66" fmla="*/ 2136 w 2897"/>
                <a:gd name="T67" fmla="*/ 632 h 1981"/>
                <a:gd name="T68" fmla="*/ 2268 w 2897"/>
                <a:gd name="T69" fmla="*/ 721 h 1981"/>
                <a:gd name="T70" fmla="*/ 2469 w 2897"/>
                <a:gd name="T71" fmla="*/ 642 h 1981"/>
                <a:gd name="T72" fmla="*/ 2604 w 2897"/>
                <a:gd name="T73" fmla="*/ 481 h 1981"/>
                <a:gd name="T74" fmla="*/ 2832 w 2897"/>
                <a:gd name="T75" fmla="*/ 515 h 1981"/>
                <a:gd name="T76" fmla="*/ 2812 w 2897"/>
                <a:gd name="T77" fmla="*/ 680 h 1981"/>
                <a:gd name="T78" fmla="*/ 2655 w 2897"/>
                <a:gd name="T79" fmla="*/ 720 h 1981"/>
                <a:gd name="T80" fmla="*/ 2687 w 2897"/>
                <a:gd name="T81" fmla="*/ 865 h 1981"/>
                <a:gd name="T82" fmla="*/ 2616 w 2897"/>
                <a:gd name="T83" fmla="*/ 1006 h 1981"/>
                <a:gd name="T84" fmla="*/ 2515 w 2897"/>
                <a:gd name="T85" fmla="*/ 1219 h 1981"/>
                <a:gd name="T86" fmla="*/ 2476 w 2897"/>
                <a:gd name="T87" fmla="*/ 1403 h 1981"/>
                <a:gd name="T88" fmla="*/ 2553 w 2897"/>
                <a:gd name="T89" fmla="*/ 1530 h 1981"/>
                <a:gd name="T90" fmla="*/ 2690 w 2897"/>
                <a:gd name="T91" fmla="*/ 1578 h 1981"/>
                <a:gd name="T92" fmla="*/ 2787 w 2897"/>
                <a:gd name="T93" fmla="*/ 1721 h 1981"/>
                <a:gd name="T94" fmla="*/ 2795 w 2897"/>
                <a:gd name="T95" fmla="*/ 1832 h 19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97" h="1981">
                  <a:moveTo>
                    <a:pt x="2795" y="1832"/>
                  </a:moveTo>
                  <a:cubicBezTo>
                    <a:pt x="2789" y="1848"/>
                    <a:pt x="2784" y="1868"/>
                    <a:pt x="2779" y="1888"/>
                  </a:cubicBezTo>
                  <a:cubicBezTo>
                    <a:pt x="2777" y="1899"/>
                    <a:pt x="2772" y="1911"/>
                    <a:pt x="2766" y="1922"/>
                  </a:cubicBezTo>
                  <a:cubicBezTo>
                    <a:pt x="2764" y="1927"/>
                    <a:pt x="2762" y="1932"/>
                    <a:pt x="2761" y="1937"/>
                  </a:cubicBezTo>
                  <a:cubicBezTo>
                    <a:pt x="2752" y="1932"/>
                    <a:pt x="2743" y="1932"/>
                    <a:pt x="2731" y="1935"/>
                  </a:cubicBezTo>
                  <a:cubicBezTo>
                    <a:pt x="2715" y="1939"/>
                    <a:pt x="2705" y="1949"/>
                    <a:pt x="2695" y="1957"/>
                  </a:cubicBezTo>
                  <a:cubicBezTo>
                    <a:pt x="2683" y="1967"/>
                    <a:pt x="2675" y="1973"/>
                    <a:pt x="2663" y="1975"/>
                  </a:cubicBezTo>
                  <a:cubicBezTo>
                    <a:pt x="2639" y="1980"/>
                    <a:pt x="2611" y="1965"/>
                    <a:pt x="2586" y="1950"/>
                  </a:cubicBezTo>
                  <a:lnTo>
                    <a:pt x="2578" y="1947"/>
                  </a:lnTo>
                  <a:cubicBezTo>
                    <a:pt x="2545" y="1929"/>
                    <a:pt x="2512" y="1914"/>
                    <a:pt x="2471" y="1921"/>
                  </a:cubicBezTo>
                  <a:cubicBezTo>
                    <a:pt x="2458" y="1924"/>
                    <a:pt x="2446" y="1927"/>
                    <a:pt x="2434" y="1931"/>
                  </a:cubicBezTo>
                  <a:cubicBezTo>
                    <a:pt x="2415" y="1935"/>
                    <a:pt x="2397" y="1940"/>
                    <a:pt x="2377" y="1942"/>
                  </a:cubicBezTo>
                  <a:lnTo>
                    <a:pt x="2359" y="1940"/>
                  </a:lnTo>
                  <a:cubicBezTo>
                    <a:pt x="2326" y="1942"/>
                    <a:pt x="2294" y="1942"/>
                    <a:pt x="2262" y="1952"/>
                  </a:cubicBezTo>
                  <a:cubicBezTo>
                    <a:pt x="2255" y="1955"/>
                    <a:pt x="2248" y="1957"/>
                    <a:pt x="2242" y="1959"/>
                  </a:cubicBezTo>
                  <a:cubicBezTo>
                    <a:pt x="2219" y="1967"/>
                    <a:pt x="2199" y="1975"/>
                    <a:pt x="2176" y="1975"/>
                  </a:cubicBezTo>
                  <a:cubicBezTo>
                    <a:pt x="2108" y="1977"/>
                    <a:pt x="2085" y="1935"/>
                    <a:pt x="2052" y="1879"/>
                  </a:cubicBezTo>
                  <a:cubicBezTo>
                    <a:pt x="2042" y="1861"/>
                    <a:pt x="2029" y="1846"/>
                    <a:pt x="2016" y="1832"/>
                  </a:cubicBezTo>
                  <a:cubicBezTo>
                    <a:pt x="2006" y="1822"/>
                    <a:pt x="1996" y="1812"/>
                    <a:pt x="1988" y="1799"/>
                  </a:cubicBezTo>
                  <a:cubicBezTo>
                    <a:pt x="1983" y="1792"/>
                    <a:pt x="1978" y="1786"/>
                    <a:pt x="1975" y="1779"/>
                  </a:cubicBezTo>
                  <a:cubicBezTo>
                    <a:pt x="1963" y="1761"/>
                    <a:pt x="1950" y="1741"/>
                    <a:pt x="1929" y="1725"/>
                  </a:cubicBezTo>
                  <a:cubicBezTo>
                    <a:pt x="1916" y="1715"/>
                    <a:pt x="1901" y="1708"/>
                    <a:pt x="1888" y="1700"/>
                  </a:cubicBezTo>
                  <a:cubicBezTo>
                    <a:pt x="1876" y="1695"/>
                    <a:pt x="1864" y="1688"/>
                    <a:pt x="1855" y="1682"/>
                  </a:cubicBezTo>
                  <a:cubicBezTo>
                    <a:pt x="1827" y="1665"/>
                    <a:pt x="1805" y="1639"/>
                    <a:pt x="1784" y="1613"/>
                  </a:cubicBezTo>
                  <a:cubicBezTo>
                    <a:pt x="1764" y="1590"/>
                    <a:pt x="1746" y="1566"/>
                    <a:pt x="1728" y="1543"/>
                  </a:cubicBezTo>
                  <a:cubicBezTo>
                    <a:pt x="1701" y="1509"/>
                    <a:pt x="1673" y="1476"/>
                    <a:pt x="1645" y="1443"/>
                  </a:cubicBezTo>
                  <a:cubicBezTo>
                    <a:pt x="1568" y="1354"/>
                    <a:pt x="1463" y="1230"/>
                    <a:pt x="1324" y="1206"/>
                  </a:cubicBezTo>
                  <a:cubicBezTo>
                    <a:pt x="1286" y="1199"/>
                    <a:pt x="1248" y="1207"/>
                    <a:pt x="1214" y="1217"/>
                  </a:cubicBezTo>
                  <a:cubicBezTo>
                    <a:pt x="1182" y="1224"/>
                    <a:pt x="1153" y="1232"/>
                    <a:pt x="1123" y="1229"/>
                  </a:cubicBezTo>
                  <a:lnTo>
                    <a:pt x="1079" y="1225"/>
                  </a:lnTo>
                  <a:cubicBezTo>
                    <a:pt x="1024" y="1219"/>
                    <a:pt x="967" y="1212"/>
                    <a:pt x="909" y="1230"/>
                  </a:cubicBezTo>
                  <a:cubicBezTo>
                    <a:pt x="832" y="1255"/>
                    <a:pt x="754" y="1290"/>
                    <a:pt x="685" y="1333"/>
                  </a:cubicBezTo>
                  <a:cubicBezTo>
                    <a:pt x="680" y="1324"/>
                    <a:pt x="677" y="1318"/>
                    <a:pt x="672" y="1308"/>
                  </a:cubicBezTo>
                  <a:lnTo>
                    <a:pt x="667" y="1296"/>
                  </a:lnTo>
                  <a:cubicBezTo>
                    <a:pt x="650" y="1263"/>
                    <a:pt x="636" y="1230"/>
                    <a:pt x="601" y="1209"/>
                  </a:cubicBezTo>
                  <a:cubicBezTo>
                    <a:pt x="598" y="1206"/>
                    <a:pt x="594" y="1204"/>
                    <a:pt x="591" y="1202"/>
                  </a:cubicBezTo>
                  <a:cubicBezTo>
                    <a:pt x="581" y="1196"/>
                    <a:pt x="575" y="1192"/>
                    <a:pt x="571" y="1184"/>
                  </a:cubicBezTo>
                  <a:cubicBezTo>
                    <a:pt x="571" y="1181"/>
                    <a:pt x="571" y="1174"/>
                    <a:pt x="571" y="1169"/>
                  </a:cubicBezTo>
                  <a:cubicBezTo>
                    <a:pt x="573" y="1161"/>
                    <a:pt x="575" y="1153"/>
                    <a:pt x="571" y="1145"/>
                  </a:cubicBezTo>
                  <a:cubicBezTo>
                    <a:pt x="570" y="1136"/>
                    <a:pt x="565" y="1132"/>
                    <a:pt x="561" y="1127"/>
                  </a:cubicBezTo>
                  <a:cubicBezTo>
                    <a:pt x="560" y="1123"/>
                    <a:pt x="555" y="1117"/>
                    <a:pt x="555" y="1115"/>
                  </a:cubicBezTo>
                  <a:cubicBezTo>
                    <a:pt x="555" y="1110"/>
                    <a:pt x="558" y="1108"/>
                    <a:pt x="566" y="1102"/>
                  </a:cubicBezTo>
                  <a:cubicBezTo>
                    <a:pt x="571" y="1100"/>
                    <a:pt x="576" y="1097"/>
                    <a:pt x="581" y="1092"/>
                  </a:cubicBezTo>
                  <a:cubicBezTo>
                    <a:pt x="593" y="1082"/>
                    <a:pt x="599" y="1072"/>
                    <a:pt x="599" y="1061"/>
                  </a:cubicBezTo>
                  <a:cubicBezTo>
                    <a:pt x="599" y="1039"/>
                    <a:pt x="580" y="1023"/>
                    <a:pt x="558" y="1005"/>
                  </a:cubicBezTo>
                  <a:cubicBezTo>
                    <a:pt x="538" y="988"/>
                    <a:pt x="515" y="970"/>
                    <a:pt x="519" y="950"/>
                  </a:cubicBezTo>
                  <a:cubicBezTo>
                    <a:pt x="520" y="945"/>
                    <a:pt x="522" y="940"/>
                    <a:pt x="523" y="935"/>
                  </a:cubicBezTo>
                  <a:cubicBezTo>
                    <a:pt x="527" y="926"/>
                    <a:pt x="533" y="912"/>
                    <a:pt x="525" y="894"/>
                  </a:cubicBezTo>
                  <a:cubicBezTo>
                    <a:pt x="520" y="884"/>
                    <a:pt x="517" y="878"/>
                    <a:pt x="512" y="871"/>
                  </a:cubicBezTo>
                  <a:cubicBezTo>
                    <a:pt x="505" y="863"/>
                    <a:pt x="500" y="856"/>
                    <a:pt x="499" y="848"/>
                  </a:cubicBezTo>
                  <a:cubicBezTo>
                    <a:pt x="497" y="843"/>
                    <a:pt x="495" y="840"/>
                    <a:pt x="494" y="835"/>
                  </a:cubicBezTo>
                  <a:cubicBezTo>
                    <a:pt x="484" y="804"/>
                    <a:pt x="469" y="756"/>
                    <a:pt x="415" y="772"/>
                  </a:cubicBezTo>
                  <a:cubicBezTo>
                    <a:pt x="410" y="774"/>
                    <a:pt x="403" y="777"/>
                    <a:pt x="398" y="779"/>
                  </a:cubicBezTo>
                  <a:cubicBezTo>
                    <a:pt x="375" y="787"/>
                    <a:pt x="370" y="789"/>
                    <a:pt x="360" y="771"/>
                  </a:cubicBezTo>
                  <a:cubicBezTo>
                    <a:pt x="354" y="761"/>
                    <a:pt x="352" y="749"/>
                    <a:pt x="349" y="736"/>
                  </a:cubicBezTo>
                  <a:cubicBezTo>
                    <a:pt x="344" y="715"/>
                    <a:pt x="341" y="690"/>
                    <a:pt x="318" y="672"/>
                  </a:cubicBezTo>
                  <a:cubicBezTo>
                    <a:pt x="268" y="634"/>
                    <a:pt x="229" y="677"/>
                    <a:pt x="201" y="706"/>
                  </a:cubicBezTo>
                  <a:cubicBezTo>
                    <a:pt x="181" y="728"/>
                    <a:pt x="163" y="748"/>
                    <a:pt x="145" y="746"/>
                  </a:cubicBezTo>
                  <a:cubicBezTo>
                    <a:pt x="145" y="746"/>
                    <a:pt x="145" y="746"/>
                    <a:pt x="143" y="746"/>
                  </a:cubicBezTo>
                  <a:cubicBezTo>
                    <a:pt x="128" y="744"/>
                    <a:pt x="125" y="730"/>
                    <a:pt x="123" y="723"/>
                  </a:cubicBezTo>
                  <a:cubicBezTo>
                    <a:pt x="120" y="708"/>
                    <a:pt x="125" y="693"/>
                    <a:pt x="133" y="688"/>
                  </a:cubicBezTo>
                  <a:cubicBezTo>
                    <a:pt x="136" y="687"/>
                    <a:pt x="140" y="685"/>
                    <a:pt x="143" y="682"/>
                  </a:cubicBezTo>
                  <a:cubicBezTo>
                    <a:pt x="156" y="677"/>
                    <a:pt x="171" y="669"/>
                    <a:pt x="174" y="654"/>
                  </a:cubicBezTo>
                  <a:cubicBezTo>
                    <a:pt x="176" y="644"/>
                    <a:pt x="173" y="634"/>
                    <a:pt x="164" y="622"/>
                  </a:cubicBezTo>
                  <a:cubicBezTo>
                    <a:pt x="145" y="598"/>
                    <a:pt x="115" y="593"/>
                    <a:pt x="89" y="588"/>
                  </a:cubicBezTo>
                  <a:cubicBezTo>
                    <a:pt x="64" y="585"/>
                    <a:pt x="42" y="581"/>
                    <a:pt x="28" y="563"/>
                  </a:cubicBezTo>
                  <a:cubicBezTo>
                    <a:pt x="11" y="547"/>
                    <a:pt x="6" y="532"/>
                    <a:pt x="1" y="514"/>
                  </a:cubicBezTo>
                  <a:cubicBezTo>
                    <a:pt x="1" y="512"/>
                    <a:pt x="0" y="512"/>
                    <a:pt x="0" y="510"/>
                  </a:cubicBezTo>
                  <a:cubicBezTo>
                    <a:pt x="13" y="502"/>
                    <a:pt x="26" y="492"/>
                    <a:pt x="38" y="481"/>
                  </a:cubicBezTo>
                  <a:cubicBezTo>
                    <a:pt x="79" y="443"/>
                    <a:pt x="125" y="407"/>
                    <a:pt x="189" y="402"/>
                  </a:cubicBezTo>
                  <a:cubicBezTo>
                    <a:pt x="214" y="400"/>
                    <a:pt x="230" y="405"/>
                    <a:pt x="253" y="421"/>
                  </a:cubicBezTo>
                  <a:cubicBezTo>
                    <a:pt x="290" y="446"/>
                    <a:pt x="308" y="445"/>
                    <a:pt x="346" y="438"/>
                  </a:cubicBezTo>
                  <a:cubicBezTo>
                    <a:pt x="369" y="433"/>
                    <a:pt x="390" y="441"/>
                    <a:pt x="415" y="449"/>
                  </a:cubicBezTo>
                  <a:cubicBezTo>
                    <a:pt x="443" y="459"/>
                    <a:pt x="474" y="471"/>
                    <a:pt x="509" y="456"/>
                  </a:cubicBezTo>
                  <a:cubicBezTo>
                    <a:pt x="537" y="445"/>
                    <a:pt x="552" y="440"/>
                    <a:pt x="581" y="443"/>
                  </a:cubicBezTo>
                  <a:cubicBezTo>
                    <a:pt x="603" y="445"/>
                    <a:pt x="619" y="440"/>
                    <a:pt x="637" y="436"/>
                  </a:cubicBezTo>
                  <a:cubicBezTo>
                    <a:pt x="647" y="435"/>
                    <a:pt x="659" y="431"/>
                    <a:pt x="670" y="431"/>
                  </a:cubicBezTo>
                  <a:cubicBezTo>
                    <a:pt x="701" y="430"/>
                    <a:pt x="726" y="449"/>
                    <a:pt x="751" y="473"/>
                  </a:cubicBezTo>
                  <a:cubicBezTo>
                    <a:pt x="769" y="489"/>
                    <a:pt x="789" y="507"/>
                    <a:pt x="812" y="515"/>
                  </a:cubicBezTo>
                  <a:cubicBezTo>
                    <a:pt x="845" y="529"/>
                    <a:pt x="881" y="517"/>
                    <a:pt x="906" y="509"/>
                  </a:cubicBezTo>
                  <a:cubicBezTo>
                    <a:pt x="916" y="506"/>
                    <a:pt x="924" y="499"/>
                    <a:pt x="932" y="492"/>
                  </a:cubicBezTo>
                  <a:cubicBezTo>
                    <a:pt x="940" y="487"/>
                    <a:pt x="950" y="479"/>
                    <a:pt x="955" y="479"/>
                  </a:cubicBezTo>
                  <a:cubicBezTo>
                    <a:pt x="958" y="479"/>
                    <a:pt x="963" y="481"/>
                    <a:pt x="968" y="484"/>
                  </a:cubicBezTo>
                  <a:cubicBezTo>
                    <a:pt x="975" y="487"/>
                    <a:pt x="983" y="492"/>
                    <a:pt x="993" y="492"/>
                  </a:cubicBezTo>
                  <a:cubicBezTo>
                    <a:pt x="1006" y="494"/>
                    <a:pt x="1016" y="491"/>
                    <a:pt x="1026" y="486"/>
                  </a:cubicBezTo>
                  <a:cubicBezTo>
                    <a:pt x="1031" y="484"/>
                    <a:pt x="1037" y="481"/>
                    <a:pt x="1042" y="478"/>
                  </a:cubicBezTo>
                  <a:cubicBezTo>
                    <a:pt x="1057" y="471"/>
                    <a:pt x="1065" y="466"/>
                    <a:pt x="1075" y="471"/>
                  </a:cubicBezTo>
                  <a:cubicBezTo>
                    <a:pt x="1080" y="473"/>
                    <a:pt x="1084" y="478"/>
                    <a:pt x="1089" y="482"/>
                  </a:cubicBezTo>
                  <a:cubicBezTo>
                    <a:pt x="1095" y="489"/>
                    <a:pt x="1103" y="499"/>
                    <a:pt x="1117" y="501"/>
                  </a:cubicBezTo>
                  <a:cubicBezTo>
                    <a:pt x="1143" y="507"/>
                    <a:pt x="1164" y="491"/>
                    <a:pt x="1181" y="478"/>
                  </a:cubicBezTo>
                  <a:cubicBezTo>
                    <a:pt x="1186" y="474"/>
                    <a:pt x="1189" y="471"/>
                    <a:pt x="1192" y="469"/>
                  </a:cubicBezTo>
                  <a:cubicBezTo>
                    <a:pt x="1201" y="461"/>
                    <a:pt x="1212" y="456"/>
                    <a:pt x="1224" y="451"/>
                  </a:cubicBezTo>
                  <a:cubicBezTo>
                    <a:pt x="1237" y="445"/>
                    <a:pt x="1250" y="438"/>
                    <a:pt x="1263" y="428"/>
                  </a:cubicBezTo>
                  <a:cubicBezTo>
                    <a:pt x="1266" y="425"/>
                    <a:pt x="1270" y="423"/>
                    <a:pt x="1273" y="420"/>
                  </a:cubicBezTo>
                  <a:cubicBezTo>
                    <a:pt x="1278" y="415"/>
                    <a:pt x="1281" y="410"/>
                    <a:pt x="1288" y="408"/>
                  </a:cubicBezTo>
                  <a:cubicBezTo>
                    <a:pt x="1293" y="408"/>
                    <a:pt x="1296" y="408"/>
                    <a:pt x="1303" y="408"/>
                  </a:cubicBezTo>
                  <a:cubicBezTo>
                    <a:pt x="1309" y="408"/>
                    <a:pt x="1316" y="408"/>
                    <a:pt x="1322" y="407"/>
                  </a:cubicBezTo>
                  <a:cubicBezTo>
                    <a:pt x="1337" y="402"/>
                    <a:pt x="1346" y="393"/>
                    <a:pt x="1352" y="387"/>
                  </a:cubicBezTo>
                  <a:cubicBezTo>
                    <a:pt x="1354" y="384"/>
                    <a:pt x="1357" y="380"/>
                    <a:pt x="1362" y="379"/>
                  </a:cubicBezTo>
                  <a:cubicBezTo>
                    <a:pt x="1367" y="375"/>
                    <a:pt x="1372" y="374"/>
                    <a:pt x="1380" y="372"/>
                  </a:cubicBezTo>
                  <a:cubicBezTo>
                    <a:pt x="1385" y="372"/>
                    <a:pt x="1390" y="370"/>
                    <a:pt x="1395" y="369"/>
                  </a:cubicBezTo>
                  <a:cubicBezTo>
                    <a:pt x="1405" y="365"/>
                    <a:pt x="1415" y="362"/>
                    <a:pt x="1423" y="357"/>
                  </a:cubicBezTo>
                  <a:cubicBezTo>
                    <a:pt x="1435" y="351"/>
                    <a:pt x="1444" y="346"/>
                    <a:pt x="1458" y="346"/>
                  </a:cubicBezTo>
                  <a:cubicBezTo>
                    <a:pt x="1467" y="346"/>
                    <a:pt x="1477" y="346"/>
                    <a:pt x="1487" y="346"/>
                  </a:cubicBezTo>
                  <a:cubicBezTo>
                    <a:pt x="1530" y="349"/>
                    <a:pt x="1584" y="352"/>
                    <a:pt x="1598" y="281"/>
                  </a:cubicBezTo>
                  <a:cubicBezTo>
                    <a:pt x="1606" y="235"/>
                    <a:pt x="1624" y="222"/>
                    <a:pt x="1677" y="209"/>
                  </a:cubicBezTo>
                  <a:cubicBezTo>
                    <a:pt x="1713" y="199"/>
                    <a:pt x="1743" y="183"/>
                    <a:pt x="1771" y="166"/>
                  </a:cubicBezTo>
                  <a:cubicBezTo>
                    <a:pt x="1789" y="156"/>
                    <a:pt x="1807" y="146"/>
                    <a:pt x="1827" y="136"/>
                  </a:cubicBezTo>
                  <a:cubicBezTo>
                    <a:pt x="1830" y="135"/>
                    <a:pt x="1833" y="135"/>
                    <a:pt x="1836" y="133"/>
                  </a:cubicBezTo>
                  <a:cubicBezTo>
                    <a:pt x="1845" y="130"/>
                    <a:pt x="1853" y="128"/>
                    <a:pt x="1861" y="128"/>
                  </a:cubicBezTo>
                  <a:cubicBezTo>
                    <a:pt x="1864" y="127"/>
                    <a:pt x="1869" y="127"/>
                    <a:pt x="1873" y="127"/>
                  </a:cubicBezTo>
                  <a:cubicBezTo>
                    <a:pt x="1884" y="125"/>
                    <a:pt x="1896" y="123"/>
                    <a:pt x="1907" y="120"/>
                  </a:cubicBezTo>
                  <a:cubicBezTo>
                    <a:pt x="1924" y="115"/>
                    <a:pt x="1935" y="105"/>
                    <a:pt x="1947" y="97"/>
                  </a:cubicBezTo>
                  <a:cubicBezTo>
                    <a:pt x="1953" y="92"/>
                    <a:pt x="1960" y="87"/>
                    <a:pt x="1967" y="84"/>
                  </a:cubicBezTo>
                  <a:cubicBezTo>
                    <a:pt x="1975" y="79"/>
                    <a:pt x="1981" y="77"/>
                    <a:pt x="1988" y="76"/>
                  </a:cubicBezTo>
                  <a:cubicBezTo>
                    <a:pt x="2006" y="67"/>
                    <a:pt x="2024" y="61"/>
                    <a:pt x="2042" y="38"/>
                  </a:cubicBezTo>
                  <a:lnTo>
                    <a:pt x="2044" y="34"/>
                  </a:lnTo>
                  <a:cubicBezTo>
                    <a:pt x="2059" y="13"/>
                    <a:pt x="2069" y="3"/>
                    <a:pt x="2089" y="1"/>
                  </a:cubicBezTo>
                  <a:cubicBezTo>
                    <a:pt x="2118" y="0"/>
                    <a:pt x="2143" y="24"/>
                    <a:pt x="2154" y="48"/>
                  </a:cubicBezTo>
                  <a:cubicBezTo>
                    <a:pt x="2163" y="67"/>
                    <a:pt x="2158" y="79"/>
                    <a:pt x="2149" y="99"/>
                  </a:cubicBezTo>
                  <a:cubicBezTo>
                    <a:pt x="2148" y="104"/>
                    <a:pt x="2146" y="108"/>
                    <a:pt x="2145" y="113"/>
                  </a:cubicBezTo>
                  <a:cubicBezTo>
                    <a:pt x="2140" y="123"/>
                    <a:pt x="2140" y="135"/>
                    <a:pt x="2140" y="145"/>
                  </a:cubicBezTo>
                  <a:cubicBezTo>
                    <a:pt x="2140" y="155"/>
                    <a:pt x="2138" y="163"/>
                    <a:pt x="2135" y="169"/>
                  </a:cubicBezTo>
                  <a:cubicBezTo>
                    <a:pt x="2133" y="173"/>
                    <a:pt x="2130" y="176"/>
                    <a:pt x="2125" y="179"/>
                  </a:cubicBezTo>
                  <a:cubicBezTo>
                    <a:pt x="2120" y="184"/>
                    <a:pt x="2112" y="191"/>
                    <a:pt x="2108" y="201"/>
                  </a:cubicBezTo>
                  <a:cubicBezTo>
                    <a:pt x="2103" y="212"/>
                    <a:pt x="2107" y="221"/>
                    <a:pt x="2107" y="229"/>
                  </a:cubicBezTo>
                  <a:cubicBezTo>
                    <a:pt x="2108" y="234"/>
                    <a:pt x="2110" y="237"/>
                    <a:pt x="2108" y="240"/>
                  </a:cubicBezTo>
                  <a:cubicBezTo>
                    <a:pt x="2105" y="260"/>
                    <a:pt x="2092" y="278"/>
                    <a:pt x="2077" y="296"/>
                  </a:cubicBezTo>
                  <a:cubicBezTo>
                    <a:pt x="2057" y="321"/>
                    <a:pt x="2037" y="346"/>
                    <a:pt x="2041" y="380"/>
                  </a:cubicBezTo>
                  <a:cubicBezTo>
                    <a:pt x="2041" y="392"/>
                    <a:pt x="2044" y="402"/>
                    <a:pt x="2047" y="412"/>
                  </a:cubicBezTo>
                  <a:cubicBezTo>
                    <a:pt x="2052" y="428"/>
                    <a:pt x="2057" y="441"/>
                    <a:pt x="2052" y="454"/>
                  </a:cubicBezTo>
                  <a:cubicBezTo>
                    <a:pt x="2049" y="466"/>
                    <a:pt x="2039" y="476"/>
                    <a:pt x="2029" y="484"/>
                  </a:cubicBezTo>
                  <a:cubicBezTo>
                    <a:pt x="2021" y="494"/>
                    <a:pt x="2011" y="502"/>
                    <a:pt x="2005" y="514"/>
                  </a:cubicBezTo>
                  <a:cubicBezTo>
                    <a:pt x="1991" y="540"/>
                    <a:pt x="1988" y="570"/>
                    <a:pt x="2000" y="594"/>
                  </a:cubicBezTo>
                  <a:cubicBezTo>
                    <a:pt x="2011" y="618"/>
                    <a:pt x="2031" y="632"/>
                    <a:pt x="2057" y="639"/>
                  </a:cubicBezTo>
                  <a:cubicBezTo>
                    <a:pt x="2080" y="644"/>
                    <a:pt x="2108" y="647"/>
                    <a:pt x="2136" y="632"/>
                  </a:cubicBezTo>
                  <a:cubicBezTo>
                    <a:pt x="2143" y="629"/>
                    <a:pt x="2148" y="626"/>
                    <a:pt x="2153" y="622"/>
                  </a:cubicBezTo>
                  <a:cubicBezTo>
                    <a:pt x="2166" y="614"/>
                    <a:pt x="2174" y="609"/>
                    <a:pt x="2189" y="613"/>
                  </a:cubicBezTo>
                  <a:cubicBezTo>
                    <a:pt x="2214" y="618"/>
                    <a:pt x="2220" y="634"/>
                    <a:pt x="2229" y="662"/>
                  </a:cubicBezTo>
                  <a:cubicBezTo>
                    <a:pt x="2237" y="685"/>
                    <a:pt x="2245" y="710"/>
                    <a:pt x="2268" y="721"/>
                  </a:cubicBezTo>
                  <a:cubicBezTo>
                    <a:pt x="2288" y="733"/>
                    <a:pt x="2352" y="725"/>
                    <a:pt x="2367" y="720"/>
                  </a:cubicBezTo>
                  <a:cubicBezTo>
                    <a:pt x="2383" y="713"/>
                    <a:pt x="2395" y="700"/>
                    <a:pt x="2406" y="688"/>
                  </a:cubicBezTo>
                  <a:cubicBezTo>
                    <a:pt x="2410" y="683"/>
                    <a:pt x="2415" y="677"/>
                    <a:pt x="2420" y="674"/>
                  </a:cubicBezTo>
                  <a:cubicBezTo>
                    <a:pt x="2434" y="660"/>
                    <a:pt x="2453" y="652"/>
                    <a:pt x="2469" y="642"/>
                  </a:cubicBezTo>
                  <a:cubicBezTo>
                    <a:pt x="2505" y="624"/>
                    <a:pt x="2542" y="604"/>
                    <a:pt x="2550" y="550"/>
                  </a:cubicBezTo>
                  <a:lnTo>
                    <a:pt x="2551" y="538"/>
                  </a:lnTo>
                  <a:cubicBezTo>
                    <a:pt x="2555" y="510"/>
                    <a:pt x="2558" y="492"/>
                    <a:pt x="2576" y="484"/>
                  </a:cubicBezTo>
                  <a:cubicBezTo>
                    <a:pt x="2584" y="481"/>
                    <a:pt x="2594" y="481"/>
                    <a:pt x="2604" y="481"/>
                  </a:cubicBezTo>
                  <a:cubicBezTo>
                    <a:pt x="2619" y="481"/>
                    <a:pt x="2637" y="481"/>
                    <a:pt x="2654" y="469"/>
                  </a:cubicBezTo>
                  <a:cubicBezTo>
                    <a:pt x="2670" y="458"/>
                    <a:pt x="2683" y="440"/>
                    <a:pt x="2695" y="421"/>
                  </a:cubicBezTo>
                  <a:cubicBezTo>
                    <a:pt x="2716" y="389"/>
                    <a:pt x="2733" y="369"/>
                    <a:pt x="2759" y="379"/>
                  </a:cubicBezTo>
                  <a:cubicBezTo>
                    <a:pt x="2804" y="393"/>
                    <a:pt x="2827" y="438"/>
                    <a:pt x="2832" y="515"/>
                  </a:cubicBezTo>
                  <a:cubicBezTo>
                    <a:pt x="2833" y="555"/>
                    <a:pt x="2845" y="568"/>
                    <a:pt x="2868" y="593"/>
                  </a:cubicBezTo>
                  <a:cubicBezTo>
                    <a:pt x="2874" y="599"/>
                    <a:pt x="2896" y="622"/>
                    <a:pt x="2883" y="649"/>
                  </a:cubicBezTo>
                  <a:cubicBezTo>
                    <a:pt x="2873" y="670"/>
                    <a:pt x="2848" y="674"/>
                    <a:pt x="2823" y="678"/>
                  </a:cubicBezTo>
                  <a:lnTo>
                    <a:pt x="2812" y="680"/>
                  </a:lnTo>
                  <a:cubicBezTo>
                    <a:pt x="2799" y="682"/>
                    <a:pt x="2787" y="685"/>
                    <a:pt x="2774" y="688"/>
                  </a:cubicBezTo>
                  <a:cubicBezTo>
                    <a:pt x="2759" y="693"/>
                    <a:pt x="2746" y="697"/>
                    <a:pt x="2731" y="698"/>
                  </a:cubicBezTo>
                  <a:cubicBezTo>
                    <a:pt x="2728" y="698"/>
                    <a:pt x="2721" y="698"/>
                    <a:pt x="2715" y="698"/>
                  </a:cubicBezTo>
                  <a:cubicBezTo>
                    <a:pt x="2695" y="698"/>
                    <a:pt x="2667" y="698"/>
                    <a:pt x="2655" y="720"/>
                  </a:cubicBezTo>
                  <a:cubicBezTo>
                    <a:pt x="2639" y="751"/>
                    <a:pt x="2670" y="774"/>
                    <a:pt x="2687" y="784"/>
                  </a:cubicBezTo>
                  <a:lnTo>
                    <a:pt x="2691" y="789"/>
                  </a:lnTo>
                  <a:cubicBezTo>
                    <a:pt x="2706" y="799"/>
                    <a:pt x="2713" y="810"/>
                    <a:pt x="2713" y="822"/>
                  </a:cubicBezTo>
                  <a:cubicBezTo>
                    <a:pt x="2715" y="833"/>
                    <a:pt x="2705" y="848"/>
                    <a:pt x="2687" y="865"/>
                  </a:cubicBezTo>
                  <a:cubicBezTo>
                    <a:pt x="2682" y="868"/>
                    <a:pt x="2678" y="873"/>
                    <a:pt x="2673" y="876"/>
                  </a:cubicBezTo>
                  <a:cubicBezTo>
                    <a:pt x="2659" y="886"/>
                    <a:pt x="2645" y="898"/>
                    <a:pt x="2635" y="912"/>
                  </a:cubicBezTo>
                  <a:cubicBezTo>
                    <a:pt x="2624" y="932"/>
                    <a:pt x="2621" y="955"/>
                    <a:pt x="2621" y="977"/>
                  </a:cubicBezTo>
                  <a:cubicBezTo>
                    <a:pt x="2619" y="987"/>
                    <a:pt x="2619" y="996"/>
                    <a:pt x="2616" y="1006"/>
                  </a:cubicBezTo>
                  <a:cubicBezTo>
                    <a:pt x="2611" y="1034"/>
                    <a:pt x="2588" y="1056"/>
                    <a:pt x="2563" y="1079"/>
                  </a:cubicBezTo>
                  <a:cubicBezTo>
                    <a:pt x="2545" y="1097"/>
                    <a:pt x="2527" y="1115"/>
                    <a:pt x="2514" y="1136"/>
                  </a:cubicBezTo>
                  <a:cubicBezTo>
                    <a:pt x="2499" y="1161"/>
                    <a:pt x="2505" y="1178"/>
                    <a:pt x="2510" y="1194"/>
                  </a:cubicBezTo>
                  <a:cubicBezTo>
                    <a:pt x="2512" y="1201"/>
                    <a:pt x="2514" y="1209"/>
                    <a:pt x="2515" y="1219"/>
                  </a:cubicBezTo>
                  <a:cubicBezTo>
                    <a:pt x="2517" y="1234"/>
                    <a:pt x="2510" y="1244"/>
                    <a:pt x="2500" y="1257"/>
                  </a:cubicBezTo>
                  <a:cubicBezTo>
                    <a:pt x="2495" y="1265"/>
                    <a:pt x="2489" y="1275"/>
                    <a:pt x="2484" y="1286"/>
                  </a:cubicBezTo>
                  <a:cubicBezTo>
                    <a:pt x="2476" y="1311"/>
                    <a:pt x="2476" y="1349"/>
                    <a:pt x="2476" y="1377"/>
                  </a:cubicBezTo>
                  <a:lnTo>
                    <a:pt x="2476" y="1403"/>
                  </a:lnTo>
                  <a:cubicBezTo>
                    <a:pt x="2474" y="1425"/>
                    <a:pt x="2474" y="1441"/>
                    <a:pt x="2469" y="1463"/>
                  </a:cubicBezTo>
                  <a:cubicBezTo>
                    <a:pt x="2467" y="1474"/>
                    <a:pt x="2464" y="1489"/>
                    <a:pt x="2472" y="1501"/>
                  </a:cubicBezTo>
                  <a:cubicBezTo>
                    <a:pt x="2479" y="1510"/>
                    <a:pt x="2491" y="1514"/>
                    <a:pt x="2507" y="1517"/>
                  </a:cubicBezTo>
                  <a:cubicBezTo>
                    <a:pt x="2523" y="1520"/>
                    <a:pt x="2538" y="1525"/>
                    <a:pt x="2553" y="1530"/>
                  </a:cubicBezTo>
                  <a:cubicBezTo>
                    <a:pt x="2561" y="1533"/>
                    <a:pt x="2571" y="1537"/>
                    <a:pt x="2579" y="1538"/>
                  </a:cubicBezTo>
                  <a:cubicBezTo>
                    <a:pt x="2594" y="1543"/>
                    <a:pt x="2609" y="1542"/>
                    <a:pt x="2622" y="1543"/>
                  </a:cubicBezTo>
                  <a:cubicBezTo>
                    <a:pt x="2637" y="1543"/>
                    <a:pt x="2649" y="1543"/>
                    <a:pt x="2660" y="1547"/>
                  </a:cubicBezTo>
                  <a:cubicBezTo>
                    <a:pt x="2675" y="1552"/>
                    <a:pt x="2682" y="1563"/>
                    <a:pt x="2690" y="1578"/>
                  </a:cubicBezTo>
                  <a:cubicBezTo>
                    <a:pt x="2693" y="1585"/>
                    <a:pt x="2696" y="1591"/>
                    <a:pt x="2700" y="1596"/>
                  </a:cubicBezTo>
                  <a:cubicBezTo>
                    <a:pt x="2706" y="1606"/>
                    <a:pt x="2713" y="1614"/>
                    <a:pt x="2721" y="1622"/>
                  </a:cubicBezTo>
                  <a:cubicBezTo>
                    <a:pt x="2731" y="1634"/>
                    <a:pt x="2741" y="1646"/>
                    <a:pt x="2748" y="1660"/>
                  </a:cubicBezTo>
                  <a:cubicBezTo>
                    <a:pt x="2757" y="1687"/>
                    <a:pt x="2766" y="1702"/>
                    <a:pt x="2787" y="1721"/>
                  </a:cubicBezTo>
                  <a:cubicBezTo>
                    <a:pt x="2812" y="1741"/>
                    <a:pt x="2817" y="1761"/>
                    <a:pt x="2808" y="1790"/>
                  </a:cubicBezTo>
                  <a:cubicBezTo>
                    <a:pt x="2808" y="1792"/>
                    <a:pt x="2808" y="1795"/>
                    <a:pt x="2807" y="1797"/>
                  </a:cubicBezTo>
                  <a:cubicBezTo>
                    <a:pt x="2804" y="1807"/>
                    <a:pt x="2800" y="1817"/>
                    <a:pt x="2797" y="1828"/>
                  </a:cubicBezTo>
                  <a:cubicBezTo>
                    <a:pt x="2797" y="1828"/>
                    <a:pt x="2795" y="1830"/>
                    <a:pt x="2795" y="183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46" name="Freeform 82">
              <a:extLst>
                <a:ext uri="{FF2B5EF4-FFF2-40B4-BE49-F238E27FC236}">
                  <a16:creationId xmlns:a16="http://schemas.microsoft.com/office/drawing/2014/main" id="{BFCE8451-B755-9342-A784-A3BF948AF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0663" y="4556125"/>
              <a:ext cx="282575" cy="207963"/>
            </a:xfrm>
            <a:custGeom>
              <a:avLst/>
              <a:gdLst>
                <a:gd name="T0" fmla="*/ 760 w 784"/>
                <a:gd name="T1" fmla="*/ 69 h 577"/>
                <a:gd name="T2" fmla="*/ 661 w 784"/>
                <a:gd name="T3" fmla="*/ 120 h 577"/>
                <a:gd name="T4" fmla="*/ 613 w 784"/>
                <a:gd name="T5" fmla="*/ 184 h 577"/>
                <a:gd name="T6" fmla="*/ 541 w 784"/>
                <a:gd name="T7" fmla="*/ 272 h 577"/>
                <a:gd name="T8" fmla="*/ 481 w 784"/>
                <a:gd name="T9" fmla="*/ 354 h 577"/>
                <a:gd name="T10" fmla="*/ 475 w 784"/>
                <a:gd name="T11" fmla="*/ 384 h 577"/>
                <a:gd name="T12" fmla="*/ 460 w 784"/>
                <a:gd name="T13" fmla="*/ 435 h 577"/>
                <a:gd name="T14" fmla="*/ 338 w 784"/>
                <a:gd name="T15" fmla="*/ 511 h 577"/>
                <a:gd name="T16" fmla="*/ 297 w 784"/>
                <a:gd name="T17" fmla="*/ 529 h 577"/>
                <a:gd name="T18" fmla="*/ 132 w 784"/>
                <a:gd name="T19" fmla="*/ 534 h 577"/>
                <a:gd name="T20" fmla="*/ 108 w 784"/>
                <a:gd name="T21" fmla="*/ 483 h 577"/>
                <a:gd name="T22" fmla="*/ 98 w 784"/>
                <a:gd name="T23" fmla="*/ 450 h 577"/>
                <a:gd name="T24" fmla="*/ 48 w 784"/>
                <a:gd name="T25" fmla="*/ 392 h 577"/>
                <a:gd name="T26" fmla="*/ 40 w 784"/>
                <a:gd name="T27" fmla="*/ 385 h 577"/>
                <a:gd name="T28" fmla="*/ 5 w 784"/>
                <a:gd name="T29" fmla="*/ 329 h 577"/>
                <a:gd name="T30" fmla="*/ 0 w 784"/>
                <a:gd name="T31" fmla="*/ 310 h 577"/>
                <a:gd name="T32" fmla="*/ 10 w 784"/>
                <a:gd name="T33" fmla="*/ 283 h 577"/>
                <a:gd name="T34" fmla="*/ 25 w 784"/>
                <a:gd name="T35" fmla="*/ 244 h 577"/>
                <a:gd name="T36" fmla="*/ 42 w 784"/>
                <a:gd name="T37" fmla="*/ 188 h 577"/>
                <a:gd name="T38" fmla="*/ 48 w 784"/>
                <a:gd name="T39" fmla="*/ 166 h 577"/>
                <a:gd name="T40" fmla="*/ 75 w 784"/>
                <a:gd name="T41" fmla="*/ 153 h 577"/>
                <a:gd name="T42" fmla="*/ 136 w 784"/>
                <a:gd name="T43" fmla="*/ 94 h 577"/>
                <a:gd name="T44" fmla="*/ 144 w 784"/>
                <a:gd name="T45" fmla="*/ 81 h 577"/>
                <a:gd name="T46" fmla="*/ 173 w 784"/>
                <a:gd name="T47" fmla="*/ 56 h 577"/>
                <a:gd name="T48" fmla="*/ 213 w 784"/>
                <a:gd name="T49" fmla="*/ 57 h 577"/>
                <a:gd name="T50" fmla="*/ 267 w 784"/>
                <a:gd name="T51" fmla="*/ 57 h 577"/>
                <a:gd name="T52" fmla="*/ 304 w 784"/>
                <a:gd name="T53" fmla="*/ 46 h 577"/>
                <a:gd name="T54" fmla="*/ 350 w 784"/>
                <a:gd name="T55" fmla="*/ 33 h 577"/>
                <a:gd name="T56" fmla="*/ 397 w 784"/>
                <a:gd name="T57" fmla="*/ 57 h 577"/>
                <a:gd name="T58" fmla="*/ 424 w 784"/>
                <a:gd name="T59" fmla="*/ 87 h 577"/>
                <a:gd name="T60" fmla="*/ 585 w 784"/>
                <a:gd name="T61" fmla="*/ 89 h 577"/>
                <a:gd name="T62" fmla="*/ 615 w 784"/>
                <a:gd name="T63" fmla="*/ 59 h 577"/>
                <a:gd name="T64" fmla="*/ 641 w 784"/>
                <a:gd name="T65" fmla="*/ 36 h 577"/>
                <a:gd name="T66" fmla="*/ 668 w 784"/>
                <a:gd name="T67" fmla="*/ 38 h 577"/>
                <a:gd name="T68" fmla="*/ 710 w 784"/>
                <a:gd name="T69" fmla="*/ 38 h 577"/>
                <a:gd name="T70" fmla="*/ 737 w 784"/>
                <a:gd name="T71" fmla="*/ 16 h 577"/>
                <a:gd name="T72" fmla="*/ 750 w 784"/>
                <a:gd name="T73" fmla="*/ 1 h 577"/>
                <a:gd name="T74" fmla="*/ 763 w 784"/>
                <a:gd name="T75" fmla="*/ 3 h 577"/>
                <a:gd name="T76" fmla="*/ 778 w 784"/>
                <a:gd name="T77" fmla="*/ 29 h 577"/>
                <a:gd name="T78" fmla="*/ 783 w 784"/>
                <a:gd name="T79" fmla="*/ 79 h 577"/>
                <a:gd name="T80" fmla="*/ 760 w 784"/>
                <a:gd name="T81" fmla="*/ 69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84" h="577">
                  <a:moveTo>
                    <a:pt x="760" y="69"/>
                  </a:moveTo>
                  <a:cubicBezTo>
                    <a:pt x="727" y="62"/>
                    <a:pt x="686" y="92"/>
                    <a:pt x="661" y="120"/>
                  </a:cubicBezTo>
                  <a:cubicBezTo>
                    <a:pt x="641" y="141"/>
                    <a:pt x="628" y="163"/>
                    <a:pt x="613" y="184"/>
                  </a:cubicBezTo>
                  <a:cubicBezTo>
                    <a:pt x="592" y="217"/>
                    <a:pt x="572" y="249"/>
                    <a:pt x="541" y="272"/>
                  </a:cubicBezTo>
                  <a:cubicBezTo>
                    <a:pt x="511" y="295"/>
                    <a:pt x="491" y="316"/>
                    <a:pt x="481" y="354"/>
                  </a:cubicBezTo>
                  <a:cubicBezTo>
                    <a:pt x="478" y="364"/>
                    <a:pt x="477" y="374"/>
                    <a:pt x="475" y="384"/>
                  </a:cubicBezTo>
                  <a:cubicBezTo>
                    <a:pt x="472" y="402"/>
                    <a:pt x="468" y="420"/>
                    <a:pt x="460" y="435"/>
                  </a:cubicBezTo>
                  <a:cubicBezTo>
                    <a:pt x="437" y="473"/>
                    <a:pt x="384" y="494"/>
                    <a:pt x="338" y="511"/>
                  </a:cubicBezTo>
                  <a:cubicBezTo>
                    <a:pt x="323" y="517"/>
                    <a:pt x="309" y="522"/>
                    <a:pt x="297" y="529"/>
                  </a:cubicBezTo>
                  <a:cubicBezTo>
                    <a:pt x="239" y="555"/>
                    <a:pt x="173" y="576"/>
                    <a:pt x="132" y="534"/>
                  </a:cubicBezTo>
                  <a:cubicBezTo>
                    <a:pt x="117" y="519"/>
                    <a:pt x="112" y="502"/>
                    <a:pt x="108" y="483"/>
                  </a:cubicBezTo>
                  <a:cubicBezTo>
                    <a:pt x="106" y="471"/>
                    <a:pt x="103" y="461"/>
                    <a:pt x="98" y="450"/>
                  </a:cubicBezTo>
                  <a:cubicBezTo>
                    <a:pt x="88" y="422"/>
                    <a:pt x="68" y="407"/>
                    <a:pt x="48" y="392"/>
                  </a:cubicBezTo>
                  <a:lnTo>
                    <a:pt x="40" y="385"/>
                  </a:lnTo>
                  <a:cubicBezTo>
                    <a:pt x="19" y="370"/>
                    <a:pt x="14" y="359"/>
                    <a:pt x="5" y="329"/>
                  </a:cubicBezTo>
                  <a:cubicBezTo>
                    <a:pt x="5" y="323"/>
                    <a:pt x="2" y="316"/>
                    <a:pt x="0" y="310"/>
                  </a:cubicBezTo>
                  <a:cubicBezTo>
                    <a:pt x="2" y="301"/>
                    <a:pt x="7" y="293"/>
                    <a:pt x="10" y="283"/>
                  </a:cubicBezTo>
                  <a:cubicBezTo>
                    <a:pt x="15" y="272"/>
                    <a:pt x="22" y="258"/>
                    <a:pt x="25" y="244"/>
                  </a:cubicBezTo>
                  <a:cubicBezTo>
                    <a:pt x="28" y="224"/>
                    <a:pt x="35" y="206"/>
                    <a:pt x="42" y="188"/>
                  </a:cubicBezTo>
                  <a:cubicBezTo>
                    <a:pt x="45" y="181"/>
                    <a:pt x="47" y="173"/>
                    <a:pt x="48" y="166"/>
                  </a:cubicBezTo>
                  <a:cubicBezTo>
                    <a:pt x="58" y="163"/>
                    <a:pt x="66" y="158"/>
                    <a:pt x="75" y="153"/>
                  </a:cubicBezTo>
                  <a:cubicBezTo>
                    <a:pt x="101" y="137"/>
                    <a:pt x="121" y="118"/>
                    <a:pt x="136" y="94"/>
                  </a:cubicBezTo>
                  <a:cubicBezTo>
                    <a:pt x="139" y="89"/>
                    <a:pt x="140" y="85"/>
                    <a:pt x="144" y="81"/>
                  </a:cubicBezTo>
                  <a:cubicBezTo>
                    <a:pt x="152" y="64"/>
                    <a:pt x="155" y="59"/>
                    <a:pt x="173" y="56"/>
                  </a:cubicBezTo>
                  <a:cubicBezTo>
                    <a:pt x="187" y="54"/>
                    <a:pt x="200" y="56"/>
                    <a:pt x="213" y="57"/>
                  </a:cubicBezTo>
                  <a:cubicBezTo>
                    <a:pt x="229" y="61"/>
                    <a:pt x="248" y="62"/>
                    <a:pt x="267" y="57"/>
                  </a:cubicBezTo>
                  <a:cubicBezTo>
                    <a:pt x="281" y="56"/>
                    <a:pt x="292" y="51"/>
                    <a:pt x="304" y="46"/>
                  </a:cubicBezTo>
                  <a:cubicBezTo>
                    <a:pt x="320" y="39"/>
                    <a:pt x="335" y="34"/>
                    <a:pt x="350" y="33"/>
                  </a:cubicBezTo>
                  <a:cubicBezTo>
                    <a:pt x="376" y="29"/>
                    <a:pt x="384" y="41"/>
                    <a:pt x="397" y="57"/>
                  </a:cubicBezTo>
                  <a:cubicBezTo>
                    <a:pt x="404" y="67"/>
                    <a:pt x="412" y="77"/>
                    <a:pt x="424" y="87"/>
                  </a:cubicBezTo>
                  <a:cubicBezTo>
                    <a:pt x="463" y="118"/>
                    <a:pt x="541" y="113"/>
                    <a:pt x="585" y="89"/>
                  </a:cubicBezTo>
                  <a:cubicBezTo>
                    <a:pt x="598" y="81"/>
                    <a:pt x="607" y="70"/>
                    <a:pt x="615" y="59"/>
                  </a:cubicBezTo>
                  <a:cubicBezTo>
                    <a:pt x="623" y="48"/>
                    <a:pt x="631" y="39"/>
                    <a:pt x="641" y="36"/>
                  </a:cubicBezTo>
                  <a:cubicBezTo>
                    <a:pt x="650" y="33"/>
                    <a:pt x="658" y="34"/>
                    <a:pt x="668" y="38"/>
                  </a:cubicBezTo>
                  <a:cubicBezTo>
                    <a:pt x="681" y="41"/>
                    <a:pt x="696" y="44"/>
                    <a:pt x="710" y="38"/>
                  </a:cubicBezTo>
                  <a:cubicBezTo>
                    <a:pt x="724" y="33"/>
                    <a:pt x="730" y="23"/>
                    <a:pt x="737" y="16"/>
                  </a:cubicBezTo>
                  <a:cubicBezTo>
                    <a:pt x="742" y="8"/>
                    <a:pt x="745" y="3"/>
                    <a:pt x="750" y="1"/>
                  </a:cubicBezTo>
                  <a:cubicBezTo>
                    <a:pt x="757" y="0"/>
                    <a:pt x="760" y="1"/>
                    <a:pt x="763" y="3"/>
                  </a:cubicBezTo>
                  <a:cubicBezTo>
                    <a:pt x="768" y="6"/>
                    <a:pt x="775" y="15"/>
                    <a:pt x="778" y="29"/>
                  </a:cubicBezTo>
                  <a:cubicBezTo>
                    <a:pt x="783" y="44"/>
                    <a:pt x="783" y="61"/>
                    <a:pt x="783" y="79"/>
                  </a:cubicBezTo>
                  <a:cubicBezTo>
                    <a:pt x="775" y="72"/>
                    <a:pt x="766" y="71"/>
                    <a:pt x="760" y="69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47" name="Freeform 83">
              <a:extLst>
                <a:ext uri="{FF2B5EF4-FFF2-40B4-BE49-F238E27FC236}">
                  <a16:creationId xmlns:a16="http://schemas.microsoft.com/office/drawing/2014/main" id="{508C1B40-CC67-A246-81CD-A9BC50C14E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05725" y="2154238"/>
              <a:ext cx="771525" cy="984250"/>
            </a:xfrm>
            <a:custGeom>
              <a:avLst/>
              <a:gdLst>
                <a:gd name="T0" fmla="*/ 1580 w 2144"/>
                <a:gd name="T1" fmla="*/ 178 h 2733"/>
                <a:gd name="T2" fmla="*/ 1669 w 2144"/>
                <a:gd name="T3" fmla="*/ 219 h 2733"/>
                <a:gd name="T4" fmla="*/ 1713 w 2144"/>
                <a:gd name="T5" fmla="*/ 288 h 2733"/>
                <a:gd name="T6" fmla="*/ 1811 w 2144"/>
                <a:gd name="T7" fmla="*/ 402 h 2733"/>
                <a:gd name="T8" fmla="*/ 1951 w 2144"/>
                <a:gd name="T9" fmla="*/ 554 h 2733"/>
                <a:gd name="T10" fmla="*/ 2078 w 2144"/>
                <a:gd name="T11" fmla="*/ 595 h 2733"/>
                <a:gd name="T12" fmla="*/ 2124 w 2144"/>
                <a:gd name="T13" fmla="*/ 855 h 2733"/>
                <a:gd name="T14" fmla="*/ 2028 w 2144"/>
                <a:gd name="T15" fmla="*/ 952 h 2733"/>
                <a:gd name="T16" fmla="*/ 1881 w 2144"/>
                <a:gd name="T17" fmla="*/ 826 h 2733"/>
                <a:gd name="T18" fmla="*/ 1807 w 2144"/>
                <a:gd name="T19" fmla="*/ 888 h 2733"/>
                <a:gd name="T20" fmla="*/ 1662 w 2144"/>
                <a:gd name="T21" fmla="*/ 1036 h 2733"/>
                <a:gd name="T22" fmla="*/ 1598 w 2144"/>
                <a:gd name="T23" fmla="*/ 1221 h 2733"/>
                <a:gd name="T24" fmla="*/ 1677 w 2144"/>
                <a:gd name="T25" fmla="*/ 1659 h 2733"/>
                <a:gd name="T26" fmla="*/ 1748 w 2144"/>
                <a:gd name="T27" fmla="*/ 1916 h 2733"/>
                <a:gd name="T28" fmla="*/ 1839 w 2144"/>
                <a:gd name="T29" fmla="*/ 1868 h 2733"/>
                <a:gd name="T30" fmla="*/ 1801 w 2144"/>
                <a:gd name="T31" fmla="*/ 2051 h 2733"/>
                <a:gd name="T32" fmla="*/ 1751 w 2144"/>
                <a:gd name="T33" fmla="*/ 2214 h 2733"/>
                <a:gd name="T34" fmla="*/ 1537 w 2144"/>
                <a:gd name="T35" fmla="*/ 2376 h 2733"/>
                <a:gd name="T36" fmla="*/ 1450 w 2144"/>
                <a:gd name="T37" fmla="*/ 2232 h 2733"/>
                <a:gd name="T38" fmla="*/ 1190 w 2144"/>
                <a:gd name="T39" fmla="*/ 2537 h 2733"/>
                <a:gd name="T40" fmla="*/ 1081 w 2144"/>
                <a:gd name="T41" fmla="*/ 2699 h 2733"/>
                <a:gd name="T42" fmla="*/ 951 w 2144"/>
                <a:gd name="T43" fmla="*/ 2643 h 2733"/>
                <a:gd name="T44" fmla="*/ 837 w 2144"/>
                <a:gd name="T45" fmla="*/ 2634 h 2733"/>
                <a:gd name="T46" fmla="*/ 699 w 2144"/>
                <a:gd name="T47" fmla="*/ 2672 h 2733"/>
                <a:gd name="T48" fmla="*/ 667 w 2144"/>
                <a:gd name="T49" fmla="*/ 2545 h 2733"/>
                <a:gd name="T50" fmla="*/ 671 w 2144"/>
                <a:gd name="T51" fmla="*/ 2438 h 2733"/>
                <a:gd name="T52" fmla="*/ 511 w 2144"/>
                <a:gd name="T53" fmla="*/ 2265 h 2733"/>
                <a:gd name="T54" fmla="*/ 318 w 2144"/>
                <a:gd name="T55" fmla="*/ 2285 h 2733"/>
                <a:gd name="T56" fmla="*/ 236 w 2144"/>
                <a:gd name="T57" fmla="*/ 2237 h 2733"/>
                <a:gd name="T58" fmla="*/ 211 w 2144"/>
                <a:gd name="T59" fmla="*/ 2152 h 2733"/>
                <a:gd name="T60" fmla="*/ 86 w 2144"/>
                <a:gd name="T61" fmla="*/ 2030 h 2733"/>
                <a:gd name="T62" fmla="*/ 38 w 2144"/>
                <a:gd name="T63" fmla="*/ 1959 h 2733"/>
                <a:gd name="T64" fmla="*/ 0 w 2144"/>
                <a:gd name="T65" fmla="*/ 1830 h 2733"/>
                <a:gd name="T66" fmla="*/ 18 w 2144"/>
                <a:gd name="T67" fmla="*/ 1725 h 2733"/>
                <a:gd name="T68" fmla="*/ 94 w 2144"/>
                <a:gd name="T69" fmla="*/ 1653 h 2733"/>
                <a:gd name="T70" fmla="*/ 211 w 2144"/>
                <a:gd name="T71" fmla="*/ 1570 h 2733"/>
                <a:gd name="T72" fmla="*/ 201 w 2144"/>
                <a:gd name="T73" fmla="*/ 1437 h 2733"/>
                <a:gd name="T74" fmla="*/ 288 w 2144"/>
                <a:gd name="T75" fmla="*/ 1318 h 2733"/>
                <a:gd name="T76" fmla="*/ 404 w 2144"/>
                <a:gd name="T77" fmla="*/ 1358 h 2733"/>
                <a:gd name="T78" fmla="*/ 460 w 2144"/>
                <a:gd name="T79" fmla="*/ 1214 h 2733"/>
                <a:gd name="T80" fmla="*/ 519 w 2144"/>
                <a:gd name="T81" fmla="*/ 1135 h 2733"/>
                <a:gd name="T82" fmla="*/ 452 w 2144"/>
                <a:gd name="T83" fmla="*/ 966 h 2733"/>
                <a:gd name="T84" fmla="*/ 366 w 2144"/>
                <a:gd name="T85" fmla="*/ 667 h 2733"/>
                <a:gd name="T86" fmla="*/ 349 w 2144"/>
                <a:gd name="T87" fmla="*/ 555 h 2733"/>
                <a:gd name="T88" fmla="*/ 522 w 2144"/>
                <a:gd name="T89" fmla="*/ 409 h 2733"/>
                <a:gd name="T90" fmla="*/ 638 w 2144"/>
                <a:gd name="T91" fmla="*/ 348 h 2733"/>
                <a:gd name="T92" fmla="*/ 661 w 2144"/>
                <a:gd name="T93" fmla="*/ 234 h 2733"/>
                <a:gd name="T94" fmla="*/ 659 w 2144"/>
                <a:gd name="T95" fmla="*/ 132 h 2733"/>
                <a:gd name="T96" fmla="*/ 760 w 2144"/>
                <a:gd name="T97" fmla="*/ 160 h 2733"/>
                <a:gd name="T98" fmla="*/ 959 w 2144"/>
                <a:gd name="T99" fmla="*/ 162 h 2733"/>
                <a:gd name="T100" fmla="*/ 1130 w 2144"/>
                <a:gd name="T101" fmla="*/ 132 h 2733"/>
                <a:gd name="T102" fmla="*/ 1328 w 2144"/>
                <a:gd name="T103" fmla="*/ 86 h 2733"/>
                <a:gd name="T104" fmla="*/ 1504 w 2144"/>
                <a:gd name="T105" fmla="*/ 38 h 2733"/>
                <a:gd name="T106" fmla="*/ 1517 w 2144"/>
                <a:gd name="T107" fmla="*/ 84 h 2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44" h="2733">
                  <a:moveTo>
                    <a:pt x="1517" y="84"/>
                  </a:moveTo>
                  <a:cubicBezTo>
                    <a:pt x="1512" y="94"/>
                    <a:pt x="1508" y="106"/>
                    <a:pt x="1512" y="120"/>
                  </a:cubicBezTo>
                  <a:cubicBezTo>
                    <a:pt x="1517" y="137"/>
                    <a:pt x="1536" y="148"/>
                    <a:pt x="1554" y="158"/>
                  </a:cubicBezTo>
                  <a:cubicBezTo>
                    <a:pt x="1565" y="165"/>
                    <a:pt x="1575" y="171"/>
                    <a:pt x="1580" y="178"/>
                  </a:cubicBezTo>
                  <a:cubicBezTo>
                    <a:pt x="1583" y="180"/>
                    <a:pt x="1585" y="183"/>
                    <a:pt x="1587" y="185"/>
                  </a:cubicBezTo>
                  <a:cubicBezTo>
                    <a:pt x="1593" y="193"/>
                    <a:pt x="1600" y="203"/>
                    <a:pt x="1615" y="208"/>
                  </a:cubicBezTo>
                  <a:cubicBezTo>
                    <a:pt x="1624" y="211"/>
                    <a:pt x="1634" y="213"/>
                    <a:pt x="1643" y="213"/>
                  </a:cubicBezTo>
                  <a:cubicBezTo>
                    <a:pt x="1652" y="214"/>
                    <a:pt x="1662" y="214"/>
                    <a:pt x="1669" y="219"/>
                  </a:cubicBezTo>
                  <a:cubicBezTo>
                    <a:pt x="1676" y="224"/>
                    <a:pt x="1677" y="227"/>
                    <a:pt x="1679" y="236"/>
                  </a:cubicBezTo>
                  <a:cubicBezTo>
                    <a:pt x="1679" y="241"/>
                    <a:pt x="1680" y="249"/>
                    <a:pt x="1684" y="255"/>
                  </a:cubicBezTo>
                  <a:cubicBezTo>
                    <a:pt x="1689" y="270"/>
                    <a:pt x="1697" y="277"/>
                    <a:pt x="1707" y="284"/>
                  </a:cubicBezTo>
                  <a:cubicBezTo>
                    <a:pt x="1709" y="285"/>
                    <a:pt x="1712" y="287"/>
                    <a:pt x="1713" y="288"/>
                  </a:cubicBezTo>
                  <a:cubicBezTo>
                    <a:pt x="1727" y="300"/>
                    <a:pt x="1727" y="310"/>
                    <a:pt x="1728" y="326"/>
                  </a:cubicBezTo>
                  <a:cubicBezTo>
                    <a:pt x="1728" y="336"/>
                    <a:pt x="1728" y="348"/>
                    <a:pt x="1732" y="361"/>
                  </a:cubicBezTo>
                  <a:cubicBezTo>
                    <a:pt x="1741" y="396"/>
                    <a:pt x="1763" y="410"/>
                    <a:pt x="1796" y="405"/>
                  </a:cubicBezTo>
                  <a:lnTo>
                    <a:pt x="1811" y="402"/>
                  </a:lnTo>
                  <a:cubicBezTo>
                    <a:pt x="1835" y="397"/>
                    <a:pt x="1852" y="396"/>
                    <a:pt x="1877" y="405"/>
                  </a:cubicBezTo>
                  <a:cubicBezTo>
                    <a:pt x="1903" y="414"/>
                    <a:pt x="1942" y="443"/>
                    <a:pt x="1946" y="463"/>
                  </a:cubicBezTo>
                  <a:cubicBezTo>
                    <a:pt x="1946" y="466"/>
                    <a:pt x="1942" y="478"/>
                    <a:pt x="1941" y="486"/>
                  </a:cubicBezTo>
                  <a:cubicBezTo>
                    <a:pt x="1934" y="506"/>
                    <a:pt x="1924" y="537"/>
                    <a:pt x="1951" y="554"/>
                  </a:cubicBezTo>
                  <a:cubicBezTo>
                    <a:pt x="1965" y="562"/>
                    <a:pt x="1979" y="555"/>
                    <a:pt x="1985" y="552"/>
                  </a:cubicBezTo>
                  <a:cubicBezTo>
                    <a:pt x="1987" y="550"/>
                    <a:pt x="1990" y="549"/>
                    <a:pt x="1992" y="549"/>
                  </a:cubicBezTo>
                  <a:cubicBezTo>
                    <a:pt x="2005" y="545"/>
                    <a:pt x="2007" y="545"/>
                    <a:pt x="2020" y="557"/>
                  </a:cubicBezTo>
                  <a:cubicBezTo>
                    <a:pt x="2040" y="575"/>
                    <a:pt x="2058" y="588"/>
                    <a:pt x="2078" y="595"/>
                  </a:cubicBezTo>
                  <a:cubicBezTo>
                    <a:pt x="2078" y="600"/>
                    <a:pt x="2079" y="605"/>
                    <a:pt x="2081" y="610"/>
                  </a:cubicBezTo>
                  <a:cubicBezTo>
                    <a:pt x="2087" y="628"/>
                    <a:pt x="2101" y="639"/>
                    <a:pt x="2102" y="661"/>
                  </a:cubicBezTo>
                  <a:cubicBezTo>
                    <a:pt x="2102" y="687"/>
                    <a:pt x="2099" y="697"/>
                    <a:pt x="2107" y="723"/>
                  </a:cubicBezTo>
                  <a:cubicBezTo>
                    <a:pt x="2120" y="766"/>
                    <a:pt x="2124" y="811"/>
                    <a:pt x="2124" y="855"/>
                  </a:cubicBezTo>
                  <a:cubicBezTo>
                    <a:pt x="2124" y="875"/>
                    <a:pt x="2132" y="888"/>
                    <a:pt x="2137" y="905"/>
                  </a:cubicBezTo>
                  <a:cubicBezTo>
                    <a:pt x="2143" y="933"/>
                    <a:pt x="2127" y="941"/>
                    <a:pt x="2124" y="967"/>
                  </a:cubicBezTo>
                  <a:cubicBezTo>
                    <a:pt x="2120" y="995"/>
                    <a:pt x="2135" y="1041"/>
                    <a:pt x="2097" y="1000"/>
                  </a:cubicBezTo>
                  <a:cubicBezTo>
                    <a:pt x="2079" y="980"/>
                    <a:pt x="2059" y="921"/>
                    <a:pt x="2028" y="952"/>
                  </a:cubicBezTo>
                  <a:cubicBezTo>
                    <a:pt x="2020" y="959"/>
                    <a:pt x="2018" y="980"/>
                    <a:pt x="2007" y="982"/>
                  </a:cubicBezTo>
                  <a:cubicBezTo>
                    <a:pt x="1997" y="984"/>
                    <a:pt x="1977" y="966"/>
                    <a:pt x="1970" y="961"/>
                  </a:cubicBezTo>
                  <a:cubicBezTo>
                    <a:pt x="1939" y="938"/>
                    <a:pt x="1923" y="906"/>
                    <a:pt x="1909" y="870"/>
                  </a:cubicBezTo>
                  <a:cubicBezTo>
                    <a:pt x="1901" y="852"/>
                    <a:pt x="1891" y="842"/>
                    <a:pt x="1881" y="826"/>
                  </a:cubicBezTo>
                  <a:cubicBezTo>
                    <a:pt x="1875" y="811"/>
                    <a:pt x="1880" y="802"/>
                    <a:pt x="1865" y="789"/>
                  </a:cubicBezTo>
                  <a:cubicBezTo>
                    <a:pt x="1844" y="771"/>
                    <a:pt x="1814" y="776"/>
                    <a:pt x="1817" y="809"/>
                  </a:cubicBezTo>
                  <a:cubicBezTo>
                    <a:pt x="1819" y="827"/>
                    <a:pt x="1839" y="839"/>
                    <a:pt x="1835" y="857"/>
                  </a:cubicBezTo>
                  <a:cubicBezTo>
                    <a:pt x="1834" y="870"/>
                    <a:pt x="1817" y="882"/>
                    <a:pt x="1807" y="888"/>
                  </a:cubicBezTo>
                  <a:cubicBezTo>
                    <a:pt x="1774" y="906"/>
                    <a:pt x="1763" y="865"/>
                    <a:pt x="1732" y="886"/>
                  </a:cubicBezTo>
                  <a:cubicBezTo>
                    <a:pt x="1713" y="901"/>
                    <a:pt x="1715" y="923"/>
                    <a:pt x="1712" y="942"/>
                  </a:cubicBezTo>
                  <a:cubicBezTo>
                    <a:pt x="1709" y="964"/>
                    <a:pt x="1700" y="972"/>
                    <a:pt x="1687" y="989"/>
                  </a:cubicBezTo>
                  <a:cubicBezTo>
                    <a:pt x="1676" y="1003"/>
                    <a:pt x="1671" y="1020"/>
                    <a:pt x="1662" y="1036"/>
                  </a:cubicBezTo>
                  <a:cubicBezTo>
                    <a:pt x="1651" y="1053"/>
                    <a:pt x="1639" y="1058"/>
                    <a:pt x="1624" y="1069"/>
                  </a:cubicBezTo>
                  <a:cubicBezTo>
                    <a:pt x="1605" y="1086"/>
                    <a:pt x="1601" y="1099"/>
                    <a:pt x="1596" y="1122"/>
                  </a:cubicBezTo>
                  <a:cubicBezTo>
                    <a:pt x="1593" y="1137"/>
                    <a:pt x="1583" y="1153"/>
                    <a:pt x="1585" y="1170"/>
                  </a:cubicBezTo>
                  <a:cubicBezTo>
                    <a:pt x="1585" y="1188"/>
                    <a:pt x="1596" y="1201"/>
                    <a:pt x="1598" y="1221"/>
                  </a:cubicBezTo>
                  <a:cubicBezTo>
                    <a:pt x="1598" y="1249"/>
                    <a:pt x="1592" y="1260"/>
                    <a:pt x="1613" y="1283"/>
                  </a:cubicBezTo>
                  <a:cubicBezTo>
                    <a:pt x="1644" y="1321"/>
                    <a:pt x="1634" y="1346"/>
                    <a:pt x="1634" y="1394"/>
                  </a:cubicBezTo>
                  <a:cubicBezTo>
                    <a:pt x="1634" y="1447"/>
                    <a:pt x="1676" y="1463"/>
                    <a:pt x="1684" y="1511"/>
                  </a:cubicBezTo>
                  <a:cubicBezTo>
                    <a:pt x="1692" y="1559"/>
                    <a:pt x="1676" y="1611"/>
                    <a:pt x="1677" y="1659"/>
                  </a:cubicBezTo>
                  <a:cubicBezTo>
                    <a:pt x="1679" y="1707"/>
                    <a:pt x="1689" y="1746"/>
                    <a:pt x="1707" y="1791"/>
                  </a:cubicBezTo>
                  <a:cubicBezTo>
                    <a:pt x="1715" y="1814"/>
                    <a:pt x="1713" y="1824"/>
                    <a:pt x="1713" y="1844"/>
                  </a:cubicBezTo>
                  <a:cubicBezTo>
                    <a:pt x="1712" y="1858"/>
                    <a:pt x="1709" y="1853"/>
                    <a:pt x="1715" y="1868"/>
                  </a:cubicBezTo>
                  <a:cubicBezTo>
                    <a:pt x="1723" y="1885"/>
                    <a:pt x="1738" y="1900"/>
                    <a:pt x="1748" y="1916"/>
                  </a:cubicBezTo>
                  <a:cubicBezTo>
                    <a:pt x="1753" y="1926"/>
                    <a:pt x="1760" y="1946"/>
                    <a:pt x="1769" y="1952"/>
                  </a:cubicBezTo>
                  <a:cubicBezTo>
                    <a:pt x="1783" y="1959"/>
                    <a:pt x="1809" y="1947"/>
                    <a:pt x="1816" y="1931"/>
                  </a:cubicBezTo>
                  <a:cubicBezTo>
                    <a:pt x="1821" y="1918"/>
                    <a:pt x="1807" y="1908"/>
                    <a:pt x="1811" y="1893"/>
                  </a:cubicBezTo>
                  <a:cubicBezTo>
                    <a:pt x="1814" y="1883"/>
                    <a:pt x="1830" y="1875"/>
                    <a:pt x="1839" y="1868"/>
                  </a:cubicBezTo>
                  <a:cubicBezTo>
                    <a:pt x="1908" y="1821"/>
                    <a:pt x="1979" y="1885"/>
                    <a:pt x="1908" y="1947"/>
                  </a:cubicBezTo>
                  <a:cubicBezTo>
                    <a:pt x="1895" y="1959"/>
                    <a:pt x="1873" y="1967"/>
                    <a:pt x="1868" y="1985"/>
                  </a:cubicBezTo>
                  <a:cubicBezTo>
                    <a:pt x="1865" y="1998"/>
                    <a:pt x="1875" y="2012"/>
                    <a:pt x="1872" y="2026"/>
                  </a:cubicBezTo>
                  <a:cubicBezTo>
                    <a:pt x="1862" y="2064"/>
                    <a:pt x="1829" y="2051"/>
                    <a:pt x="1801" y="2051"/>
                  </a:cubicBezTo>
                  <a:cubicBezTo>
                    <a:pt x="1746" y="2054"/>
                    <a:pt x="1769" y="2094"/>
                    <a:pt x="1765" y="2130"/>
                  </a:cubicBezTo>
                  <a:cubicBezTo>
                    <a:pt x="1763" y="2140"/>
                    <a:pt x="1753" y="2147"/>
                    <a:pt x="1751" y="2158"/>
                  </a:cubicBezTo>
                  <a:cubicBezTo>
                    <a:pt x="1750" y="2163"/>
                    <a:pt x="1755" y="2168"/>
                    <a:pt x="1755" y="2173"/>
                  </a:cubicBezTo>
                  <a:cubicBezTo>
                    <a:pt x="1755" y="2188"/>
                    <a:pt x="1761" y="2199"/>
                    <a:pt x="1751" y="2214"/>
                  </a:cubicBezTo>
                  <a:cubicBezTo>
                    <a:pt x="1732" y="2239"/>
                    <a:pt x="1692" y="2227"/>
                    <a:pt x="1680" y="2264"/>
                  </a:cubicBezTo>
                  <a:cubicBezTo>
                    <a:pt x="1677" y="2283"/>
                    <a:pt x="1687" y="2297"/>
                    <a:pt x="1676" y="2315"/>
                  </a:cubicBezTo>
                  <a:cubicBezTo>
                    <a:pt x="1667" y="2331"/>
                    <a:pt x="1646" y="2344"/>
                    <a:pt x="1634" y="2358"/>
                  </a:cubicBezTo>
                  <a:cubicBezTo>
                    <a:pt x="1610" y="2381"/>
                    <a:pt x="1568" y="2409"/>
                    <a:pt x="1537" y="2376"/>
                  </a:cubicBezTo>
                  <a:cubicBezTo>
                    <a:pt x="1512" y="2351"/>
                    <a:pt x="1534" y="2316"/>
                    <a:pt x="1555" y="2298"/>
                  </a:cubicBezTo>
                  <a:cubicBezTo>
                    <a:pt x="1572" y="2283"/>
                    <a:pt x="1643" y="2259"/>
                    <a:pt x="1624" y="2227"/>
                  </a:cubicBezTo>
                  <a:cubicBezTo>
                    <a:pt x="1608" y="2196"/>
                    <a:pt x="1565" y="2251"/>
                    <a:pt x="1545" y="2252"/>
                  </a:cubicBezTo>
                  <a:cubicBezTo>
                    <a:pt x="1509" y="2255"/>
                    <a:pt x="1489" y="2213"/>
                    <a:pt x="1450" y="2232"/>
                  </a:cubicBezTo>
                  <a:cubicBezTo>
                    <a:pt x="1422" y="2247"/>
                    <a:pt x="1414" y="2283"/>
                    <a:pt x="1391" y="2305"/>
                  </a:cubicBezTo>
                  <a:cubicBezTo>
                    <a:pt x="1336" y="2353"/>
                    <a:pt x="1183" y="2339"/>
                    <a:pt x="1199" y="2447"/>
                  </a:cubicBezTo>
                  <a:cubicBezTo>
                    <a:pt x="1204" y="2476"/>
                    <a:pt x="1208" y="2475"/>
                    <a:pt x="1195" y="2499"/>
                  </a:cubicBezTo>
                  <a:cubicBezTo>
                    <a:pt x="1188" y="2514"/>
                    <a:pt x="1180" y="2519"/>
                    <a:pt x="1190" y="2537"/>
                  </a:cubicBezTo>
                  <a:cubicBezTo>
                    <a:pt x="1203" y="2560"/>
                    <a:pt x="1204" y="2547"/>
                    <a:pt x="1223" y="2549"/>
                  </a:cubicBezTo>
                  <a:cubicBezTo>
                    <a:pt x="1236" y="2550"/>
                    <a:pt x="1249" y="2545"/>
                    <a:pt x="1241" y="2567"/>
                  </a:cubicBezTo>
                  <a:cubicBezTo>
                    <a:pt x="1216" y="2634"/>
                    <a:pt x="1099" y="2560"/>
                    <a:pt x="1101" y="2651"/>
                  </a:cubicBezTo>
                  <a:cubicBezTo>
                    <a:pt x="1101" y="2677"/>
                    <a:pt x="1109" y="2682"/>
                    <a:pt x="1081" y="2699"/>
                  </a:cubicBezTo>
                  <a:cubicBezTo>
                    <a:pt x="1061" y="2710"/>
                    <a:pt x="1040" y="2718"/>
                    <a:pt x="1020" y="2727"/>
                  </a:cubicBezTo>
                  <a:cubicBezTo>
                    <a:pt x="1018" y="2728"/>
                    <a:pt x="1015" y="2730"/>
                    <a:pt x="1012" y="2732"/>
                  </a:cubicBezTo>
                  <a:cubicBezTo>
                    <a:pt x="1005" y="2717"/>
                    <a:pt x="997" y="2702"/>
                    <a:pt x="989" y="2687"/>
                  </a:cubicBezTo>
                  <a:cubicBezTo>
                    <a:pt x="979" y="2671"/>
                    <a:pt x="967" y="2654"/>
                    <a:pt x="951" y="2643"/>
                  </a:cubicBezTo>
                  <a:cubicBezTo>
                    <a:pt x="931" y="2628"/>
                    <a:pt x="908" y="2623"/>
                    <a:pt x="888" y="2631"/>
                  </a:cubicBezTo>
                  <a:cubicBezTo>
                    <a:pt x="883" y="2633"/>
                    <a:pt x="878" y="2636"/>
                    <a:pt x="873" y="2638"/>
                  </a:cubicBezTo>
                  <a:cubicBezTo>
                    <a:pt x="867" y="2643"/>
                    <a:pt x="862" y="2644"/>
                    <a:pt x="858" y="2644"/>
                  </a:cubicBezTo>
                  <a:cubicBezTo>
                    <a:pt x="852" y="2646"/>
                    <a:pt x="845" y="2641"/>
                    <a:pt x="837" y="2634"/>
                  </a:cubicBezTo>
                  <a:cubicBezTo>
                    <a:pt x="832" y="2633"/>
                    <a:pt x="827" y="2629"/>
                    <a:pt x="822" y="2626"/>
                  </a:cubicBezTo>
                  <a:cubicBezTo>
                    <a:pt x="804" y="2616"/>
                    <a:pt x="779" y="2615"/>
                    <a:pt x="760" y="2624"/>
                  </a:cubicBezTo>
                  <a:cubicBezTo>
                    <a:pt x="746" y="2631"/>
                    <a:pt x="737" y="2641"/>
                    <a:pt x="727" y="2651"/>
                  </a:cubicBezTo>
                  <a:cubicBezTo>
                    <a:pt x="718" y="2659"/>
                    <a:pt x="709" y="2667"/>
                    <a:pt x="699" y="2672"/>
                  </a:cubicBezTo>
                  <a:cubicBezTo>
                    <a:pt x="689" y="2677"/>
                    <a:pt x="676" y="2676"/>
                    <a:pt x="664" y="2671"/>
                  </a:cubicBezTo>
                  <a:cubicBezTo>
                    <a:pt x="649" y="2662"/>
                    <a:pt x="638" y="2649"/>
                    <a:pt x="634" y="2634"/>
                  </a:cubicBezTo>
                  <a:cubicBezTo>
                    <a:pt x="626" y="2606"/>
                    <a:pt x="638" y="2573"/>
                    <a:pt x="662" y="2550"/>
                  </a:cubicBezTo>
                  <a:lnTo>
                    <a:pt x="667" y="2545"/>
                  </a:lnTo>
                  <a:cubicBezTo>
                    <a:pt x="681" y="2534"/>
                    <a:pt x="695" y="2519"/>
                    <a:pt x="694" y="2498"/>
                  </a:cubicBezTo>
                  <a:cubicBezTo>
                    <a:pt x="694" y="2484"/>
                    <a:pt x="685" y="2475"/>
                    <a:pt x="679" y="2465"/>
                  </a:cubicBezTo>
                  <a:cubicBezTo>
                    <a:pt x="671" y="2455"/>
                    <a:pt x="667" y="2450"/>
                    <a:pt x="669" y="2443"/>
                  </a:cubicBezTo>
                  <a:cubicBezTo>
                    <a:pt x="669" y="2443"/>
                    <a:pt x="669" y="2440"/>
                    <a:pt x="671" y="2438"/>
                  </a:cubicBezTo>
                  <a:cubicBezTo>
                    <a:pt x="672" y="2435"/>
                    <a:pt x="674" y="2432"/>
                    <a:pt x="674" y="2427"/>
                  </a:cubicBezTo>
                  <a:cubicBezTo>
                    <a:pt x="677" y="2407"/>
                    <a:pt x="662" y="2391"/>
                    <a:pt x="657" y="2384"/>
                  </a:cubicBezTo>
                  <a:cubicBezTo>
                    <a:pt x="631" y="2356"/>
                    <a:pt x="601" y="2328"/>
                    <a:pt x="562" y="2298"/>
                  </a:cubicBezTo>
                  <a:cubicBezTo>
                    <a:pt x="547" y="2287"/>
                    <a:pt x="531" y="2274"/>
                    <a:pt x="511" y="2265"/>
                  </a:cubicBezTo>
                  <a:cubicBezTo>
                    <a:pt x="484" y="2252"/>
                    <a:pt x="455" y="2247"/>
                    <a:pt x="428" y="2244"/>
                  </a:cubicBezTo>
                  <a:cubicBezTo>
                    <a:pt x="407" y="2241"/>
                    <a:pt x="376" y="2236"/>
                    <a:pt x="351" y="2252"/>
                  </a:cubicBezTo>
                  <a:cubicBezTo>
                    <a:pt x="341" y="2259"/>
                    <a:pt x="335" y="2267"/>
                    <a:pt x="328" y="2275"/>
                  </a:cubicBezTo>
                  <a:cubicBezTo>
                    <a:pt x="325" y="2279"/>
                    <a:pt x="321" y="2282"/>
                    <a:pt x="318" y="2285"/>
                  </a:cubicBezTo>
                  <a:cubicBezTo>
                    <a:pt x="310" y="2293"/>
                    <a:pt x="300" y="2298"/>
                    <a:pt x="290" y="2303"/>
                  </a:cubicBezTo>
                  <a:cubicBezTo>
                    <a:pt x="279" y="2307"/>
                    <a:pt x="264" y="2310"/>
                    <a:pt x="251" y="2308"/>
                  </a:cubicBezTo>
                  <a:cubicBezTo>
                    <a:pt x="251" y="2303"/>
                    <a:pt x="251" y="2297"/>
                    <a:pt x="252" y="2292"/>
                  </a:cubicBezTo>
                  <a:cubicBezTo>
                    <a:pt x="252" y="2270"/>
                    <a:pt x="254" y="2257"/>
                    <a:pt x="236" y="2237"/>
                  </a:cubicBezTo>
                  <a:cubicBezTo>
                    <a:pt x="231" y="2232"/>
                    <a:pt x="226" y="2229"/>
                    <a:pt x="223" y="2226"/>
                  </a:cubicBezTo>
                  <a:cubicBezTo>
                    <a:pt x="216" y="2223"/>
                    <a:pt x="214" y="2221"/>
                    <a:pt x="213" y="2213"/>
                  </a:cubicBezTo>
                  <a:cubicBezTo>
                    <a:pt x="211" y="2208"/>
                    <a:pt x="213" y="2199"/>
                    <a:pt x="214" y="2193"/>
                  </a:cubicBezTo>
                  <a:cubicBezTo>
                    <a:pt x="216" y="2181"/>
                    <a:pt x="219" y="2166"/>
                    <a:pt x="211" y="2152"/>
                  </a:cubicBezTo>
                  <a:cubicBezTo>
                    <a:pt x="204" y="2140"/>
                    <a:pt x="195" y="2132"/>
                    <a:pt x="185" y="2125"/>
                  </a:cubicBezTo>
                  <a:cubicBezTo>
                    <a:pt x="181" y="2122"/>
                    <a:pt x="178" y="2119"/>
                    <a:pt x="175" y="2117"/>
                  </a:cubicBezTo>
                  <a:cubicBezTo>
                    <a:pt x="163" y="2106"/>
                    <a:pt x="152" y="2094"/>
                    <a:pt x="142" y="2082"/>
                  </a:cubicBezTo>
                  <a:cubicBezTo>
                    <a:pt x="125" y="2064"/>
                    <a:pt x="109" y="2045"/>
                    <a:pt x="86" y="2030"/>
                  </a:cubicBezTo>
                  <a:cubicBezTo>
                    <a:pt x="73" y="2022"/>
                    <a:pt x="71" y="2017"/>
                    <a:pt x="68" y="2005"/>
                  </a:cubicBezTo>
                  <a:cubicBezTo>
                    <a:pt x="66" y="2000"/>
                    <a:pt x="64" y="1995"/>
                    <a:pt x="61" y="1989"/>
                  </a:cubicBezTo>
                  <a:cubicBezTo>
                    <a:pt x="58" y="1979"/>
                    <a:pt x="51" y="1972"/>
                    <a:pt x="46" y="1967"/>
                  </a:cubicBezTo>
                  <a:cubicBezTo>
                    <a:pt x="43" y="1964"/>
                    <a:pt x="40" y="1962"/>
                    <a:pt x="38" y="1959"/>
                  </a:cubicBezTo>
                  <a:cubicBezTo>
                    <a:pt x="30" y="1946"/>
                    <a:pt x="28" y="1928"/>
                    <a:pt x="28" y="1906"/>
                  </a:cubicBezTo>
                  <a:cubicBezTo>
                    <a:pt x="26" y="1877"/>
                    <a:pt x="26" y="1870"/>
                    <a:pt x="8" y="1844"/>
                  </a:cubicBezTo>
                  <a:lnTo>
                    <a:pt x="5" y="1840"/>
                  </a:lnTo>
                  <a:cubicBezTo>
                    <a:pt x="3" y="1835"/>
                    <a:pt x="0" y="1832"/>
                    <a:pt x="0" y="1830"/>
                  </a:cubicBezTo>
                  <a:cubicBezTo>
                    <a:pt x="0" y="1830"/>
                    <a:pt x="2" y="1824"/>
                    <a:pt x="3" y="1817"/>
                  </a:cubicBezTo>
                  <a:cubicBezTo>
                    <a:pt x="7" y="1811"/>
                    <a:pt x="7" y="1806"/>
                    <a:pt x="10" y="1801"/>
                  </a:cubicBezTo>
                  <a:cubicBezTo>
                    <a:pt x="17" y="1784"/>
                    <a:pt x="22" y="1768"/>
                    <a:pt x="22" y="1746"/>
                  </a:cubicBezTo>
                  <a:cubicBezTo>
                    <a:pt x="20" y="1740"/>
                    <a:pt x="20" y="1732"/>
                    <a:pt x="18" y="1725"/>
                  </a:cubicBezTo>
                  <a:cubicBezTo>
                    <a:pt x="15" y="1709"/>
                    <a:pt x="13" y="1700"/>
                    <a:pt x="20" y="1694"/>
                  </a:cubicBezTo>
                  <a:cubicBezTo>
                    <a:pt x="25" y="1689"/>
                    <a:pt x="31" y="1687"/>
                    <a:pt x="43" y="1687"/>
                  </a:cubicBezTo>
                  <a:cubicBezTo>
                    <a:pt x="50" y="1685"/>
                    <a:pt x="58" y="1685"/>
                    <a:pt x="66" y="1682"/>
                  </a:cubicBezTo>
                  <a:cubicBezTo>
                    <a:pt x="84" y="1676"/>
                    <a:pt x="91" y="1662"/>
                    <a:pt x="94" y="1653"/>
                  </a:cubicBezTo>
                  <a:cubicBezTo>
                    <a:pt x="97" y="1648"/>
                    <a:pt x="99" y="1643"/>
                    <a:pt x="102" y="1639"/>
                  </a:cubicBezTo>
                  <a:cubicBezTo>
                    <a:pt x="111" y="1631"/>
                    <a:pt x="124" y="1629"/>
                    <a:pt x="137" y="1629"/>
                  </a:cubicBezTo>
                  <a:cubicBezTo>
                    <a:pt x="160" y="1631"/>
                    <a:pt x="186" y="1631"/>
                    <a:pt x="201" y="1615"/>
                  </a:cubicBezTo>
                  <a:cubicBezTo>
                    <a:pt x="211" y="1605"/>
                    <a:pt x="214" y="1590"/>
                    <a:pt x="211" y="1570"/>
                  </a:cubicBezTo>
                  <a:cubicBezTo>
                    <a:pt x="206" y="1536"/>
                    <a:pt x="180" y="1524"/>
                    <a:pt x="158" y="1516"/>
                  </a:cubicBezTo>
                  <a:cubicBezTo>
                    <a:pt x="139" y="1508"/>
                    <a:pt x="127" y="1501"/>
                    <a:pt x="124" y="1488"/>
                  </a:cubicBezTo>
                  <a:cubicBezTo>
                    <a:pt x="119" y="1471"/>
                    <a:pt x="132" y="1465"/>
                    <a:pt x="167" y="1452"/>
                  </a:cubicBezTo>
                  <a:cubicBezTo>
                    <a:pt x="180" y="1447"/>
                    <a:pt x="193" y="1442"/>
                    <a:pt x="201" y="1437"/>
                  </a:cubicBezTo>
                  <a:cubicBezTo>
                    <a:pt x="224" y="1420"/>
                    <a:pt x="242" y="1399"/>
                    <a:pt x="254" y="1376"/>
                  </a:cubicBezTo>
                  <a:cubicBezTo>
                    <a:pt x="257" y="1369"/>
                    <a:pt x="259" y="1363"/>
                    <a:pt x="262" y="1354"/>
                  </a:cubicBezTo>
                  <a:cubicBezTo>
                    <a:pt x="265" y="1343"/>
                    <a:pt x="269" y="1333"/>
                    <a:pt x="275" y="1326"/>
                  </a:cubicBezTo>
                  <a:cubicBezTo>
                    <a:pt x="283" y="1318"/>
                    <a:pt x="287" y="1318"/>
                    <a:pt x="288" y="1318"/>
                  </a:cubicBezTo>
                  <a:lnTo>
                    <a:pt x="288" y="1318"/>
                  </a:lnTo>
                  <a:cubicBezTo>
                    <a:pt x="292" y="1318"/>
                    <a:pt x="298" y="1326"/>
                    <a:pt x="302" y="1333"/>
                  </a:cubicBezTo>
                  <a:cubicBezTo>
                    <a:pt x="308" y="1341"/>
                    <a:pt x="315" y="1351"/>
                    <a:pt x="325" y="1358"/>
                  </a:cubicBezTo>
                  <a:cubicBezTo>
                    <a:pt x="343" y="1366"/>
                    <a:pt x="389" y="1366"/>
                    <a:pt x="404" y="1358"/>
                  </a:cubicBezTo>
                  <a:cubicBezTo>
                    <a:pt x="428" y="1344"/>
                    <a:pt x="427" y="1323"/>
                    <a:pt x="425" y="1307"/>
                  </a:cubicBezTo>
                  <a:cubicBezTo>
                    <a:pt x="424" y="1303"/>
                    <a:pt x="424" y="1300"/>
                    <a:pt x="424" y="1298"/>
                  </a:cubicBezTo>
                  <a:cubicBezTo>
                    <a:pt x="422" y="1277"/>
                    <a:pt x="430" y="1267"/>
                    <a:pt x="440" y="1252"/>
                  </a:cubicBezTo>
                  <a:cubicBezTo>
                    <a:pt x="447" y="1242"/>
                    <a:pt x="455" y="1231"/>
                    <a:pt x="460" y="1214"/>
                  </a:cubicBezTo>
                  <a:cubicBezTo>
                    <a:pt x="461" y="1208"/>
                    <a:pt x="463" y="1203"/>
                    <a:pt x="465" y="1196"/>
                  </a:cubicBezTo>
                  <a:cubicBezTo>
                    <a:pt x="468" y="1185"/>
                    <a:pt x="470" y="1173"/>
                    <a:pt x="478" y="1165"/>
                  </a:cubicBezTo>
                  <a:cubicBezTo>
                    <a:pt x="481" y="1160"/>
                    <a:pt x="488" y="1157"/>
                    <a:pt x="496" y="1153"/>
                  </a:cubicBezTo>
                  <a:cubicBezTo>
                    <a:pt x="503" y="1148"/>
                    <a:pt x="512" y="1143"/>
                    <a:pt x="519" y="1135"/>
                  </a:cubicBezTo>
                  <a:cubicBezTo>
                    <a:pt x="540" y="1111"/>
                    <a:pt x="549" y="1053"/>
                    <a:pt x="532" y="1025"/>
                  </a:cubicBezTo>
                  <a:cubicBezTo>
                    <a:pt x="522" y="1007"/>
                    <a:pt x="506" y="1002"/>
                    <a:pt x="493" y="997"/>
                  </a:cubicBezTo>
                  <a:cubicBezTo>
                    <a:pt x="488" y="995"/>
                    <a:pt x="483" y="994"/>
                    <a:pt x="478" y="990"/>
                  </a:cubicBezTo>
                  <a:cubicBezTo>
                    <a:pt x="466" y="985"/>
                    <a:pt x="460" y="975"/>
                    <a:pt x="452" y="966"/>
                  </a:cubicBezTo>
                  <a:lnTo>
                    <a:pt x="447" y="959"/>
                  </a:lnTo>
                  <a:cubicBezTo>
                    <a:pt x="420" y="923"/>
                    <a:pt x="407" y="901"/>
                    <a:pt x="417" y="863"/>
                  </a:cubicBezTo>
                  <a:cubicBezTo>
                    <a:pt x="432" y="811"/>
                    <a:pt x="435" y="786"/>
                    <a:pt x="391" y="746"/>
                  </a:cubicBezTo>
                  <a:cubicBezTo>
                    <a:pt x="348" y="709"/>
                    <a:pt x="356" y="682"/>
                    <a:pt x="366" y="667"/>
                  </a:cubicBezTo>
                  <a:cubicBezTo>
                    <a:pt x="371" y="659"/>
                    <a:pt x="376" y="653"/>
                    <a:pt x="381" y="648"/>
                  </a:cubicBezTo>
                  <a:cubicBezTo>
                    <a:pt x="391" y="634"/>
                    <a:pt x="400" y="623"/>
                    <a:pt x="397" y="608"/>
                  </a:cubicBezTo>
                  <a:cubicBezTo>
                    <a:pt x="396" y="597"/>
                    <a:pt x="387" y="588"/>
                    <a:pt x="369" y="577"/>
                  </a:cubicBezTo>
                  <a:cubicBezTo>
                    <a:pt x="356" y="569"/>
                    <a:pt x="349" y="562"/>
                    <a:pt x="349" y="555"/>
                  </a:cubicBezTo>
                  <a:cubicBezTo>
                    <a:pt x="348" y="545"/>
                    <a:pt x="363" y="529"/>
                    <a:pt x="372" y="517"/>
                  </a:cubicBezTo>
                  <a:cubicBezTo>
                    <a:pt x="400" y="491"/>
                    <a:pt x="437" y="461"/>
                    <a:pt x="476" y="438"/>
                  </a:cubicBezTo>
                  <a:cubicBezTo>
                    <a:pt x="480" y="437"/>
                    <a:pt x="484" y="435"/>
                    <a:pt x="488" y="433"/>
                  </a:cubicBezTo>
                  <a:cubicBezTo>
                    <a:pt x="501" y="427"/>
                    <a:pt x="514" y="422"/>
                    <a:pt x="522" y="409"/>
                  </a:cubicBezTo>
                  <a:cubicBezTo>
                    <a:pt x="531" y="399"/>
                    <a:pt x="531" y="386"/>
                    <a:pt x="532" y="377"/>
                  </a:cubicBezTo>
                  <a:cubicBezTo>
                    <a:pt x="532" y="371"/>
                    <a:pt x="532" y="364"/>
                    <a:pt x="534" y="361"/>
                  </a:cubicBezTo>
                  <a:cubicBezTo>
                    <a:pt x="542" y="348"/>
                    <a:pt x="554" y="349"/>
                    <a:pt x="577" y="356"/>
                  </a:cubicBezTo>
                  <a:cubicBezTo>
                    <a:pt x="597" y="361"/>
                    <a:pt x="621" y="368"/>
                    <a:pt x="638" y="348"/>
                  </a:cubicBezTo>
                  <a:cubicBezTo>
                    <a:pt x="651" y="333"/>
                    <a:pt x="648" y="313"/>
                    <a:pt x="644" y="297"/>
                  </a:cubicBezTo>
                  <a:cubicBezTo>
                    <a:pt x="643" y="290"/>
                    <a:pt x="643" y="284"/>
                    <a:pt x="643" y="279"/>
                  </a:cubicBezTo>
                  <a:cubicBezTo>
                    <a:pt x="643" y="267"/>
                    <a:pt x="648" y="259"/>
                    <a:pt x="653" y="247"/>
                  </a:cubicBezTo>
                  <a:cubicBezTo>
                    <a:pt x="656" y="242"/>
                    <a:pt x="657" y="237"/>
                    <a:pt x="661" y="234"/>
                  </a:cubicBezTo>
                  <a:cubicBezTo>
                    <a:pt x="662" y="231"/>
                    <a:pt x="666" y="224"/>
                    <a:pt x="669" y="218"/>
                  </a:cubicBezTo>
                  <a:cubicBezTo>
                    <a:pt x="681" y="198"/>
                    <a:pt x="687" y="185"/>
                    <a:pt x="687" y="175"/>
                  </a:cubicBezTo>
                  <a:cubicBezTo>
                    <a:pt x="689" y="160"/>
                    <a:pt x="676" y="148"/>
                    <a:pt x="667" y="140"/>
                  </a:cubicBezTo>
                  <a:cubicBezTo>
                    <a:pt x="664" y="137"/>
                    <a:pt x="661" y="135"/>
                    <a:pt x="659" y="132"/>
                  </a:cubicBezTo>
                  <a:lnTo>
                    <a:pt x="657" y="130"/>
                  </a:lnTo>
                  <a:cubicBezTo>
                    <a:pt x="664" y="127"/>
                    <a:pt x="669" y="125"/>
                    <a:pt x="676" y="124"/>
                  </a:cubicBezTo>
                  <a:cubicBezTo>
                    <a:pt x="700" y="117"/>
                    <a:pt x="733" y="120"/>
                    <a:pt x="750" y="143"/>
                  </a:cubicBezTo>
                  <a:cubicBezTo>
                    <a:pt x="755" y="148"/>
                    <a:pt x="756" y="155"/>
                    <a:pt x="760" y="160"/>
                  </a:cubicBezTo>
                  <a:cubicBezTo>
                    <a:pt x="765" y="170"/>
                    <a:pt x="769" y="180"/>
                    <a:pt x="778" y="190"/>
                  </a:cubicBezTo>
                  <a:cubicBezTo>
                    <a:pt x="804" y="218"/>
                    <a:pt x="849" y="211"/>
                    <a:pt x="878" y="198"/>
                  </a:cubicBezTo>
                  <a:cubicBezTo>
                    <a:pt x="888" y="195"/>
                    <a:pt x="898" y="190"/>
                    <a:pt x="908" y="183"/>
                  </a:cubicBezTo>
                  <a:cubicBezTo>
                    <a:pt x="924" y="175"/>
                    <a:pt x="941" y="165"/>
                    <a:pt x="959" y="162"/>
                  </a:cubicBezTo>
                  <a:cubicBezTo>
                    <a:pt x="982" y="157"/>
                    <a:pt x="1005" y="162"/>
                    <a:pt x="1031" y="168"/>
                  </a:cubicBezTo>
                  <a:cubicBezTo>
                    <a:pt x="1050" y="171"/>
                    <a:pt x="1074" y="178"/>
                    <a:pt x="1097" y="165"/>
                  </a:cubicBezTo>
                  <a:cubicBezTo>
                    <a:pt x="1107" y="158"/>
                    <a:pt x="1115" y="150"/>
                    <a:pt x="1122" y="140"/>
                  </a:cubicBezTo>
                  <a:cubicBezTo>
                    <a:pt x="1125" y="137"/>
                    <a:pt x="1127" y="135"/>
                    <a:pt x="1130" y="132"/>
                  </a:cubicBezTo>
                  <a:cubicBezTo>
                    <a:pt x="1150" y="109"/>
                    <a:pt x="1186" y="96"/>
                    <a:pt x="1226" y="97"/>
                  </a:cubicBezTo>
                  <a:cubicBezTo>
                    <a:pt x="1232" y="97"/>
                    <a:pt x="1237" y="99"/>
                    <a:pt x="1244" y="99"/>
                  </a:cubicBezTo>
                  <a:cubicBezTo>
                    <a:pt x="1259" y="101"/>
                    <a:pt x="1275" y="101"/>
                    <a:pt x="1292" y="99"/>
                  </a:cubicBezTo>
                  <a:cubicBezTo>
                    <a:pt x="1302" y="97"/>
                    <a:pt x="1315" y="92"/>
                    <a:pt x="1328" y="86"/>
                  </a:cubicBezTo>
                  <a:cubicBezTo>
                    <a:pt x="1366" y="68"/>
                    <a:pt x="1397" y="36"/>
                    <a:pt x="1419" y="0"/>
                  </a:cubicBezTo>
                  <a:cubicBezTo>
                    <a:pt x="1433" y="5"/>
                    <a:pt x="1448" y="7"/>
                    <a:pt x="1463" y="7"/>
                  </a:cubicBezTo>
                  <a:lnTo>
                    <a:pt x="1470" y="7"/>
                  </a:lnTo>
                  <a:cubicBezTo>
                    <a:pt x="1489" y="10"/>
                    <a:pt x="1493" y="18"/>
                    <a:pt x="1504" y="38"/>
                  </a:cubicBezTo>
                  <a:cubicBezTo>
                    <a:pt x="1506" y="43"/>
                    <a:pt x="1508" y="46"/>
                    <a:pt x="1511" y="51"/>
                  </a:cubicBezTo>
                  <a:cubicBezTo>
                    <a:pt x="1512" y="56"/>
                    <a:pt x="1516" y="59"/>
                    <a:pt x="1517" y="63"/>
                  </a:cubicBezTo>
                  <a:cubicBezTo>
                    <a:pt x="1522" y="66"/>
                    <a:pt x="1522" y="66"/>
                    <a:pt x="1522" y="69"/>
                  </a:cubicBezTo>
                  <a:cubicBezTo>
                    <a:pt x="1522" y="73"/>
                    <a:pt x="1521" y="78"/>
                    <a:pt x="1517" y="84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48" name="Freeform 84">
              <a:extLst>
                <a:ext uri="{FF2B5EF4-FFF2-40B4-BE49-F238E27FC236}">
                  <a16:creationId xmlns:a16="http://schemas.microsoft.com/office/drawing/2014/main" id="{E3789AD1-B382-FF4D-A178-D137FB52CF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19975" y="2968625"/>
              <a:ext cx="1038225" cy="1798638"/>
            </a:xfrm>
            <a:custGeom>
              <a:avLst/>
              <a:gdLst>
                <a:gd name="T0" fmla="*/ 2725 w 2882"/>
                <a:gd name="T1" fmla="*/ 4156 h 4996"/>
                <a:gd name="T2" fmla="*/ 2537 w 2882"/>
                <a:gd name="T3" fmla="*/ 4090 h 4996"/>
                <a:gd name="T4" fmla="*/ 2492 w 2882"/>
                <a:gd name="T5" fmla="*/ 4304 h 4996"/>
                <a:gd name="T6" fmla="*/ 2580 w 2882"/>
                <a:gd name="T7" fmla="*/ 4482 h 4996"/>
                <a:gd name="T8" fmla="*/ 2517 w 2882"/>
                <a:gd name="T9" fmla="*/ 4629 h 4996"/>
                <a:gd name="T10" fmla="*/ 2275 w 2882"/>
                <a:gd name="T11" fmla="*/ 4759 h 4996"/>
                <a:gd name="T12" fmla="*/ 2097 w 2882"/>
                <a:gd name="T13" fmla="*/ 4985 h 4996"/>
                <a:gd name="T14" fmla="*/ 2015 w 2882"/>
                <a:gd name="T15" fmla="*/ 4601 h 4996"/>
                <a:gd name="T16" fmla="*/ 1944 w 2882"/>
                <a:gd name="T17" fmla="*/ 4390 h 4996"/>
                <a:gd name="T18" fmla="*/ 1764 w 2882"/>
                <a:gd name="T19" fmla="*/ 4453 h 4996"/>
                <a:gd name="T20" fmla="*/ 1430 w 2882"/>
                <a:gd name="T21" fmla="*/ 4443 h 4996"/>
                <a:gd name="T22" fmla="*/ 1227 w 2882"/>
                <a:gd name="T23" fmla="*/ 4542 h 4996"/>
                <a:gd name="T24" fmla="*/ 1059 w 2882"/>
                <a:gd name="T25" fmla="*/ 4283 h 4996"/>
                <a:gd name="T26" fmla="*/ 884 w 2882"/>
                <a:gd name="T27" fmla="*/ 4229 h 4996"/>
                <a:gd name="T28" fmla="*/ 924 w 2882"/>
                <a:gd name="T29" fmla="*/ 3947 h 4996"/>
                <a:gd name="T30" fmla="*/ 1079 w 2882"/>
                <a:gd name="T31" fmla="*/ 3657 h 4996"/>
                <a:gd name="T32" fmla="*/ 1104 w 2882"/>
                <a:gd name="T33" fmla="*/ 3486 h 4996"/>
                <a:gd name="T34" fmla="*/ 1277 w 2882"/>
                <a:gd name="T35" fmla="*/ 3336 h 4996"/>
                <a:gd name="T36" fmla="*/ 955 w 2882"/>
                <a:gd name="T37" fmla="*/ 3220 h 4996"/>
                <a:gd name="T38" fmla="*/ 746 w 2882"/>
                <a:gd name="T39" fmla="*/ 3456 h 4996"/>
                <a:gd name="T40" fmla="*/ 451 w 2882"/>
                <a:gd name="T41" fmla="*/ 3374 h 4996"/>
                <a:gd name="T42" fmla="*/ 456 w 2882"/>
                <a:gd name="T43" fmla="*/ 3138 h 4996"/>
                <a:gd name="T44" fmla="*/ 547 w 2882"/>
                <a:gd name="T45" fmla="*/ 2945 h 4996"/>
                <a:gd name="T46" fmla="*/ 412 w 2882"/>
                <a:gd name="T47" fmla="*/ 2779 h 4996"/>
                <a:gd name="T48" fmla="*/ 258 w 2882"/>
                <a:gd name="T49" fmla="*/ 2861 h 4996"/>
                <a:gd name="T50" fmla="*/ 216 w 2882"/>
                <a:gd name="T51" fmla="*/ 2622 h 4996"/>
                <a:gd name="T52" fmla="*/ 120 w 2882"/>
                <a:gd name="T53" fmla="*/ 2393 h 4996"/>
                <a:gd name="T54" fmla="*/ 64 w 2882"/>
                <a:gd name="T55" fmla="*/ 2220 h 4996"/>
                <a:gd name="T56" fmla="*/ 16 w 2882"/>
                <a:gd name="T57" fmla="*/ 2164 h 4996"/>
                <a:gd name="T58" fmla="*/ 57 w 2882"/>
                <a:gd name="T59" fmla="*/ 1891 h 4996"/>
                <a:gd name="T60" fmla="*/ 115 w 2882"/>
                <a:gd name="T61" fmla="*/ 1731 h 4996"/>
                <a:gd name="T62" fmla="*/ 255 w 2882"/>
                <a:gd name="T63" fmla="*/ 1675 h 4996"/>
                <a:gd name="T64" fmla="*/ 418 w 2882"/>
                <a:gd name="T65" fmla="*/ 1487 h 4996"/>
                <a:gd name="T66" fmla="*/ 626 w 2882"/>
                <a:gd name="T67" fmla="*/ 1253 h 4996"/>
                <a:gd name="T68" fmla="*/ 552 w 2882"/>
                <a:gd name="T69" fmla="*/ 996 h 4996"/>
                <a:gd name="T70" fmla="*/ 466 w 2882"/>
                <a:gd name="T71" fmla="*/ 810 h 4996"/>
                <a:gd name="T72" fmla="*/ 525 w 2882"/>
                <a:gd name="T73" fmla="*/ 606 h 4996"/>
                <a:gd name="T74" fmla="*/ 506 w 2882"/>
                <a:gd name="T75" fmla="*/ 479 h 4996"/>
                <a:gd name="T76" fmla="*/ 599 w 2882"/>
                <a:gd name="T77" fmla="*/ 328 h 4996"/>
                <a:gd name="T78" fmla="*/ 771 w 2882"/>
                <a:gd name="T79" fmla="*/ 318 h 4996"/>
                <a:gd name="T80" fmla="*/ 898 w 2882"/>
                <a:gd name="T81" fmla="*/ 219 h 4996"/>
                <a:gd name="T82" fmla="*/ 1024 w 2882"/>
                <a:gd name="T83" fmla="*/ 217 h 4996"/>
                <a:gd name="T84" fmla="*/ 1163 w 2882"/>
                <a:gd name="T85" fmla="*/ 10 h 4996"/>
                <a:gd name="T86" fmla="*/ 1443 w 2882"/>
                <a:gd name="T87" fmla="*/ 164 h 4996"/>
                <a:gd name="T88" fmla="*/ 1405 w 2882"/>
                <a:gd name="T89" fmla="*/ 377 h 4996"/>
                <a:gd name="T90" fmla="*/ 1618 w 2882"/>
                <a:gd name="T91" fmla="*/ 392 h 4996"/>
                <a:gd name="T92" fmla="*/ 1786 w 2882"/>
                <a:gd name="T93" fmla="*/ 481 h 4996"/>
                <a:gd name="T94" fmla="*/ 1581 w 2882"/>
                <a:gd name="T95" fmla="*/ 639 h 4996"/>
                <a:gd name="T96" fmla="*/ 1257 w 2882"/>
                <a:gd name="T97" fmla="*/ 1046 h 4996"/>
                <a:gd name="T98" fmla="*/ 1268 w 2882"/>
                <a:gd name="T99" fmla="*/ 1469 h 4996"/>
                <a:gd name="T100" fmla="*/ 1169 w 2882"/>
                <a:gd name="T101" fmla="*/ 1868 h 4996"/>
                <a:gd name="T102" fmla="*/ 1048 w 2882"/>
                <a:gd name="T103" fmla="*/ 2548 h 4996"/>
                <a:gd name="T104" fmla="*/ 1145 w 2882"/>
                <a:gd name="T105" fmla="*/ 2725 h 4996"/>
                <a:gd name="T106" fmla="*/ 1459 w 2882"/>
                <a:gd name="T107" fmla="*/ 2782 h 4996"/>
                <a:gd name="T108" fmla="*/ 1692 w 2882"/>
                <a:gd name="T109" fmla="*/ 2749 h 4996"/>
                <a:gd name="T110" fmla="*/ 1891 w 2882"/>
                <a:gd name="T111" fmla="*/ 2436 h 4996"/>
                <a:gd name="T112" fmla="*/ 2204 w 2882"/>
                <a:gd name="T113" fmla="*/ 2586 h 4996"/>
                <a:gd name="T114" fmla="*/ 2423 w 2882"/>
                <a:gd name="T115" fmla="*/ 2904 h 4996"/>
                <a:gd name="T116" fmla="*/ 2789 w 2882"/>
                <a:gd name="T117" fmla="*/ 3693 h 4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82" h="4996">
                  <a:moveTo>
                    <a:pt x="2842" y="4262"/>
                  </a:moveTo>
                  <a:cubicBezTo>
                    <a:pt x="2840" y="4268"/>
                    <a:pt x="2840" y="4273"/>
                    <a:pt x="2838" y="4280"/>
                  </a:cubicBezTo>
                  <a:lnTo>
                    <a:pt x="2838" y="4280"/>
                  </a:lnTo>
                  <a:cubicBezTo>
                    <a:pt x="2805" y="4285"/>
                    <a:pt x="2776" y="4285"/>
                    <a:pt x="2754" y="4265"/>
                  </a:cubicBezTo>
                  <a:cubicBezTo>
                    <a:pt x="2739" y="4252"/>
                    <a:pt x="2741" y="4238"/>
                    <a:pt x="2743" y="4217"/>
                  </a:cubicBezTo>
                  <a:cubicBezTo>
                    <a:pt x="2744" y="4197"/>
                    <a:pt x="2748" y="4174"/>
                    <a:pt x="2725" y="4156"/>
                  </a:cubicBezTo>
                  <a:cubicBezTo>
                    <a:pt x="2715" y="4150"/>
                    <a:pt x="2705" y="4146"/>
                    <a:pt x="2697" y="4143"/>
                  </a:cubicBezTo>
                  <a:cubicBezTo>
                    <a:pt x="2690" y="4141"/>
                    <a:pt x="2685" y="4138"/>
                    <a:pt x="2680" y="4136"/>
                  </a:cubicBezTo>
                  <a:cubicBezTo>
                    <a:pt x="2672" y="4131"/>
                    <a:pt x="2665" y="4125"/>
                    <a:pt x="2659" y="4117"/>
                  </a:cubicBezTo>
                  <a:cubicBezTo>
                    <a:pt x="2655" y="4115"/>
                    <a:pt x="2654" y="4112"/>
                    <a:pt x="2650" y="4108"/>
                  </a:cubicBezTo>
                  <a:cubicBezTo>
                    <a:pt x="2624" y="4082"/>
                    <a:pt x="2599" y="4069"/>
                    <a:pt x="2578" y="4069"/>
                  </a:cubicBezTo>
                  <a:cubicBezTo>
                    <a:pt x="2563" y="4069"/>
                    <a:pt x="2548" y="4077"/>
                    <a:pt x="2537" y="4090"/>
                  </a:cubicBezTo>
                  <a:cubicBezTo>
                    <a:pt x="2524" y="4105"/>
                    <a:pt x="2515" y="4122"/>
                    <a:pt x="2507" y="4140"/>
                  </a:cubicBezTo>
                  <a:cubicBezTo>
                    <a:pt x="2502" y="4151"/>
                    <a:pt x="2497" y="4161"/>
                    <a:pt x="2491" y="4171"/>
                  </a:cubicBezTo>
                  <a:cubicBezTo>
                    <a:pt x="2487" y="4176"/>
                    <a:pt x="2476" y="4184"/>
                    <a:pt x="2466" y="4192"/>
                  </a:cubicBezTo>
                  <a:cubicBezTo>
                    <a:pt x="2441" y="4210"/>
                    <a:pt x="2407" y="4235"/>
                    <a:pt x="2421" y="4268"/>
                  </a:cubicBezTo>
                  <a:cubicBezTo>
                    <a:pt x="2430" y="4288"/>
                    <a:pt x="2451" y="4294"/>
                    <a:pt x="2469" y="4298"/>
                  </a:cubicBezTo>
                  <a:cubicBezTo>
                    <a:pt x="2477" y="4299"/>
                    <a:pt x="2487" y="4301"/>
                    <a:pt x="2492" y="4304"/>
                  </a:cubicBezTo>
                  <a:cubicBezTo>
                    <a:pt x="2499" y="4311"/>
                    <a:pt x="2504" y="4318"/>
                    <a:pt x="2509" y="4324"/>
                  </a:cubicBezTo>
                  <a:cubicBezTo>
                    <a:pt x="2522" y="4342"/>
                    <a:pt x="2537" y="4355"/>
                    <a:pt x="2575" y="4337"/>
                  </a:cubicBezTo>
                  <a:cubicBezTo>
                    <a:pt x="2580" y="4334"/>
                    <a:pt x="2586" y="4331"/>
                    <a:pt x="2593" y="4327"/>
                  </a:cubicBezTo>
                  <a:cubicBezTo>
                    <a:pt x="2616" y="4313"/>
                    <a:pt x="2622" y="4311"/>
                    <a:pt x="2632" y="4326"/>
                  </a:cubicBezTo>
                  <a:cubicBezTo>
                    <a:pt x="2644" y="4344"/>
                    <a:pt x="2641" y="4379"/>
                    <a:pt x="2632" y="4402"/>
                  </a:cubicBezTo>
                  <a:cubicBezTo>
                    <a:pt x="2619" y="4428"/>
                    <a:pt x="2594" y="4472"/>
                    <a:pt x="2580" y="4482"/>
                  </a:cubicBezTo>
                  <a:cubicBezTo>
                    <a:pt x="2573" y="4486"/>
                    <a:pt x="2565" y="4486"/>
                    <a:pt x="2555" y="4487"/>
                  </a:cubicBezTo>
                  <a:cubicBezTo>
                    <a:pt x="2537" y="4487"/>
                    <a:pt x="2509" y="4491"/>
                    <a:pt x="2501" y="4517"/>
                  </a:cubicBezTo>
                  <a:cubicBezTo>
                    <a:pt x="2496" y="4533"/>
                    <a:pt x="2504" y="4547"/>
                    <a:pt x="2509" y="4556"/>
                  </a:cubicBezTo>
                  <a:cubicBezTo>
                    <a:pt x="2512" y="4561"/>
                    <a:pt x="2514" y="4566"/>
                    <a:pt x="2515" y="4570"/>
                  </a:cubicBezTo>
                  <a:cubicBezTo>
                    <a:pt x="2519" y="4581"/>
                    <a:pt x="2519" y="4596"/>
                    <a:pt x="2519" y="4611"/>
                  </a:cubicBezTo>
                  <a:lnTo>
                    <a:pt x="2517" y="4629"/>
                  </a:lnTo>
                  <a:cubicBezTo>
                    <a:pt x="2517" y="4662"/>
                    <a:pt x="2517" y="4690"/>
                    <a:pt x="2491" y="4706"/>
                  </a:cubicBezTo>
                  <a:cubicBezTo>
                    <a:pt x="2459" y="4728"/>
                    <a:pt x="2415" y="4751"/>
                    <a:pt x="2385" y="4754"/>
                  </a:cubicBezTo>
                  <a:cubicBezTo>
                    <a:pt x="2377" y="4756"/>
                    <a:pt x="2369" y="4754"/>
                    <a:pt x="2361" y="4751"/>
                  </a:cubicBezTo>
                  <a:cubicBezTo>
                    <a:pt x="2351" y="4748"/>
                    <a:pt x="2339" y="4746"/>
                    <a:pt x="2326" y="4746"/>
                  </a:cubicBezTo>
                  <a:cubicBezTo>
                    <a:pt x="2316" y="4748"/>
                    <a:pt x="2308" y="4751"/>
                    <a:pt x="2301" y="4754"/>
                  </a:cubicBezTo>
                  <a:cubicBezTo>
                    <a:pt x="2291" y="4757"/>
                    <a:pt x="2285" y="4761"/>
                    <a:pt x="2275" y="4759"/>
                  </a:cubicBezTo>
                  <a:cubicBezTo>
                    <a:pt x="2268" y="4757"/>
                    <a:pt x="2262" y="4754"/>
                    <a:pt x="2253" y="4751"/>
                  </a:cubicBezTo>
                  <a:cubicBezTo>
                    <a:pt x="2240" y="4746"/>
                    <a:pt x="2225" y="4739"/>
                    <a:pt x="2206" y="4744"/>
                  </a:cubicBezTo>
                  <a:cubicBezTo>
                    <a:pt x="2183" y="4749"/>
                    <a:pt x="2164" y="4764"/>
                    <a:pt x="2148" y="4780"/>
                  </a:cubicBezTo>
                  <a:cubicBezTo>
                    <a:pt x="2117" y="4807"/>
                    <a:pt x="2084" y="4846"/>
                    <a:pt x="2100" y="4902"/>
                  </a:cubicBezTo>
                  <a:cubicBezTo>
                    <a:pt x="2102" y="4911"/>
                    <a:pt x="2105" y="4917"/>
                    <a:pt x="2107" y="4924"/>
                  </a:cubicBezTo>
                  <a:cubicBezTo>
                    <a:pt x="2117" y="4952"/>
                    <a:pt x="2122" y="4965"/>
                    <a:pt x="2097" y="4985"/>
                  </a:cubicBezTo>
                  <a:cubicBezTo>
                    <a:pt x="2094" y="4990"/>
                    <a:pt x="2089" y="4993"/>
                    <a:pt x="2084" y="4995"/>
                  </a:cubicBezTo>
                  <a:cubicBezTo>
                    <a:pt x="2071" y="4939"/>
                    <a:pt x="2056" y="4883"/>
                    <a:pt x="2034" y="4830"/>
                  </a:cubicBezTo>
                  <a:cubicBezTo>
                    <a:pt x="2023" y="4799"/>
                    <a:pt x="2023" y="4776"/>
                    <a:pt x="2038" y="4741"/>
                  </a:cubicBezTo>
                  <a:lnTo>
                    <a:pt x="2043" y="4731"/>
                  </a:lnTo>
                  <a:cubicBezTo>
                    <a:pt x="2052" y="4708"/>
                    <a:pt x="2064" y="4682"/>
                    <a:pt x="2054" y="4652"/>
                  </a:cubicBezTo>
                  <a:cubicBezTo>
                    <a:pt x="2048" y="4627"/>
                    <a:pt x="2029" y="4614"/>
                    <a:pt x="2015" y="4601"/>
                  </a:cubicBezTo>
                  <a:cubicBezTo>
                    <a:pt x="2005" y="4594"/>
                    <a:pt x="1996" y="4586"/>
                    <a:pt x="1990" y="4578"/>
                  </a:cubicBezTo>
                  <a:cubicBezTo>
                    <a:pt x="1983" y="4568"/>
                    <a:pt x="1980" y="4556"/>
                    <a:pt x="1978" y="4545"/>
                  </a:cubicBezTo>
                  <a:cubicBezTo>
                    <a:pt x="1977" y="4538"/>
                    <a:pt x="1975" y="4530"/>
                    <a:pt x="1973" y="4523"/>
                  </a:cubicBezTo>
                  <a:lnTo>
                    <a:pt x="1973" y="4522"/>
                  </a:lnTo>
                  <a:cubicBezTo>
                    <a:pt x="1980" y="4492"/>
                    <a:pt x="1982" y="4459"/>
                    <a:pt x="1973" y="4431"/>
                  </a:cubicBezTo>
                  <a:cubicBezTo>
                    <a:pt x="1968" y="4418"/>
                    <a:pt x="1960" y="4398"/>
                    <a:pt x="1944" y="4390"/>
                  </a:cubicBezTo>
                  <a:cubicBezTo>
                    <a:pt x="1934" y="4385"/>
                    <a:pt x="1924" y="4383"/>
                    <a:pt x="1912" y="4387"/>
                  </a:cubicBezTo>
                  <a:cubicBezTo>
                    <a:pt x="1898" y="4392"/>
                    <a:pt x="1891" y="4402"/>
                    <a:pt x="1884" y="4410"/>
                  </a:cubicBezTo>
                  <a:cubicBezTo>
                    <a:pt x="1879" y="4416"/>
                    <a:pt x="1876" y="4421"/>
                    <a:pt x="1871" y="4423"/>
                  </a:cubicBezTo>
                  <a:cubicBezTo>
                    <a:pt x="1863" y="4426"/>
                    <a:pt x="1853" y="4425"/>
                    <a:pt x="1843" y="4421"/>
                  </a:cubicBezTo>
                  <a:cubicBezTo>
                    <a:pt x="1832" y="4420"/>
                    <a:pt x="1817" y="4416"/>
                    <a:pt x="1802" y="4421"/>
                  </a:cubicBezTo>
                  <a:cubicBezTo>
                    <a:pt x="1786" y="4426"/>
                    <a:pt x="1774" y="4441"/>
                    <a:pt x="1764" y="4453"/>
                  </a:cubicBezTo>
                  <a:cubicBezTo>
                    <a:pt x="1758" y="4463"/>
                    <a:pt x="1749" y="4471"/>
                    <a:pt x="1743" y="4476"/>
                  </a:cubicBezTo>
                  <a:cubicBezTo>
                    <a:pt x="1705" y="4497"/>
                    <a:pt x="1641" y="4502"/>
                    <a:pt x="1611" y="4477"/>
                  </a:cubicBezTo>
                  <a:cubicBezTo>
                    <a:pt x="1601" y="4469"/>
                    <a:pt x="1594" y="4461"/>
                    <a:pt x="1588" y="4453"/>
                  </a:cubicBezTo>
                  <a:cubicBezTo>
                    <a:pt x="1573" y="4433"/>
                    <a:pt x="1557" y="4411"/>
                    <a:pt x="1515" y="4416"/>
                  </a:cubicBezTo>
                  <a:cubicBezTo>
                    <a:pt x="1497" y="4418"/>
                    <a:pt x="1481" y="4425"/>
                    <a:pt x="1464" y="4431"/>
                  </a:cubicBezTo>
                  <a:cubicBezTo>
                    <a:pt x="1453" y="4436"/>
                    <a:pt x="1441" y="4441"/>
                    <a:pt x="1430" y="4443"/>
                  </a:cubicBezTo>
                  <a:cubicBezTo>
                    <a:pt x="1415" y="4446"/>
                    <a:pt x="1400" y="4444"/>
                    <a:pt x="1385" y="4443"/>
                  </a:cubicBezTo>
                  <a:cubicBezTo>
                    <a:pt x="1370" y="4439"/>
                    <a:pt x="1356" y="4438"/>
                    <a:pt x="1339" y="4441"/>
                  </a:cubicBezTo>
                  <a:cubicBezTo>
                    <a:pt x="1308" y="4444"/>
                    <a:pt x="1300" y="4461"/>
                    <a:pt x="1290" y="4477"/>
                  </a:cubicBezTo>
                  <a:cubicBezTo>
                    <a:pt x="1288" y="4482"/>
                    <a:pt x="1285" y="4486"/>
                    <a:pt x="1283" y="4491"/>
                  </a:cubicBezTo>
                  <a:cubicBezTo>
                    <a:pt x="1270" y="4510"/>
                    <a:pt x="1253" y="4527"/>
                    <a:pt x="1230" y="4540"/>
                  </a:cubicBezTo>
                  <a:cubicBezTo>
                    <a:pt x="1229" y="4540"/>
                    <a:pt x="1229" y="4542"/>
                    <a:pt x="1227" y="4542"/>
                  </a:cubicBezTo>
                  <a:cubicBezTo>
                    <a:pt x="1230" y="4510"/>
                    <a:pt x="1221" y="4486"/>
                    <a:pt x="1194" y="4461"/>
                  </a:cubicBezTo>
                  <a:cubicBezTo>
                    <a:pt x="1176" y="4446"/>
                    <a:pt x="1171" y="4435"/>
                    <a:pt x="1160" y="4411"/>
                  </a:cubicBezTo>
                  <a:cubicBezTo>
                    <a:pt x="1153" y="4392"/>
                    <a:pt x="1141" y="4379"/>
                    <a:pt x="1130" y="4365"/>
                  </a:cubicBezTo>
                  <a:cubicBezTo>
                    <a:pt x="1123" y="4359"/>
                    <a:pt x="1117" y="4351"/>
                    <a:pt x="1112" y="4342"/>
                  </a:cubicBezTo>
                  <a:cubicBezTo>
                    <a:pt x="1107" y="4337"/>
                    <a:pt x="1105" y="4332"/>
                    <a:pt x="1102" y="4327"/>
                  </a:cubicBezTo>
                  <a:cubicBezTo>
                    <a:pt x="1092" y="4311"/>
                    <a:pt x="1082" y="4291"/>
                    <a:pt x="1059" y="4283"/>
                  </a:cubicBezTo>
                  <a:cubicBezTo>
                    <a:pt x="1043" y="4278"/>
                    <a:pt x="1026" y="4278"/>
                    <a:pt x="1011" y="4278"/>
                  </a:cubicBezTo>
                  <a:cubicBezTo>
                    <a:pt x="998" y="4278"/>
                    <a:pt x="987" y="4276"/>
                    <a:pt x="977" y="4275"/>
                  </a:cubicBezTo>
                  <a:cubicBezTo>
                    <a:pt x="967" y="4271"/>
                    <a:pt x="959" y="4270"/>
                    <a:pt x="950" y="4266"/>
                  </a:cubicBezTo>
                  <a:cubicBezTo>
                    <a:pt x="934" y="4262"/>
                    <a:pt x="919" y="4257"/>
                    <a:pt x="901" y="4253"/>
                  </a:cubicBezTo>
                  <a:cubicBezTo>
                    <a:pt x="888" y="4250"/>
                    <a:pt x="884" y="4248"/>
                    <a:pt x="883" y="4247"/>
                  </a:cubicBezTo>
                  <a:cubicBezTo>
                    <a:pt x="883" y="4245"/>
                    <a:pt x="881" y="4242"/>
                    <a:pt x="884" y="4229"/>
                  </a:cubicBezTo>
                  <a:cubicBezTo>
                    <a:pt x="889" y="4206"/>
                    <a:pt x="889" y="4187"/>
                    <a:pt x="889" y="4166"/>
                  </a:cubicBezTo>
                  <a:lnTo>
                    <a:pt x="891" y="4140"/>
                  </a:lnTo>
                  <a:cubicBezTo>
                    <a:pt x="891" y="4113"/>
                    <a:pt x="891" y="4077"/>
                    <a:pt x="898" y="4057"/>
                  </a:cubicBezTo>
                  <a:cubicBezTo>
                    <a:pt x="901" y="4047"/>
                    <a:pt x="906" y="4041"/>
                    <a:pt x="911" y="4033"/>
                  </a:cubicBezTo>
                  <a:cubicBezTo>
                    <a:pt x="922" y="4018"/>
                    <a:pt x="932" y="4001"/>
                    <a:pt x="931" y="3977"/>
                  </a:cubicBezTo>
                  <a:cubicBezTo>
                    <a:pt x="929" y="3965"/>
                    <a:pt x="926" y="3955"/>
                    <a:pt x="924" y="3947"/>
                  </a:cubicBezTo>
                  <a:cubicBezTo>
                    <a:pt x="919" y="3934"/>
                    <a:pt x="917" y="3925"/>
                    <a:pt x="926" y="3911"/>
                  </a:cubicBezTo>
                  <a:cubicBezTo>
                    <a:pt x="936" y="3893"/>
                    <a:pt x="954" y="3876"/>
                    <a:pt x="970" y="3860"/>
                  </a:cubicBezTo>
                  <a:cubicBezTo>
                    <a:pt x="996" y="3835"/>
                    <a:pt x="1024" y="3809"/>
                    <a:pt x="1031" y="3772"/>
                  </a:cubicBezTo>
                  <a:cubicBezTo>
                    <a:pt x="1033" y="3762"/>
                    <a:pt x="1034" y="3751"/>
                    <a:pt x="1036" y="3739"/>
                  </a:cubicBezTo>
                  <a:cubicBezTo>
                    <a:pt x="1036" y="3721"/>
                    <a:pt x="1038" y="3703"/>
                    <a:pt x="1048" y="3688"/>
                  </a:cubicBezTo>
                  <a:cubicBezTo>
                    <a:pt x="1054" y="3677"/>
                    <a:pt x="1066" y="3667"/>
                    <a:pt x="1079" y="3657"/>
                  </a:cubicBezTo>
                  <a:cubicBezTo>
                    <a:pt x="1084" y="3654"/>
                    <a:pt x="1089" y="3649"/>
                    <a:pt x="1094" y="3645"/>
                  </a:cubicBezTo>
                  <a:cubicBezTo>
                    <a:pt x="1118" y="3622"/>
                    <a:pt x="1130" y="3601"/>
                    <a:pt x="1128" y="3581"/>
                  </a:cubicBezTo>
                  <a:cubicBezTo>
                    <a:pt x="1128" y="3561"/>
                    <a:pt x="1117" y="3545"/>
                    <a:pt x="1095" y="3528"/>
                  </a:cubicBezTo>
                  <a:lnTo>
                    <a:pt x="1090" y="3524"/>
                  </a:lnTo>
                  <a:cubicBezTo>
                    <a:pt x="1072" y="3510"/>
                    <a:pt x="1062" y="3502"/>
                    <a:pt x="1067" y="3492"/>
                  </a:cubicBezTo>
                  <a:cubicBezTo>
                    <a:pt x="1072" y="3486"/>
                    <a:pt x="1090" y="3486"/>
                    <a:pt x="1104" y="3486"/>
                  </a:cubicBezTo>
                  <a:cubicBezTo>
                    <a:pt x="1112" y="3486"/>
                    <a:pt x="1118" y="3487"/>
                    <a:pt x="1123" y="3486"/>
                  </a:cubicBezTo>
                  <a:cubicBezTo>
                    <a:pt x="1140" y="3484"/>
                    <a:pt x="1156" y="3479"/>
                    <a:pt x="1171" y="3476"/>
                  </a:cubicBezTo>
                  <a:cubicBezTo>
                    <a:pt x="1181" y="3472"/>
                    <a:pt x="1193" y="3469"/>
                    <a:pt x="1206" y="3467"/>
                  </a:cubicBezTo>
                  <a:lnTo>
                    <a:pt x="1216" y="3466"/>
                  </a:lnTo>
                  <a:cubicBezTo>
                    <a:pt x="1244" y="3461"/>
                    <a:pt x="1278" y="3454"/>
                    <a:pt x="1295" y="3421"/>
                  </a:cubicBezTo>
                  <a:cubicBezTo>
                    <a:pt x="1308" y="3393"/>
                    <a:pt x="1301" y="3360"/>
                    <a:pt x="1277" y="3336"/>
                  </a:cubicBezTo>
                  <a:cubicBezTo>
                    <a:pt x="1253" y="3313"/>
                    <a:pt x="1249" y="3306"/>
                    <a:pt x="1247" y="3275"/>
                  </a:cubicBezTo>
                  <a:cubicBezTo>
                    <a:pt x="1242" y="3187"/>
                    <a:pt x="1211" y="3133"/>
                    <a:pt x="1158" y="3115"/>
                  </a:cubicBezTo>
                  <a:cubicBezTo>
                    <a:pt x="1108" y="3098"/>
                    <a:pt x="1084" y="3136"/>
                    <a:pt x="1062" y="3168"/>
                  </a:cubicBezTo>
                  <a:cubicBezTo>
                    <a:pt x="1051" y="3184"/>
                    <a:pt x="1041" y="3201"/>
                    <a:pt x="1028" y="3209"/>
                  </a:cubicBezTo>
                  <a:cubicBezTo>
                    <a:pt x="1016" y="3215"/>
                    <a:pt x="1006" y="3215"/>
                    <a:pt x="993" y="3215"/>
                  </a:cubicBezTo>
                  <a:cubicBezTo>
                    <a:pt x="982" y="3215"/>
                    <a:pt x="970" y="3215"/>
                    <a:pt x="955" y="3220"/>
                  </a:cubicBezTo>
                  <a:cubicBezTo>
                    <a:pt x="921" y="3234"/>
                    <a:pt x="917" y="3270"/>
                    <a:pt x="914" y="3296"/>
                  </a:cubicBezTo>
                  <a:lnTo>
                    <a:pt x="912" y="3308"/>
                  </a:lnTo>
                  <a:cubicBezTo>
                    <a:pt x="906" y="3349"/>
                    <a:pt x="880" y="3362"/>
                    <a:pt x="847" y="3380"/>
                  </a:cubicBezTo>
                  <a:cubicBezTo>
                    <a:pt x="827" y="3390"/>
                    <a:pt x="809" y="3400"/>
                    <a:pt x="792" y="3413"/>
                  </a:cubicBezTo>
                  <a:cubicBezTo>
                    <a:pt x="786" y="3418"/>
                    <a:pt x="781" y="3425"/>
                    <a:pt x="774" y="3431"/>
                  </a:cubicBezTo>
                  <a:cubicBezTo>
                    <a:pt x="766" y="3441"/>
                    <a:pt x="758" y="3451"/>
                    <a:pt x="746" y="3456"/>
                  </a:cubicBezTo>
                  <a:cubicBezTo>
                    <a:pt x="733" y="3461"/>
                    <a:pt x="680" y="3464"/>
                    <a:pt x="670" y="3459"/>
                  </a:cubicBezTo>
                  <a:cubicBezTo>
                    <a:pt x="655" y="3451"/>
                    <a:pt x="651" y="3435"/>
                    <a:pt x="644" y="3415"/>
                  </a:cubicBezTo>
                  <a:cubicBezTo>
                    <a:pt x="636" y="3388"/>
                    <a:pt x="624" y="3355"/>
                    <a:pt x="583" y="3347"/>
                  </a:cubicBezTo>
                  <a:cubicBezTo>
                    <a:pt x="558" y="3342"/>
                    <a:pt x="542" y="3352"/>
                    <a:pt x="527" y="3362"/>
                  </a:cubicBezTo>
                  <a:cubicBezTo>
                    <a:pt x="524" y="3364"/>
                    <a:pt x="519" y="3367"/>
                    <a:pt x="514" y="3370"/>
                  </a:cubicBezTo>
                  <a:cubicBezTo>
                    <a:pt x="497" y="3379"/>
                    <a:pt x="479" y="3380"/>
                    <a:pt x="451" y="3374"/>
                  </a:cubicBezTo>
                  <a:cubicBezTo>
                    <a:pt x="435" y="3370"/>
                    <a:pt x="420" y="3360"/>
                    <a:pt x="413" y="3344"/>
                  </a:cubicBezTo>
                  <a:cubicBezTo>
                    <a:pt x="405" y="3327"/>
                    <a:pt x="407" y="3308"/>
                    <a:pt x="418" y="3288"/>
                  </a:cubicBezTo>
                  <a:cubicBezTo>
                    <a:pt x="422" y="3280"/>
                    <a:pt x="430" y="3273"/>
                    <a:pt x="438" y="3265"/>
                  </a:cubicBezTo>
                  <a:cubicBezTo>
                    <a:pt x="450" y="3253"/>
                    <a:pt x="461" y="3242"/>
                    <a:pt x="466" y="3225"/>
                  </a:cubicBezTo>
                  <a:cubicBezTo>
                    <a:pt x="474" y="3202"/>
                    <a:pt x="468" y="3182"/>
                    <a:pt x="461" y="3166"/>
                  </a:cubicBezTo>
                  <a:cubicBezTo>
                    <a:pt x="459" y="3156"/>
                    <a:pt x="456" y="3148"/>
                    <a:pt x="456" y="3138"/>
                  </a:cubicBezTo>
                  <a:cubicBezTo>
                    <a:pt x="453" y="3115"/>
                    <a:pt x="469" y="3095"/>
                    <a:pt x="486" y="3074"/>
                  </a:cubicBezTo>
                  <a:cubicBezTo>
                    <a:pt x="502" y="3052"/>
                    <a:pt x="519" y="3033"/>
                    <a:pt x="524" y="3005"/>
                  </a:cubicBezTo>
                  <a:cubicBezTo>
                    <a:pt x="525" y="2998"/>
                    <a:pt x="524" y="2991"/>
                    <a:pt x="522" y="2985"/>
                  </a:cubicBezTo>
                  <a:cubicBezTo>
                    <a:pt x="522" y="2980"/>
                    <a:pt x="520" y="2975"/>
                    <a:pt x="522" y="2972"/>
                  </a:cubicBezTo>
                  <a:cubicBezTo>
                    <a:pt x="522" y="2968"/>
                    <a:pt x="527" y="2965"/>
                    <a:pt x="532" y="2960"/>
                  </a:cubicBezTo>
                  <a:cubicBezTo>
                    <a:pt x="537" y="2957"/>
                    <a:pt x="542" y="2952"/>
                    <a:pt x="547" y="2945"/>
                  </a:cubicBezTo>
                  <a:cubicBezTo>
                    <a:pt x="553" y="2932"/>
                    <a:pt x="555" y="2919"/>
                    <a:pt x="555" y="2906"/>
                  </a:cubicBezTo>
                  <a:cubicBezTo>
                    <a:pt x="555" y="2897"/>
                    <a:pt x="555" y="2891"/>
                    <a:pt x="558" y="2884"/>
                  </a:cubicBezTo>
                  <a:cubicBezTo>
                    <a:pt x="560" y="2879"/>
                    <a:pt x="562" y="2874"/>
                    <a:pt x="563" y="2869"/>
                  </a:cubicBezTo>
                  <a:cubicBezTo>
                    <a:pt x="571" y="2848"/>
                    <a:pt x="580" y="2827"/>
                    <a:pt x="567" y="2797"/>
                  </a:cubicBezTo>
                  <a:cubicBezTo>
                    <a:pt x="552" y="2766"/>
                    <a:pt x="519" y="2734"/>
                    <a:pt x="476" y="2736"/>
                  </a:cubicBezTo>
                  <a:cubicBezTo>
                    <a:pt x="443" y="2738"/>
                    <a:pt x="428" y="2759"/>
                    <a:pt x="412" y="2779"/>
                  </a:cubicBezTo>
                  <a:lnTo>
                    <a:pt x="410" y="2782"/>
                  </a:lnTo>
                  <a:cubicBezTo>
                    <a:pt x="397" y="2800"/>
                    <a:pt x="385" y="2804"/>
                    <a:pt x="367" y="2810"/>
                  </a:cubicBezTo>
                  <a:cubicBezTo>
                    <a:pt x="361" y="2813"/>
                    <a:pt x="354" y="2817"/>
                    <a:pt x="346" y="2820"/>
                  </a:cubicBezTo>
                  <a:cubicBezTo>
                    <a:pt x="334" y="2825"/>
                    <a:pt x="326" y="2832"/>
                    <a:pt x="318" y="2838"/>
                  </a:cubicBezTo>
                  <a:cubicBezTo>
                    <a:pt x="310" y="2846"/>
                    <a:pt x="301" y="2851"/>
                    <a:pt x="290" y="2855"/>
                  </a:cubicBezTo>
                  <a:cubicBezTo>
                    <a:pt x="278" y="2858"/>
                    <a:pt x="268" y="2860"/>
                    <a:pt x="258" y="2861"/>
                  </a:cubicBezTo>
                  <a:cubicBezTo>
                    <a:pt x="253" y="2861"/>
                    <a:pt x="247" y="2863"/>
                    <a:pt x="242" y="2863"/>
                  </a:cubicBezTo>
                  <a:cubicBezTo>
                    <a:pt x="239" y="2853"/>
                    <a:pt x="234" y="2843"/>
                    <a:pt x="229" y="2832"/>
                  </a:cubicBezTo>
                  <a:cubicBezTo>
                    <a:pt x="219" y="2809"/>
                    <a:pt x="209" y="2785"/>
                    <a:pt x="204" y="2759"/>
                  </a:cubicBezTo>
                  <a:cubicBezTo>
                    <a:pt x="202" y="2753"/>
                    <a:pt x="199" y="2744"/>
                    <a:pt x="197" y="2734"/>
                  </a:cubicBezTo>
                  <a:cubicBezTo>
                    <a:pt x="189" y="2705"/>
                    <a:pt x="179" y="2665"/>
                    <a:pt x="191" y="2645"/>
                  </a:cubicBezTo>
                  <a:cubicBezTo>
                    <a:pt x="197" y="2636"/>
                    <a:pt x="207" y="2629"/>
                    <a:pt x="216" y="2622"/>
                  </a:cubicBezTo>
                  <a:cubicBezTo>
                    <a:pt x="234" y="2608"/>
                    <a:pt x="253" y="2591"/>
                    <a:pt x="239" y="2547"/>
                  </a:cubicBezTo>
                  <a:cubicBezTo>
                    <a:pt x="224" y="2502"/>
                    <a:pt x="197" y="2477"/>
                    <a:pt x="151" y="2466"/>
                  </a:cubicBezTo>
                  <a:lnTo>
                    <a:pt x="143" y="2464"/>
                  </a:lnTo>
                  <a:cubicBezTo>
                    <a:pt x="115" y="2458"/>
                    <a:pt x="84" y="2449"/>
                    <a:pt x="87" y="2430"/>
                  </a:cubicBezTo>
                  <a:cubicBezTo>
                    <a:pt x="87" y="2423"/>
                    <a:pt x="89" y="2421"/>
                    <a:pt x="97" y="2418"/>
                  </a:cubicBezTo>
                  <a:cubicBezTo>
                    <a:pt x="104" y="2415"/>
                    <a:pt x="115" y="2408"/>
                    <a:pt x="120" y="2393"/>
                  </a:cubicBezTo>
                  <a:cubicBezTo>
                    <a:pt x="125" y="2379"/>
                    <a:pt x="120" y="2364"/>
                    <a:pt x="115" y="2352"/>
                  </a:cubicBezTo>
                  <a:cubicBezTo>
                    <a:pt x="112" y="2347"/>
                    <a:pt x="110" y="2342"/>
                    <a:pt x="110" y="2337"/>
                  </a:cubicBezTo>
                  <a:cubicBezTo>
                    <a:pt x="109" y="2329"/>
                    <a:pt x="115" y="2318"/>
                    <a:pt x="122" y="2308"/>
                  </a:cubicBezTo>
                  <a:cubicBezTo>
                    <a:pt x="130" y="2291"/>
                    <a:pt x="140" y="2275"/>
                    <a:pt x="133" y="2258"/>
                  </a:cubicBezTo>
                  <a:cubicBezTo>
                    <a:pt x="132" y="2248"/>
                    <a:pt x="125" y="2240"/>
                    <a:pt x="113" y="2235"/>
                  </a:cubicBezTo>
                  <a:cubicBezTo>
                    <a:pt x="94" y="2224"/>
                    <a:pt x="77" y="2232"/>
                    <a:pt x="64" y="2220"/>
                  </a:cubicBezTo>
                  <a:cubicBezTo>
                    <a:pt x="59" y="2217"/>
                    <a:pt x="56" y="2212"/>
                    <a:pt x="53" y="2207"/>
                  </a:cubicBezTo>
                  <a:cubicBezTo>
                    <a:pt x="48" y="2201"/>
                    <a:pt x="41" y="2192"/>
                    <a:pt x="29" y="2184"/>
                  </a:cubicBezTo>
                  <a:cubicBezTo>
                    <a:pt x="26" y="2183"/>
                    <a:pt x="21" y="2181"/>
                    <a:pt x="16" y="2179"/>
                  </a:cubicBezTo>
                  <a:cubicBezTo>
                    <a:pt x="10" y="2176"/>
                    <a:pt x="0" y="2171"/>
                    <a:pt x="0" y="2168"/>
                  </a:cubicBezTo>
                  <a:lnTo>
                    <a:pt x="0" y="2166"/>
                  </a:lnTo>
                  <a:cubicBezTo>
                    <a:pt x="3" y="2166"/>
                    <a:pt x="10" y="2166"/>
                    <a:pt x="16" y="2164"/>
                  </a:cubicBezTo>
                  <a:cubicBezTo>
                    <a:pt x="72" y="2143"/>
                    <a:pt x="61" y="2095"/>
                    <a:pt x="51" y="2056"/>
                  </a:cubicBezTo>
                  <a:cubicBezTo>
                    <a:pt x="48" y="2039"/>
                    <a:pt x="53" y="2023"/>
                    <a:pt x="59" y="2005"/>
                  </a:cubicBezTo>
                  <a:cubicBezTo>
                    <a:pt x="64" y="1990"/>
                    <a:pt x="69" y="1972"/>
                    <a:pt x="67" y="1954"/>
                  </a:cubicBezTo>
                  <a:cubicBezTo>
                    <a:pt x="67" y="1944"/>
                    <a:pt x="62" y="1934"/>
                    <a:pt x="57" y="1926"/>
                  </a:cubicBezTo>
                  <a:cubicBezTo>
                    <a:pt x="54" y="1917"/>
                    <a:pt x="49" y="1909"/>
                    <a:pt x="49" y="1904"/>
                  </a:cubicBezTo>
                  <a:cubicBezTo>
                    <a:pt x="51" y="1899"/>
                    <a:pt x="54" y="1896"/>
                    <a:pt x="57" y="1891"/>
                  </a:cubicBezTo>
                  <a:cubicBezTo>
                    <a:pt x="64" y="1884"/>
                    <a:pt x="72" y="1874"/>
                    <a:pt x="74" y="1856"/>
                  </a:cubicBezTo>
                  <a:cubicBezTo>
                    <a:pt x="74" y="1838"/>
                    <a:pt x="71" y="1827"/>
                    <a:pt x="66" y="1815"/>
                  </a:cubicBezTo>
                  <a:cubicBezTo>
                    <a:pt x="61" y="1800"/>
                    <a:pt x="59" y="1790"/>
                    <a:pt x="71" y="1772"/>
                  </a:cubicBezTo>
                  <a:lnTo>
                    <a:pt x="76" y="1764"/>
                  </a:lnTo>
                  <a:cubicBezTo>
                    <a:pt x="82" y="1751"/>
                    <a:pt x="89" y="1741"/>
                    <a:pt x="100" y="1734"/>
                  </a:cubicBezTo>
                  <a:cubicBezTo>
                    <a:pt x="104" y="1733"/>
                    <a:pt x="109" y="1733"/>
                    <a:pt x="115" y="1731"/>
                  </a:cubicBezTo>
                  <a:cubicBezTo>
                    <a:pt x="123" y="1731"/>
                    <a:pt x="133" y="1729"/>
                    <a:pt x="143" y="1725"/>
                  </a:cubicBezTo>
                  <a:cubicBezTo>
                    <a:pt x="150" y="1720"/>
                    <a:pt x="156" y="1715"/>
                    <a:pt x="161" y="1710"/>
                  </a:cubicBezTo>
                  <a:cubicBezTo>
                    <a:pt x="168" y="1703"/>
                    <a:pt x="171" y="1698"/>
                    <a:pt x="179" y="1697"/>
                  </a:cubicBezTo>
                  <a:cubicBezTo>
                    <a:pt x="184" y="1695"/>
                    <a:pt x="191" y="1697"/>
                    <a:pt x="197" y="1698"/>
                  </a:cubicBezTo>
                  <a:cubicBezTo>
                    <a:pt x="207" y="1698"/>
                    <a:pt x="221" y="1700"/>
                    <a:pt x="232" y="1695"/>
                  </a:cubicBezTo>
                  <a:cubicBezTo>
                    <a:pt x="244" y="1690"/>
                    <a:pt x="250" y="1682"/>
                    <a:pt x="255" y="1675"/>
                  </a:cubicBezTo>
                  <a:cubicBezTo>
                    <a:pt x="262" y="1669"/>
                    <a:pt x="267" y="1664"/>
                    <a:pt x="277" y="1660"/>
                  </a:cubicBezTo>
                  <a:cubicBezTo>
                    <a:pt x="281" y="1660"/>
                    <a:pt x="286" y="1660"/>
                    <a:pt x="291" y="1660"/>
                  </a:cubicBezTo>
                  <a:cubicBezTo>
                    <a:pt x="305" y="1659"/>
                    <a:pt x="318" y="1659"/>
                    <a:pt x="333" y="1647"/>
                  </a:cubicBezTo>
                  <a:cubicBezTo>
                    <a:pt x="364" y="1626"/>
                    <a:pt x="359" y="1596"/>
                    <a:pt x="356" y="1573"/>
                  </a:cubicBezTo>
                  <a:cubicBezTo>
                    <a:pt x="354" y="1561"/>
                    <a:pt x="354" y="1552"/>
                    <a:pt x="354" y="1542"/>
                  </a:cubicBezTo>
                  <a:cubicBezTo>
                    <a:pt x="357" y="1502"/>
                    <a:pt x="374" y="1491"/>
                    <a:pt x="418" y="1487"/>
                  </a:cubicBezTo>
                  <a:cubicBezTo>
                    <a:pt x="451" y="1486"/>
                    <a:pt x="484" y="1472"/>
                    <a:pt x="520" y="1446"/>
                  </a:cubicBezTo>
                  <a:cubicBezTo>
                    <a:pt x="567" y="1415"/>
                    <a:pt x="573" y="1374"/>
                    <a:pt x="580" y="1328"/>
                  </a:cubicBezTo>
                  <a:cubicBezTo>
                    <a:pt x="581" y="1323"/>
                    <a:pt x="581" y="1318"/>
                    <a:pt x="581" y="1313"/>
                  </a:cubicBezTo>
                  <a:cubicBezTo>
                    <a:pt x="583" y="1298"/>
                    <a:pt x="585" y="1280"/>
                    <a:pt x="593" y="1270"/>
                  </a:cubicBezTo>
                  <a:cubicBezTo>
                    <a:pt x="596" y="1265"/>
                    <a:pt x="599" y="1263"/>
                    <a:pt x="608" y="1262"/>
                  </a:cubicBezTo>
                  <a:cubicBezTo>
                    <a:pt x="613" y="1260"/>
                    <a:pt x="619" y="1257"/>
                    <a:pt x="626" y="1253"/>
                  </a:cubicBezTo>
                  <a:cubicBezTo>
                    <a:pt x="639" y="1243"/>
                    <a:pt x="647" y="1232"/>
                    <a:pt x="649" y="1219"/>
                  </a:cubicBezTo>
                  <a:cubicBezTo>
                    <a:pt x="652" y="1189"/>
                    <a:pt x="627" y="1161"/>
                    <a:pt x="608" y="1138"/>
                  </a:cubicBezTo>
                  <a:cubicBezTo>
                    <a:pt x="591" y="1118"/>
                    <a:pt x="588" y="1103"/>
                    <a:pt x="583" y="1084"/>
                  </a:cubicBezTo>
                  <a:cubicBezTo>
                    <a:pt x="580" y="1074"/>
                    <a:pt x="576" y="1062"/>
                    <a:pt x="571" y="1049"/>
                  </a:cubicBezTo>
                  <a:cubicBezTo>
                    <a:pt x="568" y="1043"/>
                    <a:pt x="567" y="1036"/>
                    <a:pt x="563" y="1031"/>
                  </a:cubicBezTo>
                  <a:cubicBezTo>
                    <a:pt x="558" y="1019"/>
                    <a:pt x="555" y="1010"/>
                    <a:pt x="552" y="996"/>
                  </a:cubicBezTo>
                  <a:cubicBezTo>
                    <a:pt x="547" y="978"/>
                    <a:pt x="542" y="968"/>
                    <a:pt x="525" y="955"/>
                  </a:cubicBezTo>
                  <a:cubicBezTo>
                    <a:pt x="515" y="949"/>
                    <a:pt x="504" y="944"/>
                    <a:pt x="492" y="939"/>
                  </a:cubicBezTo>
                  <a:cubicBezTo>
                    <a:pt x="476" y="932"/>
                    <a:pt x="463" y="926"/>
                    <a:pt x="454" y="909"/>
                  </a:cubicBezTo>
                  <a:cubicBezTo>
                    <a:pt x="448" y="894"/>
                    <a:pt x="453" y="876"/>
                    <a:pt x="459" y="858"/>
                  </a:cubicBezTo>
                  <a:lnTo>
                    <a:pt x="461" y="853"/>
                  </a:lnTo>
                  <a:cubicBezTo>
                    <a:pt x="469" y="833"/>
                    <a:pt x="469" y="832"/>
                    <a:pt x="466" y="810"/>
                  </a:cubicBezTo>
                  <a:lnTo>
                    <a:pt x="464" y="805"/>
                  </a:lnTo>
                  <a:cubicBezTo>
                    <a:pt x="459" y="781"/>
                    <a:pt x="474" y="756"/>
                    <a:pt x="489" y="731"/>
                  </a:cubicBezTo>
                  <a:cubicBezTo>
                    <a:pt x="496" y="720"/>
                    <a:pt x="502" y="708"/>
                    <a:pt x="507" y="697"/>
                  </a:cubicBezTo>
                  <a:cubicBezTo>
                    <a:pt x="510" y="693"/>
                    <a:pt x="512" y="688"/>
                    <a:pt x="515" y="685"/>
                  </a:cubicBezTo>
                  <a:cubicBezTo>
                    <a:pt x="524" y="669"/>
                    <a:pt x="532" y="652"/>
                    <a:pt x="532" y="631"/>
                  </a:cubicBezTo>
                  <a:cubicBezTo>
                    <a:pt x="530" y="622"/>
                    <a:pt x="529" y="614"/>
                    <a:pt x="525" y="606"/>
                  </a:cubicBezTo>
                  <a:cubicBezTo>
                    <a:pt x="524" y="601"/>
                    <a:pt x="522" y="594"/>
                    <a:pt x="520" y="589"/>
                  </a:cubicBezTo>
                  <a:cubicBezTo>
                    <a:pt x="520" y="583"/>
                    <a:pt x="522" y="578"/>
                    <a:pt x="522" y="573"/>
                  </a:cubicBezTo>
                  <a:cubicBezTo>
                    <a:pt x="524" y="561"/>
                    <a:pt x="525" y="548"/>
                    <a:pt x="519" y="533"/>
                  </a:cubicBezTo>
                  <a:cubicBezTo>
                    <a:pt x="515" y="527"/>
                    <a:pt x="512" y="522"/>
                    <a:pt x="509" y="519"/>
                  </a:cubicBezTo>
                  <a:cubicBezTo>
                    <a:pt x="504" y="512"/>
                    <a:pt x="502" y="509"/>
                    <a:pt x="502" y="501"/>
                  </a:cubicBezTo>
                  <a:cubicBezTo>
                    <a:pt x="502" y="494"/>
                    <a:pt x="504" y="487"/>
                    <a:pt x="506" y="479"/>
                  </a:cubicBezTo>
                  <a:cubicBezTo>
                    <a:pt x="509" y="468"/>
                    <a:pt x="512" y="454"/>
                    <a:pt x="509" y="438"/>
                  </a:cubicBezTo>
                  <a:cubicBezTo>
                    <a:pt x="506" y="425"/>
                    <a:pt x="497" y="415"/>
                    <a:pt x="489" y="403"/>
                  </a:cubicBezTo>
                  <a:cubicBezTo>
                    <a:pt x="484" y="397"/>
                    <a:pt x="479" y="390"/>
                    <a:pt x="476" y="384"/>
                  </a:cubicBezTo>
                  <a:cubicBezTo>
                    <a:pt x="471" y="370"/>
                    <a:pt x="466" y="352"/>
                    <a:pt x="474" y="339"/>
                  </a:cubicBezTo>
                  <a:cubicBezTo>
                    <a:pt x="481" y="328"/>
                    <a:pt x="494" y="319"/>
                    <a:pt x="515" y="316"/>
                  </a:cubicBezTo>
                  <a:cubicBezTo>
                    <a:pt x="545" y="311"/>
                    <a:pt x="571" y="319"/>
                    <a:pt x="599" y="328"/>
                  </a:cubicBezTo>
                  <a:cubicBezTo>
                    <a:pt x="613" y="331"/>
                    <a:pt x="626" y="334"/>
                    <a:pt x="641" y="337"/>
                  </a:cubicBezTo>
                  <a:cubicBezTo>
                    <a:pt x="646" y="339"/>
                    <a:pt x="651" y="341"/>
                    <a:pt x="655" y="342"/>
                  </a:cubicBezTo>
                  <a:cubicBezTo>
                    <a:pt x="670" y="346"/>
                    <a:pt x="685" y="351"/>
                    <a:pt x="700" y="347"/>
                  </a:cubicBezTo>
                  <a:cubicBezTo>
                    <a:pt x="711" y="346"/>
                    <a:pt x="720" y="337"/>
                    <a:pt x="726" y="332"/>
                  </a:cubicBezTo>
                  <a:cubicBezTo>
                    <a:pt x="731" y="329"/>
                    <a:pt x="735" y="326"/>
                    <a:pt x="738" y="324"/>
                  </a:cubicBezTo>
                  <a:cubicBezTo>
                    <a:pt x="749" y="319"/>
                    <a:pt x="759" y="319"/>
                    <a:pt x="771" y="318"/>
                  </a:cubicBezTo>
                  <a:cubicBezTo>
                    <a:pt x="792" y="316"/>
                    <a:pt x="815" y="314"/>
                    <a:pt x="837" y="291"/>
                  </a:cubicBezTo>
                  <a:cubicBezTo>
                    <a:pt x="850" y="276"/>
                    <a:pt x="855" y="262"/>
                    <a:pt x="860" y="247"/>
                  </a:cubicBezTo>
                  <a:cubicBezTo>
                    <a:pt x="863" y="242"/>
                    <a:pt x="865" y="237"/>
                    <a:pt x="866" y="232"/>
                  </a:cubicBezTo>
                  <a:cubicBezTo>
                    <a:pt x="871" y="222"/>
                    <a:pt x="873" y="220"/>
                    <a:pt x="873" y="219"/>
                  </a:cubicBezTo>
                  <a:cubicBezTo>
                    <a:pt x="875" y="219"/>
                    <a:pt x="880" y="219"/>
                    <a:pt x="883" y="219"/>
                  </a:cubicBezTo>
                  <a:cubicBezTo>
                    <a:pt x="886" y="219"/>
                    <a:pt x="891" y="219"/>
                    <a:pt x="898" y="219"/>
                  </a:cubicBezTo>
                  <a:cubicBezTo>
                    <a:pt x="908" y="219"/>
                    <a:pt x="919" y="214"/>
                    <a:pt x="929" y="211"/>
                  </a:cubicBezTo>
                  <a:cubicBezTo>
                    <a:pt x="937" y="207"/>
                    <a:pt x="947" y="204"/>
                    <a:pt x="952" y="204"/>
                  </a:cubicBezTo>
                  <a:cubicBezTo>
                    <a:pt x="954" y="204"/>
                    <a:pt x="954" y="204"/>
                    <a:pt x="954" y="204"/>
                  </a:cubicBezTo>
                  <a:cubicBezTo>
                    <a:pt x="957" y="204"/>
                    <a:pt x="959" y="207"/>
                    <a:pt x="964" y="212"/>
                  </a:cubicBezTo>
                  <a:cubicBezTo>
                    <a:pt x="968" y="219"/>
                    <a:pt x="977" y="227"/>
                    <a:pt x="992" y="229"/>
                  </a:cubicBezTo>
                  <a:cubicBezTo>
                    <a:pt x="1005" y="229"/>
                    <a:pt x="1016" y="225"/>
                    <a:pt x="1024" y="217"/>
                  </a:cubicBezTo>
                  <a:cubicBezTo>
                    <a:pt x="1043" y="199"/>
                    <a:pt x="1044" y="166"/>
                    <a:pt x="1044" y="158"/>
                  </a:cubicBezTo>
                  <a:cubicBezTo>
                    <a:pt x="1044" y="128"/>
                    <a:pt x="1044" y="100"/>
                    <a:pt x="1046" y="71"/>
                  </a:cubicBezTo>
                  <a:cubicBezTo>
                    <a:pt x="1062" y="71"/>
                    <a:pt x="1080" y="69"/>
                    <a:pt x="1097" y="62"/>
                  </a:cubicBezTo>
                  <a:cubicBezTo>
                    <a:pt x="1110" y="57"/>
                    <a:pt x="1122" y="49"/>
                    <a:pt x="1132" y="41"/>
                  </a:cubicBezTo>
                  <a:cubicBezTo>
                    <a:pt x="1137" y="36"/>
                    <a:pt x="1140" y="33"/>
                    <a:pt x="1143" y="28"/>
                  </a:cubicBezTo>
                  <a:cubicBezTo>
                    <a:pt x="1150" y="21"/>
                    <a:pt x="1156" y="15"/>
                    <a:pt x="1163" y="10"/>
                  </a:cubicBezTo>
                  <a:cubicBezTo>
                    <a:pt x="1179" y="0"/>
                    <a:pt x="1202" y="3"/>
                    <a:pt x="1222" y="6"/>
                  </a:cubicBezTo>
                  <a:cubicBezTo>
                    <a:pt x="1245" y="10"/>
                    <a:pt x="1273" y="13"/>
                    <a:pt x="1298" y="24"/>
                  </a:cubicBezTo>
                  <a:cubicBezTo>
                    <a:pt x="1314" y="33"/>
                    <a:pt x="1329" y="44"/>
                    <a:pt x="1342" y="54"/>
                  </a:cubicBezTo>
                  <a:cubicBezTo>
                    <a:pt x="1380" y="84"/>
                    <a:pt x="1410" y="110"/>
                    <a:pt x="1435" y="138"/>
                  </a:cubicBezTo>
                  <a:cubicBezTo>
                    <a:pt x="1440" y="143"/>
                    <a:pt x="1446" y="151"/>
                    <a:pt x="1445" y="158"/>
                  </a:cubicBezTo>
                  <a:cubicBezTo>
                    <a:pt x="1445" y="159"/>
                    <a:pt x="1445" y="161"/>
                    <a:pt x="1443" y="164"/>
                  </a:cubicBezTo>
                  <a:cubicBezTo>
                    <a:pt x="1441" y="168"/>
                    <a:pt x="1440" y="171"/>
                    <a:pt x="1440" y="176"/>
                  </a:cubicBezTo>
                  <a:cubicBezTo>
                    <a:pt x="1436" y="192"/>
                    <a:pt x="1446" y="206"/>
                    <a:pt x="1454" y="216"/>
                  </a:cubicBezTo>
                  <a:cubicBezTo>
                    <a:pt x="1459" y="222"/>
                    <a:pt x="1464" y="229"/>
                    <a:pt x="1464" y="235"/>
                  </a:cubicBezTo>
                  <a:cubicBezTo>
                    <a:pt x="1464" y="244"/>
                    <a:pt x="1454" y="253"/>
                    <a:pt x="1445" y="262"/>
                  </a:cubicBezTo>
                  <a:lnTo>
                    <a:pt x="1441" y="267"/>
                  </a:lnTo>
                  <a:cubicBezTo>
                    <a:pt x="1410" y="298"/>
                    <a:pt x="1395" y="341"/>
                    <a:pt x="1405" y="377"/>
                  </a:cubicBezTo>
                  <a:cubicBezTo>
                    <a:pt x="1412" y="398"/>
                    <a:pt x="1428" y="418"/>
                    <a:pt x="1450" y="430"/>
                  </a:cubicBezTo>
                  <a:cubicBezTo>
                    <a:pt x="1468" y="438"/>
                    <a:pt x="1489" y="440"/>
                    <a:pt x="1506" y="431"/>
                  </a:cubicBezTo>
                  <a:cubicBezTo>
                    <a:pt x="1520" y="426"/>
                    <a:pt x="1532" y="415"/>
                    <a:pt x="1542" y="405"/>
                  </a:cubicBezTo>
                  <a:cubicBezTo>
                    <a:pt x="1550" y="397"/>
                    <a:pt x="1558" y="388"/>
                    <a:pt x="1568" y="384"/>
                  </a:cubicBezTo>
                  <a:cubicBezTo>
                    <a:pt x="1580" y="379"/>
                    <a:pt x="1594" y="379"/>
                    <a:pt x="1608" y="385"/>
                  </a:cubicBezTo>
                  <a:cubicBezTo>
                    <a:pt x="1611" y="387"/>
                    <a:pt x="1614" y="390"/>
                    <a:pt x="1618" y="392"/>
                  </a:cubicBezTo>
                  <a:cubicBezTo>
                    <a:pt x="1629" y="400"/>
                    <a:pt x="1641" y="408"/>
                    <a:pt x="1655" y="407"/>
                  </a:cubicBezTo>
                  <a:cubicBezTo>
                    <a:pt x="1667" y="407"/>
                    <a:pt x="1675" y="402"/>
                    <a:pt x="1683" y="397"/>
                  </a:cubicBezTo>
                  <a:cubicBezTo>
                    <a:pt x="1687" y="395"/>
                    <a:pt x="1690" y="392"/>
                    <a:pt x="1693" y="390"/>
                  </a:cubicBezTo>
                  <a:cubicBezTo>
                    <a:pt x="1705" y="387"/>
                    <a:pt x="1720" y="390"/>
                    <a:pt x="1733" y="398"/>
                  </a:cubicBezTo>
                  <a:cubicBezTo>
                    <a:pt x="1744" y="408"/>
                    <a:pt x="1753" y="420"/>
                    <a:pt x="1763" y="436"/>
                  </a:cubicBezTo>
                  <a:cubicBezTo>
                    <a:pt x="1771" y="451"/>
                    <a:pt x="1779" y="466"/>
                    <a:pt x="1786" y="481"/>
                  </a:cubicBezTo>
                  <a:cubicBezTo>
                    <a:pt x="1777" y="486"/>
                    <a:pt x="1771" y="491"/>
                    <a:pt x="1761" y="492"/>
                  </a:cubicBezTo>
                  <a:cubicBezTo>
                    <a:pt x="1746" y="496"/>
                    <a:pt x="1731" y="487"/>
                    <a:pt x="1720" y="501"/>
                  </a:cubicBezTo>
                  <a:cubicBezTo>
                    <a:pt x="1698" y="527"/>
                    <a:pt x="1754" y="552"/>
                    <a:pt x="1738" y="586"/>
                  </a:cubicBezTo>
                  <a:cubicBezTo>
                    <a:pt x="1731" y="603"/>
                    <a:pt x="1711" y="613"/>
                    <a:pt x="1695" y="613"/>
                  </a:cubicBezTo>
                  <a:cubicBezTo>
                    <a:pt x="1674" y="613"/>
                    <a:pt x="1670" y="601"/>
                    <a:pt x="1655" y="591"/>
                  </a:cubicBezTo>
                  <a:cubicBezTo>
                    <a:pt x="1626" y="573"/>
                    <a:pt x="1601" y="619"/>
                    <a:pt x="1581" y="639"/>
                  </a:cubicBezTo>
                  <a:cubicBezTo>
                    <a:pt x="1545" y="672"/>
                    <a:pt x="1506" y="700"/>
                    <a:pt x="1468" y="731"/>
                  </a:cubicBezTo>
                  <a:cubicBezTo>
                    <a:pt x="1446" y="749"/>
                    <a:pt x="1420" y="764"/>
                    <a:pt x="1402" y="786"/>
                  </a:cubicBezTo>
                  <a:cubicBezTo>
                    <a:pt x="1389" y="799"/>
                    <a:pt x="1380" y="814"/>
                    <a:pt x="1369" y="827"/>
                  </a:cubicBezTo>
                  <a:cubicBezTo>
                    <a:pt x="1352" y="843"/>
                    <a:pt x="1331" y="850"/>
                    <a:pt x="1318" y="868"/>
                  </a:cubicBezTo>
                  <a:cubicBezTo>
                    <a:pt x="1306" y="883"/>
                    <a:pt x="1303" y="902"/>
                    <a:pt x="1296" y="919"/>
                  </a:cubicBezTo>
                  <a:cubicBezTo>
                    <a:pt x="1280" y="960"/>
                    <a:pt x="1250" y="998"/>
                    <a:pt x="1257" y="1046"/>
                  </a:cubicBezTo>
                  <a:cubicBezTo>
                    <a:pt x="1263" y="1094"/>
                    <a:pt x="1281" y="1136"/>
                    <a:pt x="1272" y="1186"/>
                  </a:cubicBezTo>
                  <a:cubicBezTo>
                    <a:pt x="1262" y="1227"/>
                    <a:pt x="1232" y="1255"/>
                    <a:pt x="1227" y="1298"/>
                  </a:cubicBezTo>
                  <a:cubicBezTo>
                    <a:pt x="1224" y="1318"/>
                    <a:pt x="1224" y="1337"/>
                    <a:pt x="1230" y="1356"/>
                  </a:cubicBezTo>
                  <a:cubicBezTo>
                    <a:pt x="1232" y="1360"/>
                    <a:pt x="1239" y="1367"/>
                    <a:pt x="1240" y="1374"/>
                  </a:cubicBezTo>
                  <a:cubicBezTo>
                    <a:pt x="1244" y="1384"/>
                    <a:pt x="1240" y="1393"/>
                    <a:pt x="1242" y="1403"/>
                  </a:cubicBezTo>
                  <a:cubicBezTo>
                    <a:pt x="1247" y="1426"/>
                    <a:pt x="1268" y="1444"/>
                    <a:pt x="1268" y="1469"/>
                  </a:cubicBezTo>
                  <a:cubicBezTo>
                    <a:pt x="1268" y="1491"/>
                    <a:pt x="1255" y="1505"/>
                    <a:pt x="1247" y="1522"/>
                  </a:cubicBezTo>
                  <a:cubicBezTo>
                    <a:pt x="1239" y="1537"/>
                    <a:pt x="1237" y="1545"/>
                    <a:pt x="1235" y="1561"/>
                  </a:cubicBezTo>
                  <a:cubicBezTo>
                    <a:pt x="1232" y="1585"/>
                    <a:pt x="1224" y="1603"/>
                    <a:pt x="1219" y="1624"/>
                  </a:cubicBezTo>
                  <a:cubicBezTo>
                    <a:pt x="1216" y="1644"/>
                    <a:pt x="1224" y="1664"/>
                    <a:pt x="1219" y="1683"/>
                  </a:cubicBezTo>
                  <a:cubicBezTo>
                    <a:pt x="1216" y="1700"/>
                    <a:pt x="1204" y="1715"/>
                    <a:pt x="1197" y="1729"/>
                  </a:cubicBezTo>
                  <a:cubicBezTo>
                    <a:pt x="1181" y="1771"/>
                    <a:pt x="1178" y="1823"/>
                    <a:pt x="1169" y="1868"/>
                  </a:cubicBezTo>
                  <a:cubicBezTo>
                    <a:pt x="1153" y="1963"/>
                    <a:pt x="1184" y="2059"/>
                    <a:pt x="1166" y="2156"/>
                  </a:cubicBezTo>
                  <a:cubicBezTo>
                    <a:pt x="1156" y="2207"/>
                    <a:pt x="1145" y="2255"/>
                    <a:pt x="1125" y="2303"/>
                  </a:cubicBezTo>
                  <a:cubicBezTo>
                    <a:pt x="1117" y="2323"/>
                    <a:pt x="1113" y="2347"/>
                    <a:pt x="1102" y="2365"/>
                  </a:cubicBezTo>
                  <a:cubicBezTo>
                    <a:pt x="1089" y="2388"/>
                    <a:pt x="1077" y="2397"/>
                    <a:pt x="1079" y="2426"/>
                  </a:cubicBezTo>
                  <a:cubicBezTo>
                    <a:pt x="1079" y="2451"/>
                    <a:pt x="1084" y="2477"/>
                    <a:pt x="1076" y="2504"/>
                  </a:cubicBezTo>
                  <a:cubicBezTo>
                    <a:pt x="1071" y="2520"/>
                    <a:pt x="1056" y="2532"/>
                    <a:pt x="1048" y="2548"/>
                  </a:cubicBezTo>
                  <a:cubicBezTo>
                    <a:pt x="1043" y="2558"/>
                    <a:pt x="1046" y="2568"/>
                    <a:pt x="1041" y="2576"/>
                  </a:cubicBezTo>
                  <a:cubicBezTo>
                    <a:pt x="1036" y="2584"/>
                    <a:pt x="1028" y="2588"/>
                    <a:pt x="1023" y="2594"/>
                  </a:cubicBezTo>
                  <a:cubicBezTo>
                    <a:pt x="1010" y="2612"/>
                    <a:pt x="1005" y="2632"/>
                    <a:pt x="1005" y="2652"/>
                  </a:cubicBezTo>
                  <a:cubicBezTo>
                    <a:pt x="1003" y="2677"/>
                    <a:pt x="1003" y="2726"/>
                    <a:pt x="1034" y="2733"/>
                  </a:cubicBezTo>
                  <a:cubicBezTo>
                    <a:pt x="1049" y="2738"/>
                    <a:pt x="1071" y="2726"/>
                    <a:pt x="1085" y="2728"/>
                  </a:cubicBezTo>
                  <a:cubicBezTo>
                    <a:pt x="1107" y="2729"/>
                    <a:pt x="1123" y="2733"/>
                    <a:pt x="1145" y="2725"/>
                  </a:cubicBezTo>
                  <a:cubicBezTo>
                    <a:pt x="1178" y="2708"/>
                    <a:pt x="1216" y="2672"/>
                    <a:pt x="1244" y="2647"/>
                  </a:cubicBezTo>
                  <a:cubicBezTo>
                    <a:pt x="1272" y="2619"/>
                    <a:pt x="1293" y="2611"/>
                    <a:pt x="1318" y="2650"/>
                  </a:cubicBezTo>
                  <a:cubicBezTo>
                    <a:pt x="1333" y="2677"/>
                    <a:pt x="1339" y="2703"/>
                    <a:pt x="1356" y="2728"/>
                  </a:cubicBezTo>
                  <a:cubicBezTo>
                    <a:pt x="1364" y="2741"/>
                    <a:pt x="1372" y="2751"/>
                    <a:pt x="1375" y="2766"/>
                  </a:cubicBezTo>
                  <a:cubicBezTo>
                    <a:pt x="1380" y="2790"/>
                    <a:pt x="1364" y="2860"/>
                    <a:pt x="1410" y="2832"/>
                  </a:cubicBezTo>
                  <a:cubicBezTo>
                    <a:pt x="1426" y="2822"/>
                    <a:pt x="1453" y="2802"/>
                    <a:pt x="1459" y="2782"/>
                  </a:cubicBezTo>
                  <a:cubicBezTo>
                    <a:pt x="1466" y="2766"/>
                    <a:pt x="1456" y="2744"/>
                    <a:pt x="1468" y="2728"/>
                  </a:cubicBezTo>
                  <a:cubicBezTo>
                    <a:pt x="1476" y="2718"/>
                    <a:pt x="1530" y="2697"/>
                    <a:pt x="1540" y="2703"/>
                  </a:cubicBezTo>
                  <a:cubicBezTo>
                    <a:pt x="1578" y="2725"/>
                    <a:pt x="1504" y="2822"/>
                    <a:pt x="1524" y="2850"/>
                  </a:cubicBezTo>
                  <a:cubicBezTo>
                    <a:pt x="1550" y="2889"/>
                    <a:pt x="1639" y="2753"/>
                    <a:pt x="1642" y="2728"/>
                  </a:cubicBezTo>
                  <a:cubicBezTo>
                    <a:pt x="1646" y="2708"/>
                    <a:pt x="1647" y="2662"/>
                    <a:pt x="1674" y="2698"/>
                  </a:cubicBezTo>
                  <a:cubicBezTo>
                    <a:pt x="1680" y="2708"/>
                    <a:pt x="1679" y="2746"/>
                    <a:pt x="1692" y="2749"/>
                  </a:cubicBezTo>
                  <a:cubicBezTo>
                    <a:pt x="1726" y="2757"/>
                    <a:pt x="1715" y="2695"/>
                    <a:pt x="1708" y="2682"/>
                  </a:cubicBezTo>
                  <a:cubicBezTo>
                    <a:pt x="1687" y="2647"/>
                    <a:pt x="1682" y="2608"/>
                    <a:pt x="1662" y="2571"/>
                  </a:cubicBezTo>
                  <a:cubicBezTo>
                    <a:pt x="1642" y="2533"/>
                    <a:pt x="1621" y="2524"/>
                    <a:pt x="1674" y="2505"/>
                  </a:cubicBezTo>
                  <a:cubicBezTo>
                    <a:pt x="1693" y="2497"/>
                    <a:pt x="1711" y="2492"/>
                    <a:pt x="1730" y="2479"/>
                  </a:cubicBezTo>
                  <a:cubicBezTo>
                    <a:pt x="1743" y="2469"/>
                    <a:pt x="1753" y="2454"/>
                    <a:pt x="1767" y="2446"/>
                  </a:cubicBezTo>
                  <a:cubicBezTo>
                    <a:pt x="1799" y="2425"/>
                    <a:pt x="1855" y="2428"/>
                    <a:pt x="1891" y="2436"/>
                  </a:cubicBezTo>
                  <a:cubicBezTo>
                    <a:pt x="1932" y="2443"/>
                    <a:pt x="1935" y="2482"/>
                    <a:pt x="1977" y="2492"/>
                  </a:cubicBezTo>
                  <a:cubicBezTo>
                    <a:pt x="2018" y="2499"/>
                    <a:pt x="2059" y="2492"/>
                    <a:pt x="2100" y="2500"/>
                  </a:cubicBezTo>
                  <a:cubicBezTo>
                    <a:pt x="2118" y="2505"/>
                    <a:pt x="2138" y="2514"/>
                    <a:pt x="2158" y="2507"/>
                  </a:cubicBezTo>
                  <a:cubicBezTo>
                    <a:pt x="2169" y="2504"/>
                    <a:pt x="2176" y="2489"/>
                    <a:pt x="2189" y="2491"/>
                  </a:cubicBezTo>
                  <a:cubicBezTo>
                    <a:pt x="2209" y="2492"/>
                    <a:pt x="2219" y="2522"/>
                    <a:pt x="2221" y="2538"/>
                  </a:cubicBezTo>
                  <a:cubicBezTo>
                    <a:pt x="2222" y="2558"/>
                    <a:pt x="2211" y="2568"/>
                    <a:pt x="2204" y="2586"/>
                  </a:cubicBezTo>
                  <a:cubicBezTo>
                    <a:pt x="2189" y="2634"/>
                    <a:pt x="2245" y="2626"/>
                    <a:pt x="2272" y="2647"/>
                  </a:cubicBezTo>
                  <a:cubicBezTo>
                    <a:pt x="2306" y="2672"/>
                    <a:pt x="2296" y="2708"/>
                    <a:pt x="2321" y="2736"/>
                  </a:cubicBezTo>
                  <a:cubicBezTo>
                    <a:pt x="2344" y="2761"/>
                    <a:pt x="2389" y="2739"/>
                    <a:pt x="2402" y="2772"/>
                  </a:cubicBezTo>
                  <a:cubicBezTo>
                    <a:pt x="2405" y="2784"/>
                    <a:pt x="2400" y="2797"/>
                    <a:pt x="2402" y="2810"/>
                  </a:cubicBezTo>
                  <a:cubicBezTo>
                    <a:pt x="2405" y="2820"/>
                    <a:pt x="2412" y="2830"/>
                    <a:pt x="2415" y="2840"/>
                  </a:cubicBezTo>
                  <a:cubicBezTo>
                    <a:pt x="2425" y="2863"/>
                    <a:pt x="2426" y="2879"/>
                    <a:pt x="2423" y="2904"/>
                  </a:cubicBezTo>
                  <a:cubicBezTo>
                    <a:pt x="2418" y="2949"/>
                    <a:pt x="2431" y="2986"/>
                    <a:pt x="2435" y="3029"/>
                  </a:cubicBezTo>
                  <a:cubicBezTo>
                    <a:pt x="2436" y="3079"/>
                    <a:pt x="2474" y="3108"/>
                    <a:pt x="2476" y="3158"/>
                  </a:cubicBezTo>
                  <a:cubicBezTo>
                    <a:pt x="2479" y="3204"/>
                    <a:pt x="2496" y="3235"/>
                    <a:pt x="2524" y="3273"/>
                  </a:cubicBezTo>
                  <a:cubicBezTo>
                    <a:pt x="2571" y="3337"/>
                    <a:pt x="2654" y="3379"/>
                    <a:pt x="2687" y="3454"/>
                  </a:cubicBezTo>
                  <a:cubicBezTo>
                    <a:pt x="2706" y="3499"/>
                    <a:pt x="2721" y="3547"/>
                    <a:pt x="2738" y="3591"/>
                  </a:cubicBezTo>
                  <a:cubicBezTo>
                    <a:pt x="2753" y="3627"/>
                    <a:pt x="2779" y="3655"/>
                    <a:pt x="2789" y="3693"/>
                  </a:cubicBezTo>
                  <a:cubicBezTo>
                    <a:pt x="2800" y="3734"/>
                    <a:pt x="2819" y="3772"/>
                    <a:pt x="2845" y="3805"/>
                  </a:cubicBezTo>
                  <a:cubicBezTo>
                    <a:pt x="2873" y="3840"/>
                    <a:pt x="2881" y="3868"/>
                    <a:pt x="2860" y="3909"/>
                  </a:cubicBezTo>
                  <a:cubicBezTo>
                    <a:pt x="2810" y="3995"/>
                    <a:pt x="2815" y="4084"/>
                    <a:pt x="2832" y="4178"/>
                  </a:cubicBezTo>
                  <a:cubicBezTo>
                    <a:pt x="2837" y="4207"/>
                    <a:pt x="2845" y="4232"/>
                    <a:pt x="2842" y="426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49" name="Freeform 85">
              <a:extLst>
                <a:ext uri="{FF2B5EF4-FFF2-40B4-BE49-F238E27FC236}">
                  <a16:creationId xmlns:a16="http://schemas.microsoft.com/office/drawing/2014/main" id="{C6B2F531-0481-A44E-88C6-ADF5A91B38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61325" y="4443413"/>
              <a:ext cx="395288" cy="873125"/>
            </a:xfrm>
            <a:custGeom>
              <a:avLst/>
              <a:gdLst>
                <a:gd name="T0" fmla="*/ 974 w 1100"/>
                <a:gd name="T1" fmla="*/ 1606 h 2424"/>
                <a:gd name="T2" fmla="*/ 939 w 1100"/>
                <a:gd name="T3" fmla="*/ 1694 h 2424"/>
                <a:gd name="T4" fmla="*/ 886 w 1100"/>
                <a:gd name="T5" fmla="*/ 1796 h 2424"/>
                <a:gd name="T6" fmla="*/ 857 w 1100"/>
                <a:gd name="T7" fmla="*/ 1886 h 2424"/>
                <a:gd name="T8" fmla="*/ 726 w 1100"/>
                <a:gd name="T9" fmla="*/ 2025 h 2424"/>
                <a:gd name="T10" fmla="*/ 652 w 1100"/>
                <a:gd name="T11" fmla="*/ 2040 h 2424"/>
                <a:gd name="T12" fmla="*/ 540 w 1100"/>
                <a:gd name="T13" fmla="*/ 2061 h 2424"/>
                <a:gd name="T14" fmla="*/ 423 w 1100"/>
                <a:gd name="T15" fmla="*/ 2012 h 2424"/>
                <a:gd name="T16" fmla="*/ 352 w 1100"/>
                <a:gd name="T17" fmla="*/ 2134 h 2424"/>
                <a:gd name="T18" fmla="*/ 334 w 1100"/>
                <a:gd name="T19" fmla="*/ 2242 h 2424"/>
                <a:gd name="T20" fmla="*/ 247 w 1100"/>
                <a:gd name="T21" fmla="*/ 2343 h 2424"/>
                <a:gd name="T22" fmla="*/ 257 w 1100"/>
                <a:gd name="T23" fmla="*/ 2423 h 2424"/>
                <a:gd name="T24" fmla="*/ 209 w 1100"/>
                <a:gd name="T25" fmla="*/ 2389 h 2424"/>
                <a:gd name="T26" fmla="*/ 209 w 1100"/>
                <a:gd name="T27" fmla="*/ 2308 h 2424"/>
                <a:gd name="T28" fmla="*/ 285 w 1100"/>
                <a:gd name="T29" fmla="*/ 2180 h 2424"/>
                <a:gd name="T30" fmla="*/ 203 w 1100"/>
                <a:gd name="T31" fmla="*/ 1987 h 2424"/>
                <a:gd name="T32" fmla="*/ 107 w 1100"/>
                <a:gd name="T33" fmla="*/ 1807 h 2424"/>
                <a:gd name="T34" fmla="*/ 28 w 1100"/>
                <a:gd name="T35" fmla="*/ 1713 h 2424"/>
                <a:gd name="T36" fmla="*/ 38 w 1100"/>
                <a:gd name="T37" fmla="*/ 1639 h 2424"/>
                <a:gd name="T38" fmla="*/ 81 w 1100"/>
                <a:gd name="T39" fmla="*/ 1552 h 2424"/>
                <a:gd name="T40" fmla="*/ 176 w 1100"/>
                <a:gd name="T41" fmla="*/ 1484 h 2424"/>
                <a:gd name="T42" fmla="*/ 209 w 1100"/>
                <a:gd name="T43" fmla="*/ 1483 h 2424"/>
                <a:gd name="T44" fmla="*/ 346 w 1100"/>
                <a:gd name="T45" fmla="*/ 1351 h 2424"/>
                <a:gd name="T46" fmla="*/ 343 w 1100"/>
                <a:gd name="T47" fmla="*/ 1269 h 2424"/>
                <a:gd name="T48" fmla="*/ 339 w 1100"/>
                <a:gd name="T49" fmla="*/ 1122 h 2424"/>
                <a:gd name="T50" fmla="*/ 308 w 1100"/>
                <a:gd name="T51" fmla="*/ 931 h 2424"/>
                <a:gd name="T52" fmla="*/ 331 w 1100"/>
                <a:gd name="T53" fmla="*/ 911 h 2424"/>
                <a:gd name="T54" fmla="*/ 341 w 1100"/>
                <a:gd name="T55" fmla="*/ 801 h 2424"/>
                <a:gd name="T56" fmla="*/ 427 w 1100"/>
                <a:gd name="T57" fmla="*/ 676 h 2424"/>
                <a:gd name="T58" fmla="*/ 488 w 1100"/>
                <a:gd name="T59" fmla="*/ 690 h 2424"/>
                <a:gd name="T60" fmla="*/ 545 w 1100"/>
                <a:gd name="T61" fmla="*/ 679 h 2424"/>
                <a:gd name="T62" fmla="*/ 605 w 1100"/>
                <a:gd name="T63" fmla="*/ 685 h 2424"/>
                <a:gd name="T64" fmla="*/ 761 w 1100"/>
                <a:gd name="T65" fmla="*/ 534 h 2424"/>
                <a:gd name="T66" fmla="*/ 756 w 1100"/>
                <a:gd name="T67" fmla="*/ 466 h 2424"/>
                <a:gd name="T68" fmla="*/ 741 w 1100"/>
                <a:gd name="T69" fmla="*/ 430 h 2424"/>
                <a:gd name="T70" fmla="*/ 809 w 1100"/>
                <a:gd name="T71" fmla="*/ 410 h 2424"/>
                <a:gd name="T72" fmla="*/ 870 w 1100"/>
                <a:gd name="T73" fmla="*/ 216 h 2424"/>
                <a:gd name="T74" fmla="*/ 779 w 1100"/>
                <a:gd name="T75" fmla="*/ 219 h 2424"/>
                <a:gd name="T76" fmla="*/ 723 w 1100"/>
                <a:gd name="T77" fmla="*/ 190 h 2424"/>
                <a:gd name="T78" fmla="*/ 661 w 1100"/>
                <a:gd name="T79" fmla="*/ 163 h 2424"/>
                <a:gd name="T80" fmla="*/ 728 w 1100"/>
                <a:gd name="T81" fmla="*/ 91 h 2424"/>
                <a:gd name="T82" fmla="*/ 773 w 1100"/>
                <a:gd name="T83" fmla="*/ 13 h 2424"/>
                <a:gd name="T84" fmla="*/ 848 w 1100"/>
                <a:gd name="T85" fmla="*/ 33 h 2424"/>
                <a:gd name="T86" fmla="*/ 883 w 1100"/>
                <a:gd name="T87" fmla="*/ 64 h 2424"/>
                <a:gd name="T88" fmla="*/ 924 w 1100"/>
                <a:gd name="T89" fmla="*/ 81 h 2424"/>
                <a:gd name="T90" fmla="*/ 952 w 1100"/>
                <a:gd name="T91" fmla="*/ 190 h 2424"/>
                <a:gd name="T92" fmla="*/ 1043 w 1100"/>
                <a:gd name="T93" fmla="*/ 236 h 2424"/>
                <a:gd name="T94" fmla="*/ 1044 w 1100"/>
                <a:gd name="T95" fmla="*/ 321 h 2424"/>
                <a:gd name="T96" fmla="*/ 1081 w 1100"/>
                <a:gd name="T97" fmla="*/ 499 h 2424"/>
                <a:gd name="T98" fmla="*/ 1081 w 1100"/>
                <a:gd name="T99" fmla="*/ 702 h 2424"/>
                <a:gd name="T100" fmla="*/ 1031 w 1100"/>
                <a:gd name="T101" fmla="*/ 982 h 2424"/>
                <a:gd name="T102" fmla="*/ 1018 w 1100"/>
                <a:gd name="T103" fmla="*/ 1170 h 2424"/>
                <a:gd name="T104" fmla="*/ 992 w 1100"/>
                <a:gd name="T105" fmla="*/ 1262 h 2424"/>
                <a:gd name="T106" fmla="*/ 990 w 1100"/>
                <a:gd name="T107" fmla="*/ 1369 h 2424"/>
                <a:gd name="T108" fmla="*/ 1003 w 1100"/>
                <a:gd name="T109" fmla="*/ 1484 h 2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0" h="2424">
                  <a:moveTo>
                    <a:pt x="978" y="1531"/>
                  </a:moveTo>
                  <a:cubicBezTo>
                    <a:pt x="972" y="1555"/>
                    <a:pt x="982" y="1582"/>
                    <a:pt x="974" y="1606"/>
                  </a:cubicBezTo>
                  <a:cubicBezTo>
                    <a:pt x="969" y="1623"/>
                    <a:pt x="955" y="1633"/>
                    <a:pt x="949" y="1646"/>
                  </a:cubicBezTo>
                  <a:cubicBezTo>
                    <a:pt x="941" y="1662"/>
                    <a:pt x="944" y="1679"/>
                    <a:pt x="939" y="1694"/>
                  </a:cubicBezTo>
                  <a:cubicBezTo>
                    <a:pt x="932" y="1710"/>
                    <a:pt x="918" y="1718"/>
                    <a:pt x="909" y="1732"/>
                  </a:cubicBezTo>
                  <a:cubicBezTo>
                    <a:pt x="899" y="1753"/>
                    <a:pt x="898" y="1776"/>
                    <a:pt x="886" y="1796"/>
                  </a:cubicBezTo>
                  <a:cubicBezTo>
                    <a:pt x="878" y="1811"/>
                    <a:pt x="868" y="1822"/>
                    <a:pt x="865" y="1839"/>
                  </a:cubicBezTo>
                  <a:cubicBezTo>
                    <a:pt x="860" y="1853"/>
                    <a:pt x="863" y="1873"/>
                    <a:pt x="857" y="1886"/>
                  </a:cubicBezTo>
                  <a:cubicBezTo>
                    <a:pt x="848" y="1900"/>
                    <a:pt x="834" y="1906"/>
                    <a:pt x="822" y="1916"/>
                  </a:cubicBezTo>
                  <a:cubicBezTo>
                    <a:pt x="784" y="1947"/>
                    <a:pt x="758" y="1987"/>
                    <a:pt x="726" y="2025"/>
                  </a:cubicBezTo>
                  <a:cubicBezTo>
                    <a:pt x="700" y="2056"/>
                    <a:pt x="713" y="2020"/>
                    <a:pt x="685" y="2020"/>
                  </a:cubicBezTo>
                  <a:cubicBezTo>
                    <a:pt x="672" y="2018"/>
                    <a:pt x="664" y="2036"/>
                    <a:pt x="652" y="2040"/>
                  </a:cubicBezTo>
                  <a:cubicBezTo>
                    <a:pt x="633" y="2045"/>
                    <a:pt x="631" y="2033"/>
                    <a:pt x="614" y="2031"/>
                  </a:cubicBezTo>
                  <a:cubicBezTo>
                    <a:pt x="583" y="2026"/>
                    <a:pt x="572" y="2054"/>
                    <a:pt x="540" y="2061"/>
                  </a:cubicBezTo>
                  <a:cubicBezTo>
                    <a:pt x="478" y="2073"/>
                    <a:pt x="521" y="1942"/>
                    <a:pt x="458" y="1992"/>
                  </a:cubicBezTo>
                  <a:cubicBezTo>
                    <a:pt x="443" y="2003"/>
                    <a:pt x="443" y="2007"/>
                    <a:pt x="423" y="2012"/>
                  </a:cubicBezTo>
                  <a:cubicBezTo>
                    <a:pt x="405" y="2017"/>
                    <a:pt x="382" y="2015"/>
                    <a:pt x="369" y="2030"/>
                  </a:cubicBezTo>
                  <a:cubicBezTo>
                    <a:pt x="346" y="2053"/>
                    <a:pt x="367" y="2101"/>
                    <a:pt x="352" y="2134"/>
                  </a:cubicBezTo>
                  <a:cubicBezTo>
                    <a:pt x="343" y="2157"/>
                    <a:pt x="333" y="2168"/>
                    <a:pt x="334" y="2195"/>
                  </a:cubicBezTo>
                  <a:cubicBezTo>
                    <a:pt x="334" y="2211"/>
                    <a:pt x="341" y="2227"/>
                    <a:pt x="334" y="2242"/>
                  </a:cubicBezTo>
                  <a:cubicBezTo>
                    <a:pt x="323" y="2272"/>
                    <a:pt x="288" y="2275"/>
                    <a:pt x="267" y="2293"/>
                  </a:cubicBezTo>
                  <a:cubicBezTo>
                    <a:pt x="252" y="2307"/>
                    <a:pt x="242" y="2325"/>
                    <a:pt x="247" y="2343"/>
                  </a:cubicBezTo>
                  <a:cubicBezTo>
                    <a:pt x="252" y="2361"/>
                    <a:pt x="272" y="2367"/>
                    <a:pt x="272" y="2389"/>
                  </a:cubicBezTo>
                  <a:cubicBezTo>
                    <a:pt x="272" y="2404"/>
                    <a:pt x="265" y="2414"/>
                    <a:pt x="257" y="2423"/>
                  </a:cubicBezTo>
                  <a:cubicBezTo>
                    <a:pt x="255" y="2423"/>
                    <a:pt x="254" y="2422"/>
                    <a:pt x="254" y="2422"/>
                  </a:cubicBezTo>
                  <a:cubicBezTo>
                    <a:pt x="239" y="2410"/>
                    <a:pt x="224" y="2399"/>
                    <a:pt x="209" y="2389"/>
                  </a:cubicBezTo>
                  <a:cubicBezTo>
                    <a:pt x="199" y="2384"/>
                    <a:pt x="191" y="2381"/>
                    <a:pt x="181" y="2376"/>
                  </a:cubicBezTo>
                  <a:cubicBezTo>
                    <a:pt x="188" y="2351"/>
                    <a:pt x="198" y="2330"/>
                    <a:pt x="209" y="2308"/>
                  </a:cubicBezTo>
                  <a:cubicBezTo>
                    <a:pt x="217" y="2297"/>
                    <a:pt x="227" y="2285"/>
                    <a:pt x="239" y="2274"/>
                  </a:cubicBezTo>
                  <a:cubicBezTo>
                    <a:pt x="262" y="2249"/>
                    <a:pt x="287" y="2223"/>
                    <a:pt x="285" y="2180"/>
                  </a:cubicBezTo>
                  <a:cubicBezTo>
                    <a:pt x="282" y="2127"/>
                    <a:pt x="254" y="2076"/>
                    <a:pt x="227" y="2031"/>
                  </a:cubicBezTo>
                  <a:cubicBezTo>
                    <a:pt x="219" y="2017"/>
                    <a:pt x="209" y="2000"/>
                    <a:pt x="203" y="1987"/>
                  </a:cubicBezTo>
                  <a:cubicBezTo>
                    <a:pt x="193" y="1967"/>
                    <a:pt x="184" y="1947"/>
                    <a:pt x="178" y="1929"/>
                  </a:cubicBezTo>
                  <a:cubicBezTo>
                    <a:pt x="160" y="1886"/>
                    <a:pt x="143" y="1845"/>
                    <a:pt x="107" y="1807"/>
                  </a:cubicBezTo>
                  <a:cubicBezTo>
                    <a:pt x="86" y="1784"/>
                    <a:pt x="67" y="1761"/>
                    <a:pt x="48" y="1737"/>
                  </a:cubicBezTo>
                  <a:lnTo>
                    <a:pt x="28" y="1713"/>
                  </a:lnTo>
                  <a:cubicBezTo>
                    <a:pt x="7" y="1689"/>
                    <a:pt x="0" y="1679"/>
                    <a:pt x="13" y="1661"/>
                  </a:cubicBezTo>
                  <a:cubicBezTo>
                    <a:pt x="18" y="1653"/>
                    <a:pt x="28" y="1646"/>
                    <a:pt x="38" y="1639"/>
                  </a:cubicBezTo>
                  <a:cubicBezTo>
                    <a:pt x="51" y="1631"/>
                    <a:pt x="64" y="1623"/>
                    <a:pt x="72" y="1608"/>
                  </a:cubicBezTo>
                  <a:cubicBezTo>
                    <a:pt x="84" y="1588"/>
                    <a:pt x="82" y="1568"/>
                    <a:pt x="81" y="1552"/>
                  </a:cubicBezTo>
                  <a:cubicBezTo>
                    <a:pt x="79" y="1537"/>
                    <a:pt x="77" y="1526"/>
                    <a:pt x="82" y="1514"/>
                  </a:cubicBezTo>
                  <a:cubicBezTo>
                    <a:pt x="95" y="1486"/>
                    <a:pt x="138" y="1484"/>
                    <a:pt x="176" y="1484"/>
                  </a:cubicBezTo>
                  <a:cubicBezTo>
                    <a:pt x="186" y="1484"/>
                    <a:pt x="194" y="1484"/>
                    <a:pt x="203" y="1483"/>
                  </a:cubicBezTo>
                  <a:lnTo>
                    <a:pt x="209" y="1483"/>
                  </a:lnTo>
                  <a:cubicBezTo>
                    <a:pt x="249" y="1480"/>
                    <a:pt x="298" y="1476"/>
                    <a:pt x="331" y="1452"/>
                  </a:cubicBezTo>
                  <a:cubicBezTo>
                    <a:pt x="371" y="1422"/>
                    <a:pt x="357" y="1382"/>
                    <a:pt x="346" y="1351"/>
                  </a:cubicBezTo>
                  <a:cubicBezTo>
                    <a:pt x="339" y="1335"/>
                    <a:pt x="334" y="1318"/>
                    <a:pt x="336" y="1303"/>
                  </a:cubicBezTo>
                  <a:cubicBezTo>
                    <a:pt x="336" y="1290"/>
                    <a:pt x="339" y="1280"/>
                    <a:pt x="343" y="1269"/>
                  </a:cubicBezTo>
                  <a:cubicBezTo>
                    <a:pt x="348" y="1247"/>
                    <a:pt x="354" y="1226"/>
                    <a:pt x="344" y="1195"/>
                  </a:cubicBezTo>
                  <a:cubicBezTo>
                    <a:pt x="334" y="1167"/>
                    <a:pt x="336" y="1152"/>
                    <a:pt x="339" y="1122"/>
                  </a:cubicBezTo>
                  <a:cubicBezTo>
                    <a:pt x="348" y="1066"/>
                    <a:pt x="334" y="1020"/>
                    <a:pt x="320" y="972"/>
                  </a:cubicBezTo>
                  <a:cubicBezTo>
                    <a:pt x="316" y="959"/>
                    <a:pt x="311" y="946"/>
                    <a:pt x="308" y="931"/>
                  </a:cubicBezTo>
                  <a:lnTo>
                    <a:pt x="306" y="928"/>
                  </a:lnTo>
                  <a:cubicBezTo>
                    <a:pt x="315" y="923"/>
                    <a:pt x="323" y="916"/>
                    <a:pt x="331" y="911"/>
                  </a:cubicBezTo>
                  <a:cubicBezTo>
                    <a:pt x="367" y="878"/>
                    <a:pt x="357" y="849"/>
                    <a:pt x="348" y="821"/>
                  </a:cubicBezTo>
                  <a:cubicBezTo>
                    <a:pt x="346" y="814"/>
                    <a:pt x="343" y="807"/>
                    <a:pt x="341" y="801"/>
                  </a:cubicBezTo>
                  <a:cubicBezTo>
                    <a:pt x="331" y="768"/>
                    <a:pt x="344" y="738"/>
                    <a:pt x="382" y="704"/>
                  </a:cubicBezTo>
                  <a:cubicBezTo>
                    <a:pt x="397" y="690"/>
                    <a:pt x="410" y="677"/>
                    <a:pt x="427" y="676"/>
                  </a:cubicBezTo>
                  <a:cubicBezTo>
                    <a:pt x="438" y="672"/>
                    <a:pt x="448" y="676"/>
                    <a:pt x="460" y="681"/>
                  </a:cubicBezTo>
                  <a:cubicBezTo>
                    <a:pt x="468" y="684"/>
                    <a:pt x="478" y="689"/>
                    <a:pt x="488" y="690"/>
                  </a:cubicBezTo>
                  <a:cubicBezTo>
                    <a:pt x="504" y="694"/>
                    <a:pt x="516" y="687"/>
                    <a:pt x="527" y="684"/>
                  </a:cubicBezTo>
                  <a:cubicBezTo>
                    <a:pt x="534" y="681"/>
                    <a:pt x="539" y="679"/>
                    <a:pt x="545" y="679"/>
                  </a:cubicBezTo>
                  <a:cubicBezTo>
                    <a:pt x="552" y="677"/>
                    <a:pt x="560" y="679"/>
                    <a:pt x="570" y="682"/>
                  </a:cubicBezTo>
                  <a:cubicBezTo>
                    <a:pt x="580" y="684"/>
                    <a:pt x="591" y="687"/>
                    <a:pt x="605" y="685"/>
                  </a:cubicBezTo>
                  <a:cubicBezTo>
                    <a:pt x="651" y="679"/>
                    <a:pt x="710" y="641"/>
                    <a:pt x="722" y="633"/>
                  </a:cubicBezTo>
                  <a:cubicBezTo>
                    <a:pt x="759" y="608"/>
                    <a:pt x="759" y="569"/>
                    <a:pt x="761" y="534"/>
                  </a:cubicBezTo>
                  <a:lnTo>
                    <a:pt x="761" y="516"/>
                  </a:lnTo>
                  <a:cubicBezTo>
                    <a:pt x="761" y="499"/>
                    <a:pt x="761" y="483"/>
                    <a:pt x="756" y="466"/>
                  </a:cubicBezTo>
                  <a:cubicBezTo>
                    <a:pt x="754" y="460"/>
                    <a:pt x="751" y="455"/>
                    <a:pt x="748" y="448"/>
                  </a:cubicBezTo>
                  <a:cubicBezTo>
                    <a:pt x="743" y="440"/>
                    <a:pt x="740" y="435"/>
                    <a:pt x="741" y="430"/>
                  </a:cubicBezTo>
                  <a:cubicBezTo>
                    <a:pt x="745" y="420"/>
                    <a:pt x="753" y="419"/>
                    <a:pt x="773" y="419"/>
                  </a:cubicBezTo>
                  <a:cubicBezTo>
                    <a:pt x="784" y="417"/>
                    <a:pt x="797" y="417"/>
                    <a:pt x="809" y="410"/>
                  </a:cubicBezTo>
                  <a:cubicBezTo>
                    <a:pt x="838" y="392"/>
                    <a:pt x="871" y="316"/>
                    <a:pt x="871" y="316"/>
                  </a:cubicBezTo>
                  <a:cubicBezTo>
                    <a:pt x="883" y="287"/>
                    <a:pt x="888" y="242"/>
                    <a:pt x="870" y="216"/>
                  </a:cubicBezTo>
                  <a:cubicBezTo>
                    <a:pt x="845" y="178"/>
                    <a:pt x="814" y="198"/>
                    <a:pt x="796" y="209"/>
                  </a:cubicBezTo>
                  <a:cubicBezTo>
                    <a:pt x="789" y="213"/>
                    <a:pt x="784" y="216"/>
                    <a:pt x="779" y="219"/>
                  </a:cubicBezTo>
                  <a:cubicBezTo>
                    <a:pt x="758" y="229"/>
                    <a:pt x="756" y="226"/>
                    <a:pt x="746" y="213"/>
                  </a:cubicBezTo>
                  <a:cubicBezTo>
                    <a:pt x="741" y="206"/>
                    <a:pt x="735" y="198"/>
                    <a:pt x="723" y="190"/>
                  </a:cubicBezTo>
                  <a:cubicBezTo>
                    <a:pt x="715" y="183"/>
                    <a:pt x="702" y="180"/>
                    <a:pt x="690" y="176"/>
                  </a:cubicBezTo>
                  <a:cubicBezTo>
                    <a:pt x="679" y="175"/>
                    <a:pt x="665" y="171"/>
                    <a:pt x="661" y="163"/>
                  </a:cubicBezTo>
                  <a:cubicBezTo>
                    <a:pt x="656" y="150"/>
                    <a:pt x="674" y="135"/>
                    <a:pt x="697" y="119"/>
                  </a:cubicBezTo>
                  <a:cubicBezTo>
                    <a:pt x="710" y="109"/>
                    <a:pt x="722" y="101"/>
                    <a:pt x="728" y="91"/>
                  </a:cubicBezTo>
                  <a:cubicBezTo>
                    <a:pt x="736" y="79"/>
                    <a:pt x="741" y="68"/>
                    <a:pt x="748" y="56"/>
                  </a:cubicBezTo>
                  <a:cubicBezTo>
                    <a:pt x="754" y="40"/>
                    <a:pt x="763" y="25"/>
                    <a:pt x="773" y="13"/>
                  </a:cubicBezTo>
                  <a:cubicBezTo>
                    <a:pt x="779" y="5"/>
                    <a:pt x="787" y="0"/>
                    <a:pt x="796" y="0"/>
                  </a:cubicBezTo>
                  <a:cubicBezTo>
                    <a:pt x="809" y="0"/>
                    <a:pt x="827" y="12"/>
                    <a:pt x="848" y="33"/>
                  </a:cubicBezTo>
                  <a:cubicBezTo>
                    <a:pt x="850" y="35"/>
                    <a:pt x="853" y="38"/>
                    <a:pt x="855" y="40"/>
                  </a:cubicBezTo>
                  <a:cubicBezTo>
                    <a:pt x="863" y="48"/>
                    <a:pt x="871" y="56"/>
                    <a:pt x="883" y="64"/>
                  </a:cubicBezTo>
                  <a:cubicBezTo>
                    <a:pt x="890" y="68"/>
                    <a:pt x="896" y="71"/>
                    <a:pt x="904" y="73"/>
                  </a:cubicBezTo>
                  <a:cubicBezTo>
                    <a:pt x="913" y="76"/>
                    <a:pt x="919" y="78"/>
                    <a:pt x="924" y="81"/>
                  </a:cubicBezTo>
                  <a:cubicBezTo>
                    <a:pt x="934" y="91"/>
                    <a:pt x="934" y="101"/>
                    <a:pt x="932" y="120"/>
                  </a:cubicBezTo>
                  <a:cubicBezTo>
                    <a:pt x="931" y="142"/>
                    <a:pt x="927" y="167"/>
                    <a:pt x="952" y="190"/>
                  </a:cubicBezTo>
                  <a:cubicBezTo>
                    <a:pt x="980" y="213"/>
                    <a:pt x="1015" y="216"/>
                    <a:pt x="1046" y="213"/>
                  </a:cubicBezTo>
                  <a:cubicBezTo>
                    <a:pt x="1044" y="221"/>
                    <a:pt x="1043" y="227"/>
                    <a:pt x="1043" y="236"/>
                  </a:cubicBezTo>
                  <a:cubicBezTo>
                    <a:pt x="1044" y="254"/>
                    <a:pt x="1063" y="265"/>
                    <a:pt x="1063" y="282"/>
                  </a:cubicBezTo>
                  <a:cubicBezTo>
                    <a:pt x="1064" y="298"/>
                    <a:pt x="1048" y="308"/>
                    <a:pt x="1044" y="321"/>
                  </a:cubicBezTo>
                  <a:cubicBezTo>
                    <a:pt x="1035" y="363"/>
                    <a:pt x="1086" y="399"/>
                    <a:pt x="1081" y="445"/>
                  </a:cubicBezTo>
                  <a:cubicBezTo>
                    <a:pt x="1077" y="465"/>
                    <a:pt x="1074" y="478"/>
                    <a:pt x="1081" y="499"/>
                  </a:cubicBezTo>
                  <a:cubicBezTo>
                    <a:pt x="1087" y="517"/>
                    <a:pt x="1095" y="531"/>
                    <a:pt x="1097" y="550"/>
                  </a:cubicBezTo>
                  <a:cubicBezTo>
                    <a:pt x="1099" y="600"/>
                    <a:pt x="1089" y="654"/>
                    <a:pt x="1081" y="702"/>
                  </a:cubicBezTo>
                  <a:cubicBezTo>
                    <a:pt x="1072" y="751"/>
                    <a:pt x="1071" y="798"/>
                    <a:pt x="1066" y="847"/>
                  </a:cubicBezTo>
                  <a:cubicBezTo>
                    <a:pt x="1063" y="893"/>
                    <a:pt x="1035" y="934"/>
                    <a:pt x="1031" y="982"/>
                  </a:cubicBezTo>
                  <a:cubicBezTo>
                    <a:pt x="1026" y="1023"/>
                    <a:pt x="1036" y="1073"/>
                    <a:pt x="1023" y="1111"/>
                  </a:cubicBezTo>
                  <a:cubicBezTo>
                    <a:pt x="1015" y="1135"/>
                    <a:pt x="1011" y="1143"/>
                    <a:pt x="1018" y="1170"/>
                  </a:cubicBezTo>
                  <a:cubicBezTo>
                    <a:pt x="1023" y="1188"/>
                    <a:pt x="1031" y="1203"/>
                    <a:pt x="1023" y="1223"/>
                  </a:cubicBezTo>
                  <a:cubicBezTo>
                    <a:pt x="1015" y="1239"/>
                    <a:pt x="995" y="1244"/>
                    <a:pt x="992" y="1262"/>
                  </a:cubicBezTo>
                  <a:cubicBezTo>
                    <a:pt x="988" y="1275"/>
                    <a:pt x="997" y="1288"/>
                    <a:pt x="997" y="1302"/>
                  </a:cubicBezTo>
                  <a:cubicBezTo>
                    <a:pt x="993" y="1328"/>
                    <a:pt x="987" y="1341"/>
                    <a:pt x="990" y="1369"/>
                  </a:cubicBezTo>
                  <a:cubicBezTo>
                    <a:pt x="993" y="1389"/>
                    <a:pt x="995" y="1409"/>
                    <a:pt x="1000" y="1428"/>
                  </a:cubicBezTo>
                  <a:cubicBezTo>
                    <a:pt x="1003" y="1447"/>
                    <a:pt x="1010" y="1463"/>
                    <a:pt x="1003" y="1484"/>
                  </a:cubicBezTo>
                  <a:cubicBezTo>
                    <a:pt x="998" y="1501"/>
                    <a:pt x="983" y="1512"/>
                    <a:pt x="978" y="153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50" name="Freeform 86">
              <a:extLst>
                <a:ext uri="{FF2B5EF4-FFF2-40B4-BE49-F238E27FC236}">
                  <a16:creationId xmlns:a16="http://schemas.microsoft.com/office/drawing/2014/main" id="{D4A6119D-C724-7D41-925D-8CDC1F77A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7000" y="938213"/>
              <a:ext cx="1079500" cy="1285875"/>
            </a:xfrm>
            <a:custGeom>
              <a:avLst/>
              <a:gdLst>
                <a:gd name="T0" fmla="*/ 117 w 2999"/>
                <a:gd name="T1" fmla="*/ 2300 h 3570"/>
                <a:gd name="T2" fmla="*/ 387 w 2999"/>
                <a:gd name="T3" fmla="*/ 1959 h 3570"/>
                <a:gd name="T4" fmla="*/ 683 w 2999"/>
                <a:gd name="T5" fmla="*/ 1827 h 3570"/>
                <a:gd name="T6" fmla="*/ 415 w 2999"/>
                <a:gd name="T7" fmla="*/ 1699 h 3570"/>
                <a:gd name="T8" fmla="*/ 568 w 2999"/>
                <a:gd name="T9" fmla="*/ 1448 h 3570"/>
                <a:gd name="T10" fmla="*/ 651 w 2999"/>
                <a:gd name="T11" fmla="*/ 1274 h 3570"/>
                <a:gd name="T12" fmla="*/ 931 w 2999"/>
                <a:gd name="T13" fmla="*/ 989 h 3570"/>
                <a:gd name="T14" fmla="*/ 1293 w 2999"/>
                <a:gd name="T15" fmla="*/ 778 h 3570"/>
                <a:gd name="T16" fmla="*/ 1646 w 2999"/>
                <a:gd name="T17" fmla="*/ 567 h 3570"/>
                <a:gd name="T18" fmla="*/ 1990 w 2999"/>
                <a:gd name="T19" fmla="*/ 527 h 3570"/>
                <a:gd name="T20" fmla="*/ 2173 w 2999"/>
                <a:gd name="T21" fmla="*/ 508 h 3570"/>
                <a:gd name="T22" fmla="*/ 2005 w 2999"/>
                <a:gd name="T23" fmla="*/ 348 h 3570"/>
                <a:gd name="T24" fmla="*/ 2247 w 2999"/>
                <a:gd name="T25" fmla="*/ 91 h 3570"/>
                <a:gd name="T26" fmla="*/ 2377 w 2999"/>
                <a:gd name="T27" fmla="*/ 4 h 3570"/>
                <a:gd name="T28" fmla="*/ 2499 w 2999"/>
                <a:gd name="T29" fmla="*/ 254 h 3570"/>
                <a:gd name="T30" fmla="*/ 2576 w 2999"/>
                <a:gd name="T31" fmla="*/ 384 h 3570"/>
                <a:gd name="T32" fmla="*/ 2814 w 2999"/>
                <a:gd name="T33" fmla="*/ 575 h 3570"/>
                <a:gd name="T34" fmla="*/ 2576 w 2999"/>
                <a:gd name="T35" fmla="*/ 753 h 3570"/>
                <a:gd name="T36" fmla="*/ 2257 w 2999"/>
                <a:gd name="T37" fmla="*/ 1028 h 3570"/>
                <a:gd name="T38" fmla="*/ 2015 w 2999"/>
                <a:gd name="T39" fmla="*/ 1045 h 3570"/>
                <a:gd name="T40" fmla="*/ 1977 w 2999"/>
                <a:gd name="T41" fmla="*/ 1168 h 3570"/>
                <a:gd name="T42" fmla="*/ 2193 w 2999"/>
                <a:gd name="T43" fmla="*/ 1269 h 3570"/>
                <a:gd name="T44" fmla="*/ 2305 w 2999"/>
                <a:gd name="T45" fmla="*/ 1481 h 3570"/>
                <a:gd name="T46" fmla="*/ 2095 w 2999"/>
                <a:gd name="T47" fmla="*/ 1738 h 3570"/>
                <a:gd name="T48" fmla="*/ 2120 w 2999"/>
                <a:gd name="T49" fmla="*/ 1808 h 3570"/>
                <a:gd name="T50" fmla="*/ 2252 w 2999"/>
                <a:gd name="T51" fmla="*/ 1738 h 3570"/>
                <a:gd name="T52" fmla="*/ 2560 w 2999"/>
                <a:gd name="T53" fmla="*/ 1656 h 3570"/>
                <a:gd name="T54" fmla="*/ 2805 w 2999"/>
                <a:gd name="T55" fmla="*/ 1666 h 3570"/>
                <a:gd name="T56" fmla="*/ 2988 w 2999"/>
                <a:gd name="T57" fmla="*/ 1801 h 3570"/>
                <a:gd name="T58" fmla="*/ 2748 w 2999"/>
                <a:gd name="T59" fmla="*/ 1984 h 3570"/>
                <a:gd name="T60" fmla="*/ 2835 w 2999"/>
                <a:gd name="T61" fmla="*/ 2399 h 3570"/>
                <a:gd name="T62" fmla="*/ 2776 w 2999"/>
                <a:gd name="T63" fmla="*/ 2483 h 3570"/>
                <a:gd name="T64" fmla="*/ 2598 w 2999"/>
                <a:gd name="T65" fmla="*/ 2575 h 3570"/>
                <a:gd name="T66" fmla="*/ 2405 w 2999"/>
                <a:gd name="T67" fmla="*/ 2944 h 3570"/>
                <a:gd name="T68" fmla="*/ 2178 w 2999"/>
                <a:gd name="T69" fmla="*/ 2994 h 3570"/>
                <a:gd name="T70" fmla="*/ 2071 w 2999"/>
                <a:gd name="T71" fmla="*/ 2883 h 3570"/>
                <a:gd name="T72" fmla="*/ 1866 w 2999"/>
                <a:gd name="T73" fmla="*/ 2826 h 3570"/>
                <a:gd name="T74" fmla="*/ 1677 w 2999"/>
                <a:gd name="T75" fmla="*/ 2908 h 3570"/>
                <a:gd name="T76" fmla="*/ 1555 w 2999"/>
                <a:gd name="T77" fmla="*/ 3015 h 3570"/>
                <a:gd name="T78" fmla="*/ 1397 w 2999"/>
                <a:gd name="T79" fmla="*/ 3153 h 3570"/>
                <a:gd name="T80" fmla="*/ 1305 w 2999"/>
                <a:gd name="T81" fmla="*/ 3234 h 3570"/>
                <a:gd name="T82" fmla="*/ 1173 w 2999"/>
                <a:gd name="T83" fmla="*/ 3452 h 3570"/>
                <a:gd name="T84" fmla="*/ 970 w 2999"/>
                <a:gd name="T85" fmla="*/ 3521 h 3570"/>
                <a:gd name="T86" fmla="*/ 682 w 2999"/>
                <a:gd name="T87" fmla="*/ 3550 h 3570"/>
                <a:gd name="T88" fmla="*/ 515 w 2999"/>
                <a:gd name="T89" fmla="*/ 3481 h 3570"/>
                <a:gd name="T90" fmla="*/ 405 w 2999"/>
                <a:gd name="T91" fmla="*/ 3348 h 3570"/>
                <a:gd name="T92" fmla="*/ 178 w 2999"/>
                <a:gd name="T93" fmla="*/ 3270 h 3570"/>
                <a:gd name="T94" fmla="*/ 109 w 2999"/>
                <a:gd name="T95" fmla="*/ 3168 h 3570"/>
                <a:gd name="T96" fmla="*/ 189 w 2999"/>
                <a:gd name="T97" fmla="*/ 3012 h 3570"/>
                <a:gd name="T98" fmla="*/ 341 w 2999"/>
                <a:gd name="T99" fmla="*/ 2751 h 3570"/>
                <a:gd name="T100" fmla="*/ 188 w 2999"/>
                <a:gd name="T101" fmla="*/ 2602 h 3570"/>
                <a:gd name="T102" fmla="*/ 26 w 2999"/>
                <a:gd name="T103" fmla="*/ 2513 h 3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99" h="3570">
                  <a:moveTo>
                    <a:pt x="26" y="2513"/>
                  </a:moveTo>
                  <a:cubicBezTo>
                    <a:pt x="10" y="2491"/>
                    <a:pt x="3" y="2453"/>
                    <a:pt x="0" y="2425"/>
                  </a:cubicBezTo>
                  <a:cubicBezTo>
                    <a:pt x="11" y="2401"/>
                    <a:pt x="29" y="2384"/>
                    <a:pt x="44" y="2363"/>
                  </a:cubicBezTo>
                  <a:cubicBezTo>
                    <a:pt x="56" y="2343"/>
                    <a:pt x="49" y="2315"/>
                    <a:pt x="72" y="2305"/>
                  </a:cubicBezTo>
                  <a:cubicBezTo>
                    <a:pt x="85" y="2298"/>
                    <a:pt x="102" y="2305"/>
                    <a:pt x="117" y="2300"/>
                  </a:cubicBezTo>
                  <a:cubicBezTo>
                    <a:pt x="130" y="2295"/>
                    <a:pt x="138" y="2285"/>
                    <a:pt x="148" y="2275"/>
                  </a:cubicBezTo>
                  <a:cubicBezTo>
                    <a:pt x="173" y="2244"/>
                    <a:pt x="191" y="2208"/>
                    <a:pt x="219" y="2180"/>
                  </a:cubicBezTo>
                  <a:cubicBezTo>
                    <a:pt x="242" y="2155"/>
                    <a:pt x="275" y="2139"/>
                    <a:pt x="291" y="2107"/>
                  </a:cubicBezTo>
                  <a:cubicBezTo>
                    <a:pt x="316" y="2063"/>
                    <a:pt x="257" y="1969"/>
                    <a:pt x="314" y="1952"/>
                  </a:cubicBezTo>
                  <a:cubicBezTo>
                    <a:pt x="336" y="1946"/>
                    <a:pt x="367" y="1949"/>
                    <a:pt x="387" y="1959"/>
                  </a:cubicBezTo>
                  <a:cubicBezTo>
                    <a:pt x="408" y="1971"/>
                    <a:pt x="420" y="1995"/>
                    <a:pt x="445" y="1999"/>
                  </a:cubicBezTo>
                  <a:cubicBezTo>
                    <a:pt x="497" y="2005"/>
                    <a:pt x="537" y="1921"/>
                    <a:pt x="591" y="1934"/>
                  </a:cubicBezTo>
                  <a:cubicBezTo>
                    <a:pt x="619" y="1941"/>
                    <a:pt x="636" y="1977"/>
                    <a:pt x="667" y="1949"/>
                  </a:cubicBezTo>
                  <a:cubicBezTo>
                    <a:pt x="683" y="1933"/>
                    <a:pt x="693" y="1898"/>
                    <a:pt x="700" y="1877"/>
                  </a:cubicBezTo>
                  <a:cubicBezTo>
                    <a:pt x="708" y="1849"/>
                    <a:pt x="700" y="1849"/>
                    <a:pt x="683" y="1827"/>
                  </a:cubicBezTo>
                  <a:cubicBezTo>
                    <a:pt x="664" y="1801"/>
                    <a:pt x="664" y="1776"/>
                    <a:pt x="627" y="1761"/>
                  </a:cubicBezTo>
                  <a:cubicBezTo>
                    <a:pt x="609" y="1755"/>
                    <a:pt x="590" y="1755"/>
                    <a:pt x="570" y="1752"/>
                  </a:cubicBezTo>
                  <a:cubicBezTo>
                    <a:pt x="552" y="1750"/>
                    <a:pt x="534" y="1742"/>
                    <a:pt x="515" y="1742"/>
                  </a:cubicBezTo>
                  <a:cubicBezTo>
                    <a:pt x="492" y="1740"/>
                    <a:pt x="468" y="1766"/>
                    <a:pt x="446" y="1755"/>
                  </a:cubicBezTo>
                  <a:cubicBezTo>
                    <a:pt x="426" y="1747"/>
                    <a:pt x="426" y="1715"/>
                    <a:pt x="415" y="1699"/>
                  </a:cubicBezTo>
                  <a:cubicBezTo>
                    <a:pt x="402" y="1679"/>
                    <a:pt x="367" y="1664"/>
                    <a:pt x="369" y="1638"/>
                  </a:cubicBezTo>
                  <a:cubicBezTo>
                    <a:pt x="369" y="1607"/>
                    <a:pt x="412" y="1583"/>
                    <a:pt x="430" y="1564"/>
                  </a:cubicBezTo>
                  <a:cubicBezTo>
                    <a:pt x="448" y="1547"/>
                    <a:pt x="476" y="1521"/>
                    <a:pt x="489" y="1499"/>
                  </a:cubicBezTo>
                  <a:cubicBezTo>
                    <a:pt x="506" y="1471"/>
                    <a:pt x="501" y="1463"/>
                    <a:pt x="535" y="1457"/>
                  </a:cubicBezTo>
                  <a:cubicBezTo>
                    <a:pt x="542" y="1455"/>
                    <a:pt x="562" y="1455"/>
                    <a:pt x="568" y="1448"/>
                  </a:cubicBezTo>
                  <a:cubicBezTo>
                    <a:pt x="576" y="1437"/>
                    <a:pt x="567" y="1435"/>
                    <a:pt x="568" y="1429"/>
                  </a:cubicBezTo>
                  <a:cubicBezTo>
                    <a:pt x="568" y="1417"/>
                    <a:pt x="558" y="1429"/>
                    <a:pt x="565" y="1407"/>
                  </a:cubicBezTo>
                  <a:cubicBezTo>
                    <a:pt x="567" y="1402"/>
                    <a:pt x="573" y="1399"/>
                    <a:pt x="576" y="1394"/>
                  </a:cubicBezTo>
                  <a:cubicBezTo>
                    <a:pt x="586" y="1379"/>
                    <a:pt x="595" y="1366"/>
                    <a:pt x="604" y="1350"/>
                  </a:cubicBezTo>
                  <a:cubicBezTo>
                    <a:pt x="618" y="1323"/>
                    <a:pt x="641" y="1302"/>
                    <a:pt x="651" y="1274"/>
                  </a:cubicBezTo>
                  <a:cubicBezTo>
                    <a:pt x="662" y="1246"/>
                    <a:pt x="662" y="1216"/>
                    <a:pt x="675" y="1190"/>
                  </a:cubicBezTo>
                  <a:cubicBezTo>
                    <a:pt x="692" y="1158"/>
                    <a:pt x="710" y="1162"/>
                    <a:pt x="736" y="1147"/>
                  </a:cubicBezTo>
                  <a:cubicBezTo>
                    <a:pt x="787" y="1122"/>
                    <a:pt x="824" y="1079"/>
                    <a:pt x="871" y="1051"/>
                  </a:cubicBezTo>
                  <a:cubicBezTo>
                    <a:pt x="888" y="1041"/>
                    <a:pt x="903" y="1035"/>
                    <a:pt x="914" y="1020"/>
                  </a:cubicBezTo>
                  <a:cubicBezTo>
                    <a:pt x="919" y="1010"/>
                    <a:pt x="921" y="997"/>
                    <a:pt x="931" y="989"/>
                  </a:cubicBezTo>
                  <a:cubicBezTo>
                    <a:pt x="939" y="981"/>
                    <a:pt x="950" y="979"/>
                    <a:pt x="960" y="971"/>
                  </a:cubicBezTo>
                  <a:cubicBezTo>
                    <a:pt x="972" y="962"/>
                    <a:pt x="978" y="951"/>
                    <a:pt x="990" y="943"/>
                  </a:cubicBezTo>
                  <a:cubicBezTo>
                    <a:pt x="1013" y="926"/>
                    <a:pt x="1043" y="908"/>
                    <a:pt x="1069" y="903"/>
                  </a:cubicBezTo>
                  <a:cubicBezTo>
                    <a:pt x="1100" y="897"/>
                    <a:pt x="1122" y="897"/>
                    <a:pt x="1146" y="875"/>
                  </a:cubicBezTo>
                  <a:cubicBezTo>
                    <a:pt x="1183" y="840"/>
                    <a:pt x="1240" y="775"/>
                    <a:pt x="1293" y="778"/>
                  </a:cubicBezTo>
                  <a:cubicBezTo>
                    <a:pt x="1324" y="780"/>
                    <a:pt x="1324" y="786"/>
                    <a:pt x="1352" y="765"/>
                  </a:cubicBezTo>
                  <a:cubicBezTo>
                    <a:pt x="1367" y="752"/>
                    <a:pt x="1387" y="733"/>
                    <a:pt x="1403" y="724"/>
                  </a:cubicBezTo>
                  <a:cubicBezTo>
                    <a:pt x="1422" y="712"/>
                    <a:pt x="1441" y="712"/>
                    <a:pt x="1459" y="700"/>
                  </a:cubicBezTo>
                  <a:cubicBezTo>
                    <a:pt x="1487" y="681"/>
                    <a:pt x="1514" y="656"/>
                    <a:pt x="1543" y="636"/>
                  </a:cubicBezTo>
                  <a:cubicBezTo>
                    <a:pt x="1576" y="613"/>
                    <a:pt x="1611" y="590"/>
                    <a:pt x="1646" y="567"/>
                  </a:cubicBezTo>
                  <a:cubicBezTo>
                    <a:pt x="1674" y="547"/>
                    <a:pt x="1703" y="524"/>
                    <a:pt x="1738" y="526"/>
                  </a:cubicBezTo>
                  <a:cubicBezTo>
                    <a:pt x="1753" y="526"/>
                    <a:pt x="1799" y="549"/>
                    <a:pt x="1804" y="532"/>
                  </a:cubicBezTo>
                  <a:cubicBezTo>
                    <a:pt x="1810" y="516"/>
                    <a:pt x="1786" y="495"/>
                    <a:pt x="1820" y="493"/>
                  </a:cubicBezTo>
                  <a:cubicBezTo>
                    <a:pt x="1848" y="490"/>
                    <a:pt x="1871" y="523"/>
                    <a:pt x="1896" y="529"/>
                  </a:cubicBezTo>
                  <a:cubicBezTo>
                    <a:pt x="1927" y="536"/>
                    <a:pt x="1960" y="516"/>
                    <a:pt x="1990" y="527"/>
                  </a:cubicBezTo>
                  <a:cubicBezTo>
                    <a:pt x="2010" y="534"/>
                    <a:pt x="2015" y="557"/>
                    <a:pt x="2034" y="564"/>
                  </a:cubicBezTo>
                  <a:cubicBezTo>
                    <a:pt x="2061" y="570"/>
                    <a:pt x="2077" y="539"/>
                    <a:pt x="2104" y="542"/>
                  </a:cubicBezTo>
                  <a:cubicBezTo>
                    <a:pt x="2113" y="544"/>
                    <a:pt x="2127" y="559"/>
                    <a:pt x="2137" y="547"/>
                  </a:cubicBezTo>
                  <a:cubicBezTo>
                    <a:pt x="2143" y="539"/>
                    <a:pt x="2133" y="531"/>
                    <a:pt x="2135" y="524"/>
                  </a:cubicBezTo>
                  <a:cubicBezTo>
                    <a:pt x="2143" y="498"/>
                    <a:pt x="2166" y="521"/>
                    <a:pt x="2173" y="508"/>
                  </a:cubicBezTo>
                  <a:cubicBezTo>
                    <a:pt x="2183" y="486"/>
                    <a:pt x="2127" y="476"/>
                    <a:pt x="2120" y="476"/>
                  </a:cubicBezTo>
                  <a:cubicBezTo>
                    <a:pt x="2089" y="478"/>
                    <a:pt x="2076" y="486"/>
                    <a:pt x="2049" y="470"/>
                  </a:cubicBezTo>
                  <a:cubicBezTo>
                    <a:pt x="2026" y="458"/>
                    <a:pt x="1998" y="440"/>
                    <a:pt x="1970" y="445"/>
                  </a:cubicBezTo>
                  <a:cubicBezTo>
                    <a:pt x="1949" y="450"/>
                    <a:pt x="1934" y="471"/>
                    <a:pt x="1931" y="440"/>
                  </a:cubicBezTo>
                  <a:cubicBezTo>
                    <a:pt x="1924" y="387"/>
                    <a:pt x="1975" y="373"/>
                    <a:pt x="2005" y="348"/>
                  </a:cubicBezTo>
                  <a:cubicBezTo>
                    <a:pt x="2038" y="322"/>
                    <a:pt x="2006" y="315"/>
                    <a:pt x="2008" y="287"/>
                  </a:cubicBezTo>
                  <a:cubicBezTo>
                    <a:pt x="2008" y="267"/>
                    <a:pt x="2033" y="244"/>
                    <a:pt x="2039" y="224"/>
                  </a:cubicBezTo>
                  <a:cubicBezTo>
                    <a:pt x="2049" y="201"/>
                    <a:pt x="2051" y="191"/>
                    <a:pt x="2072" y="180"/>
                  </a:cubicBezTo>
                  <a:cubicBezTo>
                    <a:pt x="2100" y="165"/>
                    <a:pt x="2135" y="165"/>
                    <a:pt x="2163" y="152"/>
                  </a:cubicBezTo>
                  <a:cubicBezTo>
                    <a:pt x="2194" y="137"/>
                    <a:pt x="2217" y="109"/>
                    <a:pt x="2247" y="91"/>
                  </a:cubicBezTo>
                  <a:cubicBezTo>
                    <a:pt x="2257" y="86"/>
                    <a:pt x="2270" y="76"/>
                    <a:pt x="2281" y="81"/>
                  </a:cubicBezTo>
                  <a:cubicBezTo>
                    <a:pt x="2290" y="83"/>
                    <a:pt x="2300" y="101"/>
                    <a:pt x="2306" y="99"/>
                  </a:cubicBezTo>
                  <a:cubicBezTo>
                    <a:pt x="2314" y="71"/>
                    <a:pt x="2300" y="73"/>
                    <a:pt x="2324" y="51"/>
                  </a:cubicBezTo>
                  <a:cubicBezTo>
                    <a:pt x="2334" y="45"/>
                    <a:pt x="2342" y="40"/>
                    <a:pt x="2351" y="30"/>
                  </a:cubicBezTo>
                  <a:cubicBezTo>
                    <a:pt x="2359" y="22"/>
                    <a:pt x="2361" y="5"/>
                    <a:pt x="2377" y="4"/>
                  </a:cubicBezTo>
                  <a:cubicBezTo>
                    <a:pt x="2405" y="0"/>
                    <a:pt x="2398" y="35"/>
                    <a:pt x="2400" y="53"/>
                  </a:cubicBezTo>
                  <a:cubicBezTo>
                    <a:pt x="2402" y="83"/>
                    <a:pt x="2417" y="98"/>
                    <a:pt x="2441" y="111"/>
                  </a:cubicBezTo>
                  <a:cubicBezTo>
                    <a:pt x="2479" y="132"/>
                    <a:pt x="2507" y="152"/>
                    <a:pt x="2474" y="196"/>
                  </a:cubicBezTo>
                  <a:cubicBezTo>
                    <a:pt x="2468" y="205"/>
                    <a:pt x="2392" y="234"/>
                    <a:pt x="2426" y="242"/>
                  </a:cubicBezTo>
                  <a:cubicBezTo>
                    <a:pt x="2454" y="249"/>
                    <a:pt x="2499" y="180"/>
                    <a:pt x="2499" y="254"/>
                  </a:cubicBezTo>
                  <a:cubicBezTo>
                    <a:pt x="2499" y="305"/>
                    <a:pt x="2458" y="336"/>
                    <a:pt x="2423" y="366"/>
                  </a:cubicBezTo>
                  <a:cubicBezTo>
                    <a:pt x="2382" y="402"/>
                    <a:pt x="2450" y="379"/>
                    <a:pt x="2469" y="374"/>
                  </a:cubicBezTo>
                  <a:cubicBezTo>
                    <a:pt x="2491" y="371"/>
                    <a:pt x="2510" y="359"/>
                    <a:pt x="2527" y="378"/>
                  </a:cubicBezTo>
                  <a:cubicBezTo>
                    <a:pt x="2535" y="386"/>
                    <a:pt x="2534" y="414"/>
                    <a:pt x="2543" y="419"/>
                  </a:cubicBezTo>
                  <a:cubicBezTo>
                    <a:pt x="2548" y="420"/>
                    <a:pt x="2570" y="386"/>
                    <a:pt x="2576" y="384"/>
                  </a:cubicBezTo>
                  <a:cubicBezTo>
                    <a:pt x="2601" y="374"/>
                    <a:pt x="2624" y="401"/>
                    <a:pt x="2632" y="422"/>
                  </a:cubicBezTo>
                  <a:cubicBezTo>
                    <a:pt x="2644" y="453"/>
                    <a:pt x="2632" y="514"/>
                    <a:pt x="2690" y="513"/>
                  </a:cubicBezTo>
                  <a:cubicBezTo>
                    <a:pt x="2721" y="511"/>
                    <a:pt x="2743" y="460"/>
                    <a:pt x="2772" y="462"/>
                  </a:cubicBezTo>
                  <a:cubicBezTo>
                    <a:pt x="2810" y="462"/>
                    <a:pt x="2764" y="516"/>
                    <a:pt x="2784" y="542"/>
                  </a:cubicBezTo>
                  <a:cubicBezTo>
                    <a:pt x="2792" y="554"/>
                    <a:pt x="2814" y="557"/>
                    <a:pt x="2814" y="575"/>
                  </a:cubicBezTo>
                  <a:cubicBezTo>
                    <a:pt x="2814" y="600"/>
                    <a:pt x="2777" y="600"/>
                    <a:pt x="2763" y="610"/>
                  </a:cubicBezTo>
                  <a:cubicBezTo>
                    <a:pt x="2743" y="623"/>
                    <a:pt x="2751" y="644"/>
                    <a:pt x="2738" y="661"/>
                  </a:cubicBezTo>
                  <a:cubicBezTo>
                    <a:pt x="2725" y="681"/>
                    <a:pt x="2703" y="674"/>
                    <a:pt x="2683" y="677"/>
                  </a:cubicBezTo>
                  <a:cubicBezTo>
                    <a:pt x="2652" y="684"/>
                    <a:pt x="2641" y="710"/>
                    <a:pt x="2618" y="728"/>
                  </a:cubicBezTo>
                  <a:cubicBezTo>
                    <a:pt x="2604" y="737"/>
                    <a:pt x="2586" y="740"/>
                    <a:pt x="2576" y="753"/>
                  </a:cubicBezTo>
                  <a:cubicBezTo>
                    <a:pt x="2563" y="770"/>
                    <a:pt x="2568" y="789"/>
                    <a:pt x="2558" y="808"/>
                  </a:cubicBezTo>
                  <a:cubicBezTo>
                    <a:pt x="2547" y="829"/>
                    <a:pt x="2522" y="839"/>
                    <a:pt x="2497" y="840"/>
                  </a:cubicBezTo>
                  <a:cubicBezTo>
                    <a:pt x="2451" y="842"/>
                    <a:pt x="2403" y="808"/>
                    <a:pt x="2357" y="824"/>
                  </a:cubicBezTo>
                  <a:cubicBezTo>
                    <a:pt x="2326" y="834"/>
                    <a:pt x="2288" y="877"/>
                    <a:pt x="2270" y="901"/>
                  </a:cubicBezTo>
                  <a:cubicBezTo>
                    <a:pt x="2239" y="943"/>
                    <a:pt x="2275" y="984"/>
                    <a:pt x="2257" y="1028"/>
                  </a:cubicBezTo>
                  <a:cubicBezTo>
                    <a:pt x="2250" y="1043"/>
                    <a:pt x="2211" y="1132"/>
                    <a:pt x="2188" y="1127"/>
                  </a:cubicBezTo>
                  <a:cubicBezTo>
                    <a:pt x="2173" y="1122"/>
                    <a:pt x="2174" y="1097"/>
                    <a:pt x="2160" y="1089"/>
                  </a:cubicBezTo>
                  <a:cubicBezTo>
                    <a:pt x="2148" y="1083"/>
                    <a:pt x="2138" y="1089"/>
                    <a:pt x="2127" y="1094"/>
                  </a:cubicBezTo>
                  <a:cubicBezTo>
                    <a:pt x="2100" y="1109"/>
                    <a:pt x="2076" y="1139"/>
                    <a:pt x="2056" y="1097"/>
                  </a:cubicBezTo>
                  <a:cubicBezTo>
                    <a:pt x="2043" y="1073"/>
                    <a:pt x="2038" y="1063"/>
                    <a:pt x="2015" y="1045"/>
                  </a:cubicBezTo>
                  <a:cubicBezTo>
                    <a:pt x="2010" y="1041"/>
                    <a:pt x="1983" y="1012"/>
                    <a:pt x="1977" y="1013"/>
                  </a:cubicBezTo>
                  <a:cubicBezTo>
                    <a:pt x="1965" y="1020"/>
                    <a:pt x="1985" y="1045"/>
                    <a:pt x="1988" y="1051"/>
                  </a:cubicBezTo>
                  <a:cubicBezTo>
                    <a:pt x="1995" y="1076"/>
                    <a:pt x="1983" y="1083"/>
                    <a:pt x="1973" y="1097"/>
                  </a:cubicBezTo>
                  <a:cubicBezTo>
                    <a:pt x="1960" y="1117"/>
                    <a:pt x="1960" y="1109"/>
                    <a:pt x="1972" y="1130"/>
                  </a:cubicBezTo>
                  <a:cubicBezTo>
                    <a:pt x="1982" y="1147"/>
                    <a:pt x="1980" y="1147"/>
                    <a:pt x="1977" y="1168"/>
                  </a:cubicBezTo>
                  <a:cubicBezTo>
                    <a:pt x="1973" y="1198"/>
                    <a:pt x="1993" y="1218"/>
                    <a:pt x="2024" y="1231"/>
                  </a:cubicBezTo>
                  <a:cubicBezTo>
                    <a:pt x="2072" y="1249"/>
                    <a:pt x="2097" y="1190"/>
                    <a:pt x="2141" y="1196"/>
                  </a:cubicBezTo>
                  <a:cubicBezTo>
                    <a:pt x="2161" y="1200"/>
                    <a:pt x="2171" y="1214"/>
                    <a:pt x="2174" y="1233"/>
                  </a:cubicBezTo>
                  <a:cubicBezTo>
                    <a:pt x="2176" y="1246"/>
                    <a:pt x="2161" y="1282"/>
                    <a:pt x="2171" y="1290"/>
                  </a:cubicBezTo>
                  <a:cubicBezTo>
                    <a:pt x="2178" y="1298"/>
                    <a:pt x="2191" y="1272"/>
                    <a:pt x="2193" y="1269"/>
                  </a:cubicBezTo>
                  <a:cubicBezTo>
                    <a:pt x="2202" y="1261"/>
                    <a:pt x="2194" y="1259"/>
                    <a:pt x="2211" y="1259"/>
                  </a:cubicBezTo>
                  <a:cubicBezTo>
                    <a:pt x="2245" y="1257"/>
                    <a:pt x="2255" y="1305"/>
                    <a:pt x="2265" y="1328"/>
                  </a:cubicBezTo>
                  <a:cubicBezTo>
                    <a:pt x="2275" y="1348"/>
                    <a:pt x="2272" y="1371"/>
                    <a:pt x="2280" y="1391"/>
                  </a:cubicBezTo>
                  <a:cubicBezTo>
                    <a:pt x="2286" y="1407"/>
                    <a:pt x="2301" y="1412"/>
                    <a:pt x="2308" y="1427"/>
                  </a:cubicBezTo>
                  <a:cubicBezTo>
                    <a:pt x="2318" y="1445"/>
                    <a:pt x="2305" y="1462"/>
                    <a:pt x="2305" y="1481"/>
                  </a:cubicBezTo>
                  <a:cubicBezTo>
                    <a:pt x="2305" y="1504"/>
                    <a:pt x="2321" y="1519"/>
                    <a:pt x="2323" y="1542"/>
                  </a:cubicBezTo>
                  <a:cubicBezTo>
                    <a:pt x="2324" y="1575"/>
                    <a:pt x="2293" y="1588"/>
                    <a:pt x="2272" y="1610"/>
                  </a:cubicBezTo>
                  <a:cubicBezTo>
                    <a:pt x="2247" y="1635"/>
                    <a:pt x="2235" y="1658"/>
                    <a:pt x="2201" y="1671"/>
                  </a:cubicBezTo>
                  <a:cubicBezTo>
                    <a:pt x="2168" y="1682"/>
                    <a:pt x="2125" y="1681"/>
                    <a:pt x="2104" y="1715"/>
                  </a:cubicBezTo>
                  <a:cubicBezTo>
                    <a:pt x="2100" y="1722"/>
                    <a:pt x="2099" y="1732"/>
                    <a:pt x="2095" y="1738"/>
                  </a:cubicBezTo>
                  <a:cubicBezTo>
                    <a:pt x="2090" y="1745"/>
                    <a:pt x="2082" y="1750"/>
                    <a:pt x="2077" y="1756"/>
                  </a:cubicBezTo>
                  <a:cubicBezTo>
                    <a:pt x="2076" y="1760"/>
                    <a:pt x="2057" y="1773"/>
                    <a:pt x="2076" y="1773"/>
                  </a:cubicBezTo>
                  <a:cubicBezTo>
                    <a:pt x="2090" y="1773"/>
                    <a:pt x="2168" y="1651"/>
                    <a:pt x="2184" y="1724"/>
                  </a:cubicBezTo>
                  <a:cubicBezTo>
                    <a:pt x="2189" y="1745"/>
                    <a:pt x="2168" y="1752"/>
                    <a:pt x="2155" y="1766"/>
                  </a:cubicBezTo>
                  <a:cubicBezTo>
                    <a:pt x="2143" y="1780"/>
                    <a:pt x="2135" y="1796"/>
                    <a:pt x="2120" y="1808"/>
                  </a:cubicBezTo>
                  <a:cubicBezTo>
                    <a:pt x="2107" y="1817"/>
                    <a:pt x="2064" y="1839"/>
                    <a:pt x="2108" y="1836"/>
                  </a:cubicBezTo>
                  <a:cubicBezTo>
                    <a:pt x="2118" y="1834"/>
                    <a:pt x="2127" y="1826"/>
                    <a:pt x="2138" y="1826"/>
                  </a:cubicBezTo>
                  <a:cubicBezTo>
                    <a:pt x="2145" y="1827"/>
                    <a:pt x="2151" y="1832"/>
                    <a:pt x="2158" y="1832"/>
                  </a:cubicBezTo>
                  <a:cubicBezTo>
                    <a:pt x="2169" y="1832"/>
                    <a:pt x="2171" y="1832"/>
                    <a:pt x="2181" y="1821"/>
                  </a:cubicBezTo>
                  <a:cubicBezTo>
                    <a:pt x="2207" y="1793"/>
                    <a:pt x="2216" y="1758"/>
                    <a:pt x="2252" y="1738"/>
                  </a:cubicBezTo>
                  <a:cubicBezTo>
                    <a:pt x="2283" y="1722"/>
                    <a:pt x="2316" y="1732"/>
                    <a:pt x="2347" y="1720"/>
                  </a:cubicBezTo>
                  <a:cubicBezTo>
                    <a:pt x="2362" y="1717"/>
                    <a:pt x="2380" y="1709"/>
                    <a:pt x="2389" y="1695"/>
                  </a:cubicBezTo>
                  <a:cubicBezTo>
                    <a:pt x="2395" y="1681"/>
                    <a:pt x="2382" y="1669"/>
                    <a:pt x="2385" y="1658"/>
                  </a:cubicBezTo>
                  <a:cubicBezTo>
                    <a:pt x="2397" y="1620"/>
                    <a:pt x="2445" y="1641"/>
                    <a:pt x="2469" y="1651"/>
                  </a:cubicBezTo>
                  <a:cubicBezTo>
                    <a:pt x="2501" y="1664"/>
                    <a:pt x="2530" y="1638"/>
                    <a:pt x="2560" y="1656"/>
                  </a:cubicBezTo>
                  <a:cubicBezTo>
                    <a:pt x="2578" y="1667"/>
                    <a:pt x="2588" y="1733"/>
                    <a:pt x="2604" y="1717"/>
                  </a:cubicBezTo>
                  <a:cubicBezTo>
                    <a:pt x="2616" y="1705"/>
                    <a:pt x="2603" y="1691"/>
                    <a:pt x="2621" y="1684"/>
                  </a:cubicBezTo>
                  <a:cubicBezTo>
                    <a:pt x="2636" y="1679"/>
                    <a:pt x="2641" y="1699"/>
                    <a:pt x="2652" y="1702"/>
                  </a:cubicBezTo>
                  <a:cubicBezTo>
                    <a:pt x="2682" y="1710"/>
                    <a:pt x="2723" y="1671"/>
                    <a:pt x="2748" y="1659"/>
                  </a:cubicBezTo>
                  <a:cubicBezTo>
                    <a:pt x="2769" y="1649"/>
                    <a:pt x="2787" y="1651"/>
                    <a:pt x="2805" y="1666"/>
                  </a:cubicBezTo>
                  <a:cubicBezTo>
                    <a:pt x="2815" y="1672"/>
                    <a:pt x="2819" y="1687"/>
                    <a:pt x="2833" y="1687"/>
                  </a:cubicBezTo>
                  <a:cubicBezTo>
                    <a:pt x="2865" y="1689"/>
                    <a:pt x="2878" y="1639"/>
                    <a:pt x="2912" y="1677"/>
                  </a:cubicBezTo>
                  <a:cubicBezTo>
                    <a:pt x="2922" y="1687"/>
                    <a:pt x="2934" y="1705"/>
                    <a:pt x="2942" y="1715"/>
                  </a:cubicBezTo>
                  <a:cubicBezTo>
                    <a:pt x="2954" y="1730"/>
                    <a:pt x="2952" y="1740"/>
                    <a:pt x="2960" y="1755"/>
                  </a:cubicBezTo>
                  <a:cubicBezTo>
                    <a:pt x="2968" y="1775"/>
                    <a:pt x="2998" y="1775"/>
                    <a:pt x="2988" y="1801"/>
                  </a:cubicBezTo>
                  <a:cubicBezTo>
                    <a:pt x="2985" y="1814"/>
                    <a:pt x="2964" y="1822"/>
                    <a:pt x="2954" y="1829"/>
                  </a:cubicBezTo>
                  <a:cubicBezTo>
                    <a:pt x="2917" y="1855"/>
                    <a:pt x="2883" y="1888"/>
                    <a:pt x="2855" y="1923"/>
                  </a:cubicBezTo>
                  <a:cubicBezTo>
                    <a:pt x="2835" y="1948"/>
                    <a:pt x="2823" y="1980"/>
                    <a:pt x="2786" y="1969"/>
                  </a:cubicBezTo>
                  <a:cubicBezTo>
                    <a:pt x="2771" y="1966"/>
                    <a:pt x="2777" y="1954"/>
                    <a:pt x="2764" y="1962"/>
                  </a:cubicBezTo>
                  <a:cubicBezTo>
                    <a:pt x="2759" y="1964"/>
                    <a:pt x="2749" y="1980"/>
                    <a:pt x="2748" y="1984"/>
                  </a:cubicBezTo>
                  <a:cubicBezTo>
                    <a:pt x="2739" y="2015"/>
                    <a:pt x="2771" y="2012"/>
                    <a:pt x="2792" y="2023"/>
                  </a:cubicBezTo>
                  <a:cubicBezTo>
                    <a:pt x="2820" y="2037"/>
                    <a:pt x="2817" y="2089"/>
                    <a:pt x="2825" y="2119"/>
                  </a:cubicBezTo>
                  <a:cubicBezTo>
                    <a:pt x="2837" y="2168"/>
                    <a:pt x="2832" y="2223"/>
                    <a:pt x="2832" y="2274"/>
                  </a:cubicBezTo>
                  <a:cubicBezTo>
                    <a:pt x="2832" y="2298"/>
                    <a:pt x="2838" y="2323"/>
                    <a:pt x="2838" y="2348"/>
                  </a:cubicBezTo>
                  <a:cubicBezTo>
                    <a:pt x="2838" y="2364"/>
                    <a:pt x="2832" y="2382"/>
                    <a:pt x="2835" y="2399"/>
                  </a:cubicBezTo>
                  <a:cubicBezTo>
                    <a:pt x="2842" y="2420"/>
                    <a:pt x="2856" y="2430"/>
                    <a:pt x="2851" y="2455"/>
                  </a:cubicBezTo>
                  <a:cubicBezTo>
                    <a:pt x="2850" y="2460"/>
                    <a:pt x="2848" y="2463"/>
                    <a:pt x="2847" y="2468"/>
                  </a:cubicBezTo>
                  <a:cubicBezTo>
                    <a:pt x="2840" y="2465"/>
                    <a:pt x="2832" y="2462"/>
                    <a:pt x="2822" y="2462"/>
                  </a:cubicBezTo>
                  <a:cubicBezTo>
                    <a:pt x="2805" y="2462"/>
                    <a:pt x="2797" y="2470"/>
                    <a:pt x="2789" y="2475"/>
                  </a:cubicBezTo>
                  <a:cubicBezTo>
                    <a:pt x="2784" y="2478"/>
                    <a:pt x="2781" y="2481"/>
                    <a:pt x="2776" y="2483"/>
                  </a:cubicBezTo>
                  <a:cubicBezTo>
                    <a:pt x="2763" y="2488"/>
                    <a:pt x="2753" y="2483"/>
                    <a:pt x="2736" y="2476"/>
                  </a:cubicBezTo>
                  <a:cubicBezTo>
                    <a:pt x="2733" y="2473"/>
                    <a:pt x="2730" y="2471"/>
                    <a:pt x="2726" y="2470"/>
                  </a:cubicBezTo>
                  <a:cubicBezTo>
                    <a:pt x="2703" y="2458"/>
                    <a:pt x="2678" y="2447"/>
                    <a:pt x="2647" y="2463"/>
                  </a:cubicBezTo>
                  <a:cubicBezTo>
                    <a:pt x="2613" y="2481"/>
                    <a:pt x="2606" y="2526"/>
                    <a:pt x="2601" y="2554"/>
                  </a:cubicBezTo>
                  <a:cubicBezTo>
                    <a:pt x="2599" y="2560"/>
                    <a:pt x="2599" y="2569"/>
                    <a:pt x="2598" y="2575"/>
                  </a:cubicBezTo>
                  <a:cubicBezTo>
                    <a:pt x="2594" y="2600"/>
                    <a:pt x="2593" y="2618"/>
                    <a:pt x="2576" y="2641"/>
                  </a:cubicBezTo>
                  <a:cubicBezTo>
                    <a:pt x="2570" y="2648"/>
                    <a:pt x="2565" y="2654"/>
                    <a:pt x="2560" y="2659"/>
                  </a:cubicBezTo>
                  <a:cubicBezTo>
                    <a:pt x="2543" y="2679"/>
                    <a:pt x="2527" y="2695"/>
                    <a:pt x="2524" y="2732"/>
                  </a:cubicBezTo>
                  <a:cubicBezTo>
                    <a:pt x="2515" y="2788"/>
                    <a:pt x="2492" y="2852"/>
                    <a:pt x="2458" y="2916"/>
                  </a:cubicBezTo>
                  <a:cubicBezTo>
                    <a:pt x="2441" y="2944"/>
                    <a:pt x="2431" y="2952"/>
                    <a:pt x="2405" y="2944"/>
                  </a:cubicBezTo>
                  <a:cubicBezTo>
                    <a:pt x="2397" y="2943"/>
                    <a:pt x="2390" y="2939"/>
                    <a:pt x="2384" y="2938"/>
                  </a:cubicBezTo>
                  <a:cubicBezTo>
                    <a:pt x="2359" y="2928"/>
                    <a:pt x="2339" y="2921"/>
                    <a:pt x="2303" y="2939"/>
                  </a:cubicBezTo>
                  <a:cubicBezTo>
                    <a:pt x="2290" y="2946"/>
                    <a:pt x="2275" y="2948"/>
                    <a:pt x="2260" y="2951"/>
                  </a:cubicBezTo>
                  <a:cubicBezTo>
                    <a:pt x="2245" y="2954"/>
                    <a:pt x="2227" y="2957"/>
                    <a:pt x="2211" y="2966"/>
                  </a:cubicBezTo>
                  <a:cubicBezTo>
                    <a:pt x="2197" y="2972"/>
                    <a:pt x="2188" y="2982"/>
                    <a:pt x="2178" y="2994"/>
                  </a:cubicBezTo>
                  <a:cubicBezTo>
                    <a:pt x="2165" y="3007"/>
                    <a:pt x="2151" y="3018"/>
                    <a:pt x="2137" y="3020"/>
                  </a:cubicBezTo>
                  <a:cubicBezTo>
                    <a:pt x="2122" y="3022"/>
                    <a:pt x="2118" y="3013"/>
                    <a:pt x="2112" y="2989"/>
                  </a:cubicBezTo>
                  <a:cubicBezTo>
                    <a:pt x="2112" y="2982"/>
                    <a:pt x="2110" y="2977"/>
                    <a:pt x="2108" y="2972"/>
                  </a:cubicBezTo>
                  <a:cubicBezTo>
                    <a:pt x="2104" y="2954"/>
                    <a:pt x="2095" y="2939"/>
                    <a:pt x="2089" y="2923"/>
                  </a:cubicBezTo>
                  <a:cubicBezTo>
                    <a:pt x="2082" y="2910"/>
                    <a:pt x="2076" y="2896"/>
                    <a:pt x="2071" y="2883"/>
                  </a:cubicBezTo>
                  <a:cubicBezTo>
                    <a:pt x="2069" y="2875"/>
                    <a:pt x="2067" y="2867"/>
                    <a:pt x="2066" y="2859"/>
                  </a:cubicBezTo>
                  <a:cubicBezTo>
                    <a:pt x="2061" y="2837"/>
                    <a:pt x="2057" y="2814"/>
                    <a:pt x="2038" y="2799"/>
                  </a:cubicBezTo>
                  <a:cubicBezTo>
                    <a:pt x="2010" y="2778"/>
                    <a:pt x="1968" y="2776"/>
                    <a:pt x="1934" y="2794"/>
                  </a:cubicBezTo>
                  <a:cubicBezTo>
                    <a:pt x="1924" y="2799"/>
                    <a:pt x="1916" y="2806"/>
                    <a:pt x="1909" y="2811"/>
                  </a:cubicBezTo>
                  <a:cubicBezTo>
                    <a:pt x="1894" y="2821"/>
                    <a:pt x="1886" y="2827"/>
                    <a:pt x="1866" y="2826"/>
                  </a:cubicBezTo>
                  <a:lnTo>
                    <a:pt x="1845" y="2824"/>
                  </a:lnTo>
                  <a:cubicBezTo>
                    <a:pt x="1819" y="2821"/>
                    <a:pt x="1792" y="2817"/>
                    <a:pt x="1764" y="2842"/>
                  </a:cubicBezTo>
                  <a:cubicBezTo>
                    <a:pt x="1753" y="2852"/>
                    <a:pt x="1746" y="2864"/>
                    <a:pt x="1739" y="2873"/>
                  </a:cubicBezTo>
                  <a:cubicBezTo>
                    <a:pt x="1731" y="2888"/>
                    <a:pt x="1723" y="2900"/>
                    <a:pt x="1708" y="2906"/>
                  </a:cubicBezTo>
                  <a:cubicBezTo>
                    <a:pt x="1698" y="2910"/>
                    <a:pt x="1688" y="2910"/>
                    <a:pt x="1677" y="2908"/>
                  </a:cubicBezTo>
                  <a:cubicBezTo>
                    <a:pt x="1657" y="2908"/>
                    <a:pt x="1632" y="2908"/>
                    <a:pt x="1618" y="2933"/>
                  </a:cubicBezTo>
                  <a:cubicBezTo>
                    <a:pt x="1613" y="2943"/>
                    <a:pt x="1609" y="2951"/>
                    <a:pt x="1606" y="2959"/>
                  </a:cubicBezTo>
                  <a:cubicBezTo>
                    <a:pt x="1599" y="2972"/>
                    <a:pt x="1595" y="2984"/>
                    <a:pt x="1585" y="2994"/>
                  </a:cubicBezTo>
                  <a:cubicBezTo>
                    <a:pt x="1583" y="2997"/>
                    <a:pt x="1578" y="2999"/>
                    <a:pt x="1575" y="3000"/>
                  </a:cubicBezTo>
                  <a:cubicBezTo>
                    <a:pt x="1568" y="3005"/>
                    <a:pt x="1562" y="3008"/>
                    <a:pt x="1555" y="3015"/>
                  </a:cubicBezTo>
                  <a:cubicBezTo>
                    <a:pt x="1548" y="3023"/>
                    <a:pt x="1545" y="3032"/>
                    <a:pt x="1543" y="3040"/>
                  </a:cubicBezTo>
                  <a:cubicBezTo>
                    <a:pt x="1542" y="3046"/>
                    <a:pt x="1540" y="3051"/>
                    <a:pt x="1537" y="3055"/>
                  </a:cubicBezTo>
                  <a:cubicBezTo>
                    <a:pt x="1525" y="3068"/>
                    <a:pt x="1502" y="3069"/>
                    <a:pt x="1479" y="3073"/>
                  </a:cubicBezTo>
                  <a:cubicBezTo>
                    <a:pt x="1446" y="3078"/>
                    <a:pt x="1403" y="3083"/>
                    <a:pt x="1397" y="3125"/>
                  </a:cubicBezTo>
                  <a:cubicBezTo>
                    <a:pt x="1394" y="3135"/>
                    <a:pt x="1395" y="3145"/>
                    <a:pt x="1397" y="3153"/>
                  </a:cubicBezTo>
                  <a:cubicBezTo>
                    <a:pt x="1398" y="3165"/>
                    <a:pt x="1400" y="3167"/>
                    <a:pt x="1389" y="3173"/>
                  </a:cubicBezTo>
                  <a:cubicBezTo>
                    <a:pt x="1382" y="3175"/>
                    <a:pt x="1377" y="3177"/>
                    <a:pt x="1370" y="3178"/>
                  </a:cubicBezTo>
                  <a:cubicBezTo>
                    <a:pt x="1362" y="3181"/>
                    <a:pt x="1351" y="3183"/>
                    <a:pt x="1339" y="3191"/>
                  </a:cubicBezTo>
                  <a:cubicBezTo>
                    <a:pt x="1329" y="3200"/>
                    <a:pt x="1323" y="3211"/>
                    <a:pt x="1314" y="3221"/>
                  </a:cubicBezTo>
                  <a:cubicBezTo>
                    <a:pt x="1311" y="3226"/>
                    <a:pt x="1308" y="3231"/>
                    <a:pt x="1305" y="3234"/>
                  </a:cubicBezTo>
                  <a:cubicBezTo>
                    <a:pt x="1300" y="3239"/>
                    <a:pt x="1296" y="3244"/>
                    <a:pt x="1291" y="3249"/>
                  </a:cubicBezTo>
                  <a:cubicBezTo>
                    <a:pt x="1273" y="3269"/>
                    <a:pt x="1252" y="3292"/>
                    <a:pt x="1265" y="3331"/>
                  </a:cubicBezTo>
                  <a:cubicBezTo>
                    <a:pt x="1270" y="3346"/>
                    <a:pt x="1277" y="3356"/>
                    <a:pt x="1283" y="3364"/>
                  </a:cubicBezTo>
                  <a:cubicBezTo>
                    <a:pt x="1265" y="3396"/>
                    <a:pt x="1235" y="3424"/>
                    <a:pt x="1202" y="3442"/>
                  </a:cubicBezTo>
                  <a:cubicBezTo>
                    <a:pt x="1191" y="3447"/>
                    <a:pt x="1181" y="3450"/>
                    <a:pt x="1173" y="3452"/>
                  </a:cubicBezTo>
                  <a:cubicBezTo>
                    <a:pt x="1160" y="3453"/>
                    <a:pt x="1146" y="3453"/>
                    <a:pt x="1132" y="3452"/>
                  </a:cubicBezTo>
                  <a:cubicBezTo>
                    <a:pt x="1125" y="3452"/>
                    <a:pt x="1118" y="3450"/>
                    <a:pt x="1112" y="3450"/>
                  </a:cubicBezTo>
                  <a:cubicBezTo>
                    <a:pt x="1064" y="3448"/>
                    <a:pt x="1021" y="3465"/>
                    <a:pt x="995" y="3493"/>
                  </a:cubicBezTo>
                  <a:cubicBezTo>
                    <a:pt x="993" y="3496"/>
                    <a:pt x="990" y="3499"/>
                    <a:pt x="988" y="3504"/>
                  </a:cubicBezTo>
                  <a:cubicBezTo>
                    <a:pt x="982" y="3511"/>
                    <a:pt x="977" y="3518"/>
                    <a:pt x="970" y="3521"/>
                  </a:cubicBezTo>
                  <a:cubicBezTo>
                    <a:pt x="957" y="3527"/>
                    <a:pt x="940" y="3526"/>
                    <a:pt x="922" y="3521"/>
                  </a:cubicBezTo>
                  <a:cubicBezTo>
                    <a:pt x="894" y="3514"/>
                    <a:pt x="868" y="3509"/>
                    <a:pt x="838" y="3514"/>
                  </a:cubicBezTo>
                  <a:cubicBezTo>
                    <a:pt x="817" y="3519"/>
                    <a:pt x="799" y="3529"/>
                    <a:pt x="781" y="3539"/>
                  </a:cubicBezTo>
                  <a:cubicBezTo>
                    <a:pt x="772" y="3544"/>
                    <a:pt x="763" y="3549"/>
                    <a:pt x="753" y="3554"/>
                  </a:cubicBezTo>
                  <a:cubicBezTo>
                    <a:pt x="731" y="3564"/>
                    <a:pt x="700" y="3569"/>
                    <a:pt x="682" y="3550"/>
                  </a:cubicBezTo>
                  <a:cubicBezTo>
                    <a:pt x="677" y="3544"/>
                    <a:pt x="674" y="3537"/>
                    <a:pt x="669" y="3529"/>
                  </a:cubicBezTo>
                  <a:cubicBezTo>
                    <a:pt x="665" y="3521"/>
                    <a:pt x="662" y="3514"/>
                    <a:pt x="657" y="3506"/>
                  </a:cubicBezTo>
                  <a:cubicBezTo>
                    <a:pt x="632" y="3473"/>
                    <a:pt x="588" y="3468"/>
                    <a:pt x="555" y="3478"/>
                  </a:cubicBezTo>
                  <a:cubicBezTo>
                    <a:pt x="543" y="3480"/>
                    <a:pt x="534" y="3485"/>
                    <a:pt x="524" y="3490"/>
                  </a:cubicBezTo>
                  <a:cubicBezTo>
                    <a:pt x="522" y="3486"/>
                    <a:pt x="519" y="3483"/>
                    <a:pt x="515" y="3481"/>
                  </a:cubicBezTo>
                  <a:cubicBezTo>
                    <a:pt x="501" y="3468"/>
                    <a:pt x="487" y="3455"/>
                    <a:pt x="478" y="3437"/>
                  </a:cubicBezTo>
                  <a:cubicBezTo>
                    <a:pt x="473" y="3429"/>
                    <a:pt x="471" y="3420"/>
                    <a:pt x="468" y="3412"/>
                  </a:cubicBezTo>
                  <a:cubicBezTo>
                    <a:pt x="464" y="3404"/>
                    <a:pt x="461" y="3394"/>
                    <a:pt x="456" y="3384"/>
                  </a:cubicBezTo>
                  <a:cubicBezTo>
                    <a:pt x="445" y="3363"/>
                    <a:pt x="431" y="3358"/>
                    <a:pt x="415" y="3351"/>
                  </a:cubicBezTo>
                  <a:cubicBezTo>
                    <a:pt x="412" y="3349"/>
                    <a:pt x="408" y="3348"/>
                    <a:pt x="405" y="3348"/>
                  </a:cubicBezTo>
                  <a:cubicBezTo>
                    <a:pt x="362" y="3328"/>
                    <a:pt x="338" y="3335"/>
                    <a:pt x="296" y="3349"/>
                  </a:cubicBezTo>
                  <a:cubicBezTo>
                    <a:pt x="258" y="3361"/>
                    <a:pt x="222" y="3353"/>
                    <a:pt x="191" y="3325"/>
                  </a:cubicBezTo>
                  <a:cubicBezTo>
                    <a:pt x="176" y="3312"/>
                    <a:pt x="168" y="3297"/>
                    <a:pt x="169" y="3285"/>
                  </a:cubicBezTo>
                  <a:cubicBezTo>
                    <a:pt x="169" y="3284"/>
                    <a:pt x="173" y="3277"/>
                    <a:pt x="176" y="3274"/>
                  </a:cubicBezTo>
                  <a:lnTo>
                    <a:pt x="178" y="3270"/>
                  </a:lnTo>
                  <a:cubicBezTo>
                    <a:pt x="178" y="3269"/>
                    <a:pt x="179" y="3269"/>
                    <a:pt x="179" y="3265"/>
                  </a:cubicBezTo>
                  <a:cubicBezTo>
                    <a:pt x="186" y="3256"/>
                    <a:pt x="186" y="3246"/>
                    <a:pt x="183" y="3237"/>
                  </a:cubicBezTo>
                  <a:cubicBezTo>
                    <a:pt x="179" y="3228"/>
                    <a:pt x="168" y="3224"/>
                    <a:pt x="163" y="3223"/>
                  </a:cubicBezTo>
                  <a:cubicBezTo>
                    <a:pt x="148" y="3218"/>
                    <a:pt x="137" y="3213"/>
                    <a:pt x="128" y="3206"/>
                  </a:cubicBezTo>
                  <a:cubicBezTo>
                    <a:pt x="115" y="3196"/>
                    <a:pt x="107" y="3181"/>
                    <a:pt x="109" y="3168"/>
                  </a:cubicBezTo>
                  <a:cubicBezTo>
                    <a:pt x="109" y="3158"/>
                    <a:pt x="115" y="3147"/>
                    <a:pt x="122" y="3137"/>
                  </a:cubicBezTo>
                  <a:cubicBezTo>
                    <a:pt x="125" y="3129"/>
                    <a:pt x="130" y="3122"/>
                    <a:pt x="132" y="3117"/>
                  </a:cubicBezTo>
                  <a:cubicBezTo>
                    <a:pt x="135" y="3109"/>
                    <a:pt x="138" y="3101"/>
                    <a:pt x="141" y="3093"/>
                  </a:cubicBezTo>
                  <a:cubicBezTo>
                    <a:pt x="145" y="3083"/>
                    <a:pt x="148" y="3073"/>
                    <a:pt x="153" y="3063"/>
                  </a:cubicBezTo>
                  <a:cubicBezTo>
                    <a:pt x="161" y="3043"/>
                    <a:pt x="174" y="3028"/>
                    <a:pt x="189" y="3012"/>
                  </a:cubicBezTo>
                  <a:cubicBezTo>
                    <a:pt x="201" y="2997"/>
                    <a:pt x="214" y="2982"/>
                    <a:pt x="224" y="2964"/>
                  </a:cubicBezTo>
                  <a:cubicBezTo>
                    <a:pt x="235" y="2943"/>
                    <a:pt x="237" y="2921"/>
                    <a:pt x="240" y="2900"/>
                  </a:cubicBezTo>
                  <a:cubicBezTo>
                    <a:pt x="244" y="2877"/>
                    <a:pt x="245" y="2854"/>
                    <a:pt x="258" y="2837"/>
                  </a:cubicBezTo>
                  <a:cubicBezTo>
                    <a:pt x="267" y="2829"/>
                    <a:pt x="278" y="2822"/>
                    <a:pt x="291" y="2814"/>
                  </a:cubicBezTo>
                  <a:cubicBezTo>
                    <a:pt x="314" y="2803"/>
                    <a:pt x="342" y="2788"/>
                    <a:pt x="341" y="2751"/>
                  </a:cubicBezTo>
                  <a:cubicBezTo>
                    <a:pt x="341" y="2712"/>
                    <a:pt x="316" y="2676"/>
                    <a:pt x="278" y="2659"/>
                  </a:cubicBezTo>
                  <a:cubicBezTo>
                    <a:pt x="263" y="2654"/>
                    <a:pt x="260" y="2651"/>
                    <a:pt x="255" y="2641"/>
                  </a:cubicBezTo>
                  <a:cubicBezTo>
                    <a:pt x="252" y="2638"/>
                    <a:pt x="250" y="2633"/>
                    <a:pt x="247" y="2630"/>
                  </a:cubicBezTo>
                  <a:cubicBezTo>
                    <a:pt x="235" y="2613"/>
                    <a:pt x="229" y="2608"/>
                    <a:pt x="207" y="2603"/>
                  </a:cubicBezTo>
                  <a:cubicBezTo>
                    <a:pt x="201" y="2602"/>
                    <a:pt x="194" y="2602"/>
                    <a:pt x="188" y="2602"/>
                  </a:cubicBezTo>
                  <a:cubicBezTo>
                    <a:pt x="176" y="2600"/>
                    <a:pt x="169" y="2600"/>
                    <a:pt x="165" y="2595"/>
                  </a:cubicBezTo>
                  <a:cubicBezTo>
                    <a:pt x="160" y="2592"/>
                    <a:pt x="156" y="2585"/>
                    <a:pt x="155" y="2580"/>
                  </a:cubicBezTo>
                  <a:cubicBezTo>
                    <a:pt x="150" y="2570"/>
                    <a:pt x="145" y="2560"/>
                    <a:pt x="135" y="2554"/>
                  </a:cubicBezTo>
                  <a:cubicBezTo>
                    <a:pt x="118" y="2539"/>
                    <a:pt x="99" y="2537"/>
                    <a:pt x="79" y="2534"/>
                  </a:cubicBezTo>
                  <a:cubicBezTo>
                    <a:pt x="56" y="2531"/>
                    <a:pt x="38" y="2527"/>
                    <a:pt x="26" y="251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51" name="Freeform 87">
              <a:extLst>
                <a:ext uri="{FF2B5EF4-FFF2-40B4-BE49-F238E27FC236}">
                  <a16:creationId xmlns:a16="http://schemas.microsoft.com/office/drawing/2014/main" id="{ACC0BF76-8BA4-BF47-B4B3-4AC49B7539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8963" y="1828800"/>
              <a:ext cx="649287" cy="1243013"/>
            </a:xfrm>
            <a:custGeom>
              <a:avLst/>
              <a:gdLst>
                <a:gd name="T0" fmla="*/ 1259 w 1802"/>
                <a:gd name="T1" fmla="*/ 3287 h 3454"/>
                <a:gd name="T2" fmla="*/ 1137 w 1802"/>
                <a:gd name="T3" fmla="*/ 2934 h 3454"/>
                <a:gd name="T4" fmla="*/ 1103 w 1802"/>
                <a:gd name="T5" fmla="*/ 2775 h 3454"/>
                <a:gd name="T6" fmla="*/ 1136 w 1802"/>
                <a:gd name="T7" fmla="*/ 2524 h 3454"/>
                <a:gd name="T8" fmla="*/ 1047 w 1802"/>
                <a:gd name="T9" fmla="*/ 2173 h 3454"/>
                <a:gd name="T10" fmla="*/ 969 w 1802"/>
                <a:gd name="T11" fmla="*/ 1791 h 3454"/>
                <a:gd name="T12" fmla="*/ 971 w 1802"/>
                <a:gd name="T13" fmla="*/ 1544 h 3454"/>
                <a:gd name="T14" fmla="*/ 912 w 1802"/>
                <a:gd name="T15" fmla="*/ 1373 h 3454"/>
                <a:gd name="T16" fmla="*/ 674 w 1802"/>
                <a:gd name="T17" fmla="*/ 1150 h 3454"/>
                <a:gd name="T18" fmla="*/ 704 w 1802"/>
                <a:gd name="T19" fmla="*/ 1007 h 3454"/>
                <a:gd name="T20" fmla="*/ 594 w 1802"/>
                <a:gd name="T21" fmla="*/ 1264 h 3454"/>
                <a:gd name="T22" fmla="*/ 730 w 1802"/>
                <a:gd name="T23" fmla="*/ 1444 h 3454"/>
                <a:gd name="T24" fmla="*/ 577 w 1802"/>
                <a:gd name="T25" fmla="*/ 1432 h 3454"/>
                <a:gd name="T26" fmla="*/ 491 w 1802"/>
                <a:gd name="T27" fmla="*/ 1282 h 3454"/>
                <a:gd name="T28" fmla="*/ 360 w 1802"/>
                <a:gd name="T29" fmla="*/ 1229 h 3454"/>
                <a:gd name="T30" fmla="*/ 309 w 1802"/>
                <a:gd name="T31" fmla="*/ 1135 h 3454"/>
                <a:gd name="T32" fmla="*/ 211 w 1802"/>
                <a:gd name="T33" fmla="*/ 1071 h 3454"/>
                <a:gd name="T34" fmla="*/ 147 w 1802"/>
                <a:gd name="T35" fmla="*/ 999 h 3454"/>
                <a:gd name="T36" fmla="*/ 132 w 1802"/>
                <a:gd name="T37" fmla="*/ 930 h 3454"/>
                <a:gd name="T38" fmla="*/ 15 w 1802"/>
                <a:gd name="T39" fmla="*/ 860 h 3454"/>
                <a:gd name="T40" fmla="*/ 55 w 1802"/>
                <a:gd name="T41" fmla="*/ 760 h 3454"/>
                <a:gd name="T42" fmla="*/ 142 w 1802"/>
                <a:gd name="T43" fmla="*/ 673 h 3454"/>
                <a:gd name="T44" fmla="*/ 287 w 1802"/>
                <a:gd name="T45" fmla="*/ 572 h 3454"/>
                <a:gd name="T46" fmla="*/ 348 w 1802"/>
                <a:gd name="T47" fmla="*/ 493 h 3454"/>
                <a:gd name="T48" fmla="*/ 482 w 1802"/>
                <a:gd name="T49" fmla="*/ 411 h 3454"/>
                <a:gd name="T50" fmla="*/ 643 w 1802"/>
                <a:gd name="T51" fmla="*/ 356 h 3454"/>
                <a:gd name="T52" fmla="*/ 765 w 1802"/>
                <a:gd name="T53" fmla="*/ 416 h 3454"/>
                <a:gd name="T54" fmla="*/ 857 w 1802"/>
                <a:gd name="T55" fmla="*/ 570 h 3454"/>
                <a:gd name="T56" fmla="*/ 1033 w 1802"/>
                <a:gd name="T57" fmla="*/ 486 h 3454"/>
                <a:gd name="T58" fmla="*/ 1269 w 1802"/>
                <a:gd name="T59" fmla="*/ 259 h 3454"/>
                <a:gd name="T60" fmla="*/ 1346 w 1802"/>
                <a:gd name="T61" fmla="*/ 81 h 3454"/>
                <a:gd name="T62" fmla="*/ 1503 w 1802"/>
                <a:gd name="T63" fmla="*/ 32 h 3454"/>
                <a:gd name="T64" fmla="*/ 1559 w 1802"/>
                <a:gd name="T65" fmla="*/ 18 h 3454"/>
                <a:gd name="T66" fmla="*/ 1567 w 1802"/>
                <a:gd name="T67" fmla="*/ 145 h 3454"/>
                <a:gd name="T68" fmla="*/ 1610 w 1802"/>
                <a:gd name="T69" fmla="*/ 297 h 3454"/>
                <a:gd name="T70" fmla="*/ 1651 w 1802"/>
                <a:gd name="T71" fmla="*/ 458 h 3454"/>
                <a:gd name="T72" fmla="*/ 1724 w 1802"/>
                <a:gd name="T73" fmla="*/ 735 h 3454"/>
                <a:gd name="T74" fmla="*/ 1630 w 1802"/>
                <a:gd name="T75" fmla="*/ 809 h 3454"/>
                <a:gd name="T76" fmla="*/ 1460 w 1802"/>
                <a:gd name="T77" fmla="*/ 926 h 3454"/>
                <a:gd name="T78" fmla="*/ 1411 w 1802"/>
                <a:gd name="T79" fmla="*/ 1318 h 3454"/>
                <a:gd name="T80" fmla="*/ 1333 w 1802"/>
                <a:gd name="T81" fmla="*/ 1448 h 3454"/>
                <a:gd name="T82" fmla="*/ 1264 w 1802"/>
                <a:gd name="T83" fmla="*/ 1595 h 3454"/>
                <a:gd name="T84" fmla="*/ 1216 w 1802"/>
                <a:gd name="T85" fmla="*/ 1661 h 3454"/>
                <a:gd name="T86" fmla="*/ 1465 w 1802"/>
                <a:gd name="T87" fmla="*/ 2137 h 3454"/>
                <a:gd name="T88" fmla="*/ 1666 w 1802"/>
                <a:gd name="T89" fmla="*/ 2099 h 3454"/>
                <a:gd name="T90" fmla="*/ 1801 w 1802"/>
                <a:gd name="T91" fmla="*/ 2247 h 3454"/>
                <a:gd name="T92" fmla="*/ 1610 w 1802"/>
                <a:gd name="T93" fmla="*/ 2435 h 3454"/>
                <a:gd name="T94" fmla="*/ 1554 w 1802"/>
                <a:gd name="T95" fmla="*/ 2679 h 3454"/>
                <a:gd name="T96" fmla="*/ 1570 w 1802"/>
                <a:gd name="T97" fmla="*/ 2872 h 3454"/>
                <a:gd name="T98" fmla="*/ 1388 w 1802"/>
                <a:gd name="T99" fmla="*/ 3037 h 3454"/>
                <a:gd name="T100" fmla="*/ 1595 w 1802"/>
                <a:gd name="T101" fmla="*/ 3117 h 3454"/>
                <a:gd name="T102" fmla="*/ 1574 w 1802"/>
                <a:gd name="T103" fmla="*/ 3274 h 3454"/>
                <a:gd name="T104" fmla="*/ 1411 w 1802"/>
                <a:gd name="T105" fmla="*/ 3434 h 3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2" h="3454">
                  <a:moveTo>
                    <a:pt x="1411" y="3434"/>
                  </a:moveTo>
                  <a:cubicBezTo>
                    <a:pt x="1399" y="3440"/>
                    <a:pt x="1389" y="3445"/>
                    <a:pt x="1378" y="3453"/>
                  </a:cubicBezTo>
                  <a:cubicBezTo>
                    <a:pt x="1363" y="3434"/>
                    <a:pt x="1346" y="3415"/>
                    <a:pt x="1330" y="3396"/>
                  </a:cubicBezTo>
                  <a:cubicBezTo>
                    <a:pt x="1300" y="3363"/>
                    <a:pt x="1287" y="3322"/>
                    <a:pt x="1259" y="3287"/>
                  </a:cubicBezTo>
                  <a:cubicBezTo>
                    <a:pt x="1233" y="3256"/>
                    <a:pt x="1208" y="3223"/>
                    <a:pt x="1198" y="3182"/>
                  </a:cubicBezTo>
                  <a:cubicBezTo>
                    <a:pt x="1193" y="3162"/>
                    <a:pt x="1197" y="3142"/>
                    <a:pt x="1195" y="3124"/>
                  </a:cubicBezTo>
                  <a:cubicBezTo>
                    <a:pt x="1192" y="3101"/>
                    <a:pt x="1183" y="3081"/>
                    <a:pt x="1182" y="3058"/>
                  </a:cubicBezTo>
                  <a:cubicBezTo>
                    <a:pt x="1182" y="3009"/>
                    <a:pt x="1169" y="2974"/>
                    <a:pt x="1137" y="2934"/>
                  </a:cubicBezTo>
                  <a:cubicBezTo>
                    <a:pt x="1127" y="2921"/>
                    <a:pt x="1121" y="2915"/>
                    <a:pt x="1108" y="2908"/>
                  </a:cubicBezTo>
                  <a:cubicBezTo>
                    <a:pt x="1094" y="2900"/>
                    <a:pt x="1063" y="2898"/>
                    <a:pt x="1058" y="2882"/>
                  </a:cubicBezTo>
                  <a:cubicBezTo>
                    <a:pt x="1048" y="2859"/>
                    <a:pt x="1078" y="2852"/>
                    <a:pt x="1091" y="2842"/>
                  </a:cubicBezTo>
                  <a:cubicBezTo>
                    <a:pt x="1111" y="2824"/>
                    <a:pt x="1112" y="2799"/>
                    <a:pt x="1103" y="2775"/>
                  </a:cubicBezTo>
                  <a:cubicBezTo>
                    <a:pt x="1098" y="2761"/>
                    <a:pt x="1086" y="2753"/>
                    <a:pt x="1089" y="2738"/>
                  </a:cubicBezTo>
                  <a:cubicBezTo>
                    <a:pt x="1094" y="2722"/>
                    <a:pt x="1126" y="2704"/>
                    <a:pt x="1136" y="2692"/>
                  </a:cubicBezTo>
                  <a:cubicBezTo>
                    <a:pt x="1175" y="2646"/>
                    <a:pt x="1132" y="2628"/>
                    <a:pt x="1131" y="2582"/>
                  </a:cubicBezTo>
                  <a:cubicBezTo>
                    <a:pt x="1129" y="2562"/>
                    <a:pt x="1134" y="2542"/>
                    <a:pt x="1136" y="2524"/>
                  </a:cubicBezTo>
                  <a:cubicBezTo>
                    <a:pt x="1137" y="2498"/>
                    <a:pt x="1131" y="2478"/>
                    <a:pt x="1124" y="2453"/>
                  </a:cubicBezTo>
                  <a:cubicBezTo>
                    <a:pt x="1114" y="2414"/>
                    <a:pt x="1121" y="2368"/>
                    <a:pt x="1099" y="2333"/>
                  </a:cubicBezTo>
                  <a:cubicBezTo>
                    <a:pt x="1083" y="2305"/>
                    <a:pt x="1052" y="2274"/>
                    <a:pt x="1043" y="2241"/>
                  </a:cubicBezTo>
                  <a:cubicBezTo>
                    <a:pt x="1038" y="2219"/>
                    <a:pt x="1048" y="2195"/>
                    <a:pt x="1047" y="2173"/>
                  </a:cubicBezTo>
                  <a:cubicBezTo>
                    <a:pt x="1043" y="2149"/>
                    <a:pt x="1032" y="2137"/>
                    <a:pt x="1025" y="2116"/>
                  </a:cubicBezTo>
                  <a:cubicBezTo>
                    <a:pt x="1010" y="2079"/>
                    <a:pt x="1038" y="2051"/>
                    <a:pt x="1030" y="2015"/>
                  </a:cubicBezTo>
                  <a:cubicBezTo>
                    <a:pt x="1022" y="1974"/>
                    <a:pt x="994" y="1941"/>
                    <a:pt x="992" y="1900"/>
                  </a:cubicBezTo>
                  <a:cubicBezTo>
                    <a:pt x="989" y="1864"/>
                    <a:pt x="996" y="1821"/>
                    <a:pt x="969" y="1791"/>
                  </a:cubicBezTo>
                  <a:cubicBezTo>
                    <a:pt x="938" y="1755"/>
                    <a:pt x="926" y="1712"/>
                    <a:pt x="944" y="1666"/>
                  </a:cubicBezTo>
                  <a:cubicBezTo>
                    <a:pt x="949" y="1654"/>
                    <a:pt x="959" y="1641"/>
                    <a:pt x="958" y="1630"/>
                  </a:cubicBezTo>
                  <a:cubicBezTo>
                    <a:pt x="956" y="1610"/>
                    <a:pt x="944" y="1608"/>
                    <a:pt x="948" y="1585"/>
                  </a:cubicBezTo>
                  <a:cubicBezTo>
                    <a:pt x="951" y="1567"/>
                    <a:pt x="964" y="1557"/>
                    <a:pt x="971" y="1544"/>
                  </a:cubicBezTo>
                  <a:cubicBezTo>
                    <a:pt x="977" y="1531"/>
                    <a:pt x="979" y="1532"/>
                    <a:pt x="974" y="1511"/>
                  </a:cubicBezTo>
                  <a:cubicBezTo>
                    <a:pt x="972" y="1503"/>
                    <a:pt x="972" y="1486"/>
                    <a:pt x="966" y="1478"/>
                  </a:cubicBezTo>
                  <a:cubicBezTo>
                    <a:pt x="958" y="1465"/>
                    <a:pt x="958" y="1473"/>
                    <a:pt x="944" y="1465"/>
                  </a:cubicBezTo>
                  <a:cubicBezTo>
                    <a:pt x="905" y="1437"/>
                    <a:pt x="928" y="1414"/>
                    <a:pt x="912" y="1373"/>
                  </a:cubicBezTo>
                  <a:cubicBezTo>
                    <a:pt x="897" y="1336"/>
                    <a:pt x="867" y="1364"/>
                    <a:pt x="841" y="1348"/>
                  </a:cubicBezTo>
                  <a:cubicBezTo>
                    <a:pt x="814" y="1330"/>
                    <a:pt x="801" y="1284"/>
                    <a:pt x="780" y="1259"/>
                  </a:cubicBezTo>
                  <a:cubicBezTo>
                    <a:pt x="753" y="1229"/>
                    <a:pt x="717" y="1210"/>
                    <a:pt x="691" y="1183"/>
                  </a:cubicBezTo>
                  <a:cubicBezTo>
                    <a:pt x="683" y="1173"/>
                    <a:pt x="676" y="1162"/>
                    <a:pt x="674" y="1150"/>
                  </a:cubicBezTo>
                  <a:cubicBezTo>
                    <a:pt x="650" y="1061"/>
                    <a:pt x="699" y="1070"/>
                    <a:pt x="724" y="1043"/>
                  </a:cubicBezTo>
                  <a:cubicBezTo>
                    <a:pt x="737" y="1028"/>
                    <a:pt x="730" y="1022"/>
                    <a:pt x="734" y="1007"/>
                  </a:cubicBezTo>
                  <a:cubicBezTo>
                    <a:pt x="734" y="1000"/>
                    <a:pt x="753" y="971"/>
                    <a:pt x="755" y="971"/>
                  </a:cubicBezTo>
                  <a:cubicBezTo>
                    <a:pt x="748" y="951"/>
                    <a:pt x="711" y="1000"/>
                    <a:pt x="704" y="1007"/>
                  </a:cubicBezTo>
                  <a:cubicBezTo>
                    <a:pt x="687" y="1022"/>
                    <a:pt x="671" y="1037"/>
                    <a:pt x="650" y="1045"/>
                  </a:cubicBezTo>
                  <a:cubicBezTo>
                    <a:pt x="628" y="1053"/>
                    <a:pt x="612" y="1053"/>
                    <a:pt x="595" y="1073"/>
                  </a:cubicBezTo>
                  <a:cubicBezTo>
                    <a:pt x="572" y="1102"/>
                    <a:pt x="564" y="1150"/>
                    <a:pt x="552" y="1185"/>
                  </a:cubicBezTo>
                  <a:cubicBezTo>
                    <a:pt x="533" y="1233"/>
                    <a:pt x="570" y="1229"/>
                    <a:pt x="594" y="1264"/>
                  </a:cubicBezTo>
                  <a:cubicBezTo>
                    <a:pt x="612" y="1290"/>
                    <a:pt x="627" y="1308"/>
                    <a:pt x="651" y="1333"/>
                  </a:cubicBezTo>
                  <a:cubicBezTo>
                    <a:pt x="666" y="1346"/>
                    <a:pt x="683" y="1374"/>
                    <a:pt x="702" y="1379"/>
                  </a:cubicBezTo>
                  <a:cubicBezTo>
                    <a:pt x="714" y="1383"/>
                    <a:pt x="729" y="1368"/>
                    <a:pt x="743" y="1373"/>
                  </a:cubicBezTo>
                  <a:cubicBezTo>
                    <a:pt x="783" y="1391"/>
                    <a:pt x="752" y="1429"/>
                    <a:pt x="730" y="1444"/>
                  </a:cubicBezTo>
                  <a:cubicBezTo>
                    <a:pt x="715" y="1453"/>
                    <a:pt x="701" y="1462"/>
                    <a:pt x="691" y="1473"/>
                  </a:cubicBezTo>
                  <a:cubicBezTo>
                    <a:pt x="674" y="1467"/>
                    <a:pt x="659" y="1457"/>
                    <a:pt x="643" y="1440"/>
                  </a:cubicBezTo>
                  <a:cubicBezTo>
                    <a:pt x="625" y="1425"/>
                    <a:pt x="615" y="1420"/>
                    <a:pt x="590" y="1425"/>
                  </a:cubicBezTo>
                  <a:cubicBezTo>
                    <a:pt x="585" y="1427"/>
                    <a:pt x="580" y="1429"/>
                    <a:pt x="577" y="1432"/>
                  </a:cubicBezTo>
                  <a:cubicBezTo>
                    <a:pt x="570" y="1434"/>
                    <a:pt x="570" y="1434"/>
                    <a:pt x="569" y="1434"/>
                  </a:cubicBezTo>
                  <a:cubicBezTo>
                    <a:pt x="562" y="1429"/>
                    <a:pt x="564" y="1419"/>
                    <a:pt x="570" y="1396"/>
                  </a:cubicBezTo>
                  <a:cubicBezTo>
                    <a:pt x="574" y="1384"/>
                    <a:pt x="579" y="1373"/>
                    <a:pt x="577" y="1363"/>
                  </a:cubicBezTo>
                  <a:cubicBezTo>
                    <a:pt x="572" y="1325"/>
                    <a:pt x="513" y="1292"/>
                    <a:pt x="491" y="1282"/>
                  </a:cubicBezTo>
                  <a:cubicBezTo>
                    <a:pt x="458" y="1271"/>
                    <a:pt x="437" y="1274"/>
                    <a:pt x="411" y="1279"/>
                  </a:cubicBezTo>
                  <a:lnTo>
                    <a:pt x="396" y="1282"/>
                  </a:lnTo>
                  <a:cubicBezTo>
                    <a:pt x="379" y="1285"/>
                    <a:pt x="370" y="1282"/>
                    <a:pt x="363" y="1256"/>
                  </a:cubicBezTo>
                  <a:cubicBezTo>
                    <a:pt x="360" y="1247"/>
                    <a:pt x="360" y="1238"/>
                    <a:pt x="360" y="1229"/>
                  </a:cubicBezTo>
                  <a:cubicBezTo>
                    <a:pt x="358" y="1211"/>
                    <a:pt x="358" y="1190"/>
                    <a:pt x="335" y="1172"/>
                  </a:cubicBezTo>
                  <a:cubicBezTo>
                    <a:pt x="332" y="1168"/>
                    <a:pt x="330" y="1167"/>
                    <a:pt x="327" y="1165"/>
                  </a:cubicBezTo>
                  <a:cubicBezTo>
                    <a:pt x="318" y="1160"/>
                    <a:pt x="317" y="1157"/>
                    <a:pt x="312" y="1149"/>
                  </a:cubicBezTo>
                  <a:cubicBezTo>
                    <a:pt x="310" y="1144"/>
                    <a:pt x="310" y="1139"/>
                    <a:pt x="309" y="1135"/>
                  </a:cubicBezTo>
                  <a:cubicBezTo>
                    <a:pt x="307" y="1124"/>
                    <a:pt x="305" y="1112"/>
                    <a:pt x="289" y="1101"/>
                  </a:cubicBezTo>
                  <a:cubicBezTo>
                    <a:pt x="277" y="1091"/>
                    <a:pt x="262" y="1091"/>
                    <a:pt x="249" y="1089"/>
                  </a:cubicBezTo>
                  <a:cubicBezTo>
                    <a:pt x="243" y="1089"/>
                    <a:pt x="234" y="1089"/>
                    <a:pt x="229" y="1086"/>
                  </a:cubicBezTo>
                  <a:cubicBezTo>
                    <a:pt x="221" y="1083"/>
                    <a:pt x="218" y="1079"/>
                    <a:pt x="211" y="1071"/>
                  </a:cubicBezTo>
                  <a:lnTo>
                    <a:pt x="206" y="1063"/>
                  </a:lnTo>
                  <a:cubicBezTo>
                    <a:pt x="198" y="1053"/>
                    <a:pt x="185" y="1046"/>
                    <a:pt x="172" y="1038"/>
                  </a:cubicBezTo>
                  <a:cubicBezTo>
                    <a:pt x="160" y="1032"/>
                    <a:pt x="145" y="1022"/>
                    <a:pt x="142" y="1014"/>
                  </a:cubicBezTo>
                  <a:cubicBezTo>
                    <a:pt x="141" y="1010"/>
                    <a:pt x="143" y="1006"/>
                    <a:pt x="147" y="999"/>
                  </a:cubicBezTo>
                  <a:cubicBezTo>
                    <a:pt x="151" y="991"/>
                    <a:pt x="155" y="981"/>
                    <a:pt x="154" y="969"/>
                  </a:cubicBezTo>
                  <a:cubicBezTo>
                    <a:pt x="152" y="958"/>
                    <a:pt x="147" y="951"/>
                    <a:pt x="142" y="948"/>
                  </a:cubicBezTo>
                  <a:cubicBezTo>
                    <a:pt x="141" y="946"/>
                    <a:pt x="141" y="944"/>
                    <a:pt x="139" y="943"/>
                  </a:cubicBezTo>
                  <a:cubicBezTo>
                    <a:pt x="136" y="938"/>
                    <a:pt x="134" y="933"/>
                    <a:pt x="132" y="930"/>
                  </a:cubicBezTo>
                  <a:cubicBezTo>
                    <a:pt x="122" y="910"/>
                    <a:pt x="111" y="887"/>
                    <a:pt x="76" y="885"/>
                  </a:cubicBezTo>
                  <a:lnTo>
                    <a:pt x="70" y="883"/>
                  </a:lnTo>
                  <a:cubicBezTo>
                    <a:pt x="57" y="883"/>
                    <a:pt x="45" y="882"/>
                    <a:pt x="37" y="878"/>
                  </a:cubicBezTo>
                  <a:cubicBezTo>
                    <a:pt x="27" y="875"/>
                    <a:pt x="20" y="870"/>
                    <a:pt x="15" y="860"/>
                  </a:cubicBezTo>
                  <a:cubicBezTo>
                    <a:pt x="14" y="857"/>
                    <a:pt x="10" y="852"/>
                    <a:pt x="9" y="845"/>
                  </a:cubicBezTo>
                  <a:cubicBezTo>
                    <a:pt x="0" y="822"/>
                    <a:pt x="10" y="811"/>
                    <a:pt x="30" y="791"/>
                  </a:cubicBezTo>
                  <a:cubicBezTo>
                    <a:pt x="33" y="786"/>
                    <a:pt x="38" y="781"/>
                    <a:pt x="43" y="776"/>
                  </a:cubicBezTo>
                  <a:cubicBezTo>
                    <a:pt x="48" y="770"/>
                    <a:pt x="52" y="765"/>
                    <a:pt x="55" y="760"/>
                  </a:cubicBezTo>
                  <a:cubicBezTo>
                    <a:pt x="61" y="752"/>
                    <a:pt x="68" y="743"/>
                    <a:pt x="75" y="737"/>
                  </a:cubicBezTo>
                  <a:cubicBezTo>
                    <a:pt x="81" y="732"/>
                    <a:pt x="88" y="730"/>
                    <a:pt x="96" y="729"/>
                  </a:cubicBezTo>
                  <a:cubicBezTo>
                    <a:pt x="104" y="727"/>
                    <a:pt x="111" y="724"/>
                    <a:pt x="119" y="720"/>
                  </a:cubicBezTo>
                  <a:cubicBezTo>
                    <a:pt x="147" y="705"/>
                    <a:pt x="144" y="686"/>
                    <a:pt x="142" y="673"/>
                  </a:cubicBezTo>
                  <a:cubicBezTo>
                    <a:pt x="141" y="666"/>
                    <a:pt x="139" y="659"/>
                    <a:pt x="141" y="653"/>
                  </a:cubicBezTo>
                  <a:cubicBezTo>
                    <a:pt x="145" y="631"/>
                    <a:pt x="167" y="626"/>
                    <a:pt x="201" y="623"/>
                  </a:cubicBezTo>
                  <a:cubicBezTo>
                    <a:pt x="229" y="620"/>
                    <a:pt x="257" y="615"/>
                    <a:pt x="276" y="595"/>
                  </a:cubicBezTo>
                  <a:cubicBezTo>
                    <a:pt x="282" y="588"/>
                    <a:pt x="285" y="579"/>
                    <a:pt x="287" y="572"/>
                  </a:cubicBezTo>
                  <a:cubicBezTo>
                    <a:pt x="289" y="565"/>
                    <a:pt x="290" y="560"/>
                    <a:pt x="294" y="556"/>
                  </a:cubicBezTo>
                  <a:cubicBezTo>
                    <a:pt x="297" y="552"/>
                    <a:pt x="302" y="551"/>
                    <a:pt x="307" y="547"/>
                  </a:cubicBezTo>
                  <a:cubicBezTo>
                    <a:pt x="312" y="544"/>
                    <a:pt x="317" y="541"/>
                    <a:pt x="322" y="536"/>
                  </a:cubicBezTo>
                  <a:cubicBezTo>
                    <a:pt x="337" y="523"/>
                    <a:pt x="343" y="508"/>
                    <a:pt x="348" y="493"/>
                  </a:cubicBezTo>
                  <a:cubicBezTo>
                    <a:pt x="351" y="485"/>
                    <a:pt x="355" y="478"/>
                    <a:pt x="360" y="470"/>
                  </a:cubicBezTo>
                  <a:cubicBezTo>
                    <a:pt x="365" y="458"/>
                    <a:pt x="378" y="458"/>
                    <a:pt x="396" y="458"/>
                  </a:cubicBezTo>
                  <a:cubicBezTo>
                    <a:pt x="409" y="458"/>
                    <a:pt x="422" y="460"/>
                    <a:pt x="435" y="453"/>
                  </a:cubicBezTo>
                  <a:cubicBezTo>
                    <a:pt x="460" y="445"/>
                    <a:pt x="472" y="427"/>
                    <a:pt x="482" y="411"/>
                  </a:cubicBezTo>
                  <a:cubicBezTo>
                    <a:pt x="486" y="402"/>
                    <a:pt x="493" y="392"/>
                    <a:pt x="501" y="386"/>
                  </a:cubicBezTo>
                  <a:cubicBezTo>
                    <a:pt x="519" y="368"/>
                    <a:pt x="536" y="371"/>
                    <a:pt x="561" y="374"/>
                  </a:cubicBezTo>
                  <a:cubicBezTo>
                    <a:pt x="569" y="374"/>
                    <a:pt x="575" y="376"/>
                    <a:pt x="584" y="376"/>
                  </a:cubicBezTo>
                  <a:cubicBezTo>
                    <a:pt x="612" y="378"/>
                    <a:pt x="628" y="366"/>
                    <a:pt x="643" y="356"/>
                  </a:cubicBezTo>
                  <a:cubicBezTo>
                    <a:pt x="650" y="351"/>
                    <a:pt x="656" y="346"/>
                    <a:pt x="664" y="341"/>
                  </a:cubicBezTo>
                  <a:cubicBezTo>
                    <a:pt x="691" y="328"/>
                    <a:pt x="722" y="330"/>
                    <a:pt x="740" y="345"/>
                  </a:cubicBezTo>
                  <a:cubicBezTo>
                    <a:pt x="752" y="353"/>
                    <a:pt x="755" y="369"/>
                    <a:pt x="758" y="388"/>
                  </a:cubicBezTo>
                  <a:cubicBezTo>
                    <a:pt x="760" y="397"/>
                    <a:pt x="762" y="407"/>
                    <a:pt x="765" y="416"/>
                  </a:cubicBezTo>
                  <a:cubicBezTo>
                    <a:pt x="770" y="430"/>
                    <a:pt x="776" y="445"/>
                    <a:pt x="783" y="458"/>
                  </a:cubicBezTo>
                  <a:cubicBezTo>
                    <a:pt x="790" y="473"/>
                    <a:pt x="798" y="488"/>
                    <a:pt x="801" y="504"/>
                  </a:cubicBezTo>
                  <a:cubicBezTo>
                    <a:pt x="803" y="508"/>
                    <a:pt x="804" y="513"/>
                    <a:pt x="806" y="518"/>
                  </a:cubicBezTo>
                  <a:cubicBezTo>
                    <a:pt x="811" y="539"/>
                    <a:pt x="818" y="572"/>
                    <a:pt x="857" y="570"/>
                  </a:cubicBezTo>
                  <a:cubicBezTo>
                    <a:pt x="884" y="569"/>
                    <a:pt x="900" y="551"/>
                    <a:pt x="915" y="536"/>
                  </a:cubicBezTo>
                  <a:cubicBezTo>
                    <a:pt x="925" y="526"/>
                    <a:pt x="933" y="518"/>
                    <a:pt x="943" y="513"/>
                  </a:cubicBezTo>
                  <a:cubicBezTo>
                    <a:pt x="956" y="506"/>
                    <a:pt x="969" y="503"/>
                    <a:pt x="984" y="501"/>
                  </a:cubicBezTo>
                  <a:cubicBezTo>
                    <a:pt x="1000" y="498"/>
                    <a:pt x="1017" y="495"/>
                    <a:pt x="1033" y="486"/>
                  </a:cubicBezTo>
                  <a:cubicBezTo>
                    <a:pt x="1060" y="473"/>
                    <a:pt x="1071" y="478"/>
                    <a:pt x="1093" y="486"/>
                  </a:cubicBezTo>
                  <a:cubicBezTo>
                    <a:pt x="1101" y="488"/>
                    <a:pt x="1108" y="491"/>
                    <a:pt x="1117" y="493"/>
                  </a:cubicBezTo>
                  <a:cubicBezTo>
                    <a:pt x="1164" y="508"/>
                    <a:pt x="1183" y="481"/>
                    <a:pt x="1200" y="453"/>
                  </a:cubicBezTo>
                  <a:cubicBezTo>
                    <a:pt x="1236" y="386"/>
                    <a:pt x="1261" y="318"/>
                    <a:pt x="1269" y="259"/>
                  </a:cubicBezTo>
                  <a:cubicBezTo>
                    <a:pt x="1272" y="231"/>
                    <a:pt x="1282" y="219"/>
                    <a:pt x="1299" y="201"/>
                  </a:cubicBezTo>
                  <a:cubicBezTo>
                    <a:pt x="1304" y="195"/>
                    <a:pt x="1310" y="188"/>
                    <a:pt x="1315" y="180"/>
                  </a:cubicBezTo>
                  <a:cubicBezTo>
                    <a:pt x="1337" y="154"/>
                    <a:pt x="1340" y="129"/>
                    <a:pt x="1343" y="101"/>
                  </a:cubicBezTo>
                  <a:cubicBezTo>
                    <a:pt x="1345" y="96"/>
                    <a:pt x="1345" y="89"/>
                    <a:pt x="1346" y="81"/>
                  </a:cubicBezTo>
                  <a:cubicBezTo>
                    <a:pt x="1350" y="56"/>
                    <a:pt x="1356" y="22"/>
                    <a:pt x="1379" y="10"/>
                  </a:cubicBezTo>
                  <a:cubicBezTo>
                    <a:pt x="1396" y="0"/>
                    <a:pt x="1411" y="7"/>
                    <a:pt x="1432" y="17"/>
                  </a:cubicBezTo>
                  <a:cubicBezTo>
                    <a:pt x="1437" y="20"/>
                    <a:pt x="1440" y="22"/>
                    <a:pt x="1444" y="23"/>
                  </a:cubicBezTo>
                  <a:cubicBezTo>
                    <a:pt x="1460" y="32"/>
                    <a:pt x="1480" y="40"/>
                    <a:pt x="1503" y="32"/>
                  </a:cubicBezTo>
                  <a:cubicBezTo>
                    <a:pt x="1511" y="28"/>
                    <a:pt x="1518" y="23"/>
                    <a:pt x="1523" y="20"/>
                  </a:cubicBezTo>
                  <a:cubicBezTo>
                    <a:pt x="1531" y="15"/>
                    <a:pt x="1534" y="12"/>
                    <a:pt x="1541" y="12"/>
                  </a:cubicBezTo>
                  <a:cubicBezTo>
                    <a:pt x="1546" y="12"/>
                    <a:pt x="1552" y="14"/>
                    <a:pt x="1559" y="17"/>
                  </a:cubicBezTo>
                  <a:lnTo>
                    <a:pt x="1559" y="18"/>
                  </a:lnTo>
                  <a:cubicBezTo>
                    <a:pt x="1559" y="20"/>
                    <a:pt x="1559" y="22"/>
                    <a:pt x="1559" y="23"/>
                  </a:cubicBezTo>
                  <a:cubicBezTo>
                    <a:pt x="1564" y="42"/>
                    <a:pt x="1582" y="51"/>
                    <a:pt x="1575" y="70"/>
                  </a:cubicBezTo>
                  <a:cubicBezTo>
                    <a:pt x="1572" y="79"/>
                    <a:pt x="1556" y="86"/>
                    <a:pt x="1551" y="98"/>
                  </a:cubicBezTo>
                  <a:cubicBezTo>
                    <a:pt x="1544" y="117"/>
                    <a:pt x="1559" y="129"/>
                    <a:pt x="1567" y="145"/>
                  </a:cubicBezTo>
                  <a:cubicBezTo>
                    <a:pt x="1572" y="154"/>
                    <a:pt x="1574" y="162"/>
                    <a:pt x="1577" y="168"/>
                  </a:cubicBezTo>
                  <a:cubicBezTo>
                    <a:pt x="1580" y="177"/>
                    <a:pt x="1589" y="177"/>
                    <a:pt x="1589" y="187"/>
                  </a:cubicBezTo>
                  <a:cubicBezTo>
                    <a:pt x="1594" y="215"/>
                    <a:pt x="1559" y="224"/>
                    <a:pt x="1575" y="254"/>
                  </a:cubicBezTo>
                  <a:cubicBezTo>
                    <a:pt x="1582" y="269"/>
                    <a:pt x="1612" y="277"/>
                    <a:pt x="1610" y="297"/>
                  </a:cubicBezTo>
                  <a:cubicBezTo>
                    <a:pt x="1610" y="308"/>
                    <a:pt x="1597" y="312"/>
                    <a:pt x="1594" y="322"/>
                  </a:cubicBezTo>
                  <a:cubicBezTo>
                    <a:pt x="1587" y="345"/>
                    <a:pt x="1608" y="345"/>
                    <a:pt x="1620" y="361"/>
                  </a:cubicBezTo>
                  <a:cubicBezTo>
                    <a:pt x="1626" y="373"/>
                    <a:pt x="1628" y="386"/>
                    <a:pt x="1633" y="397"/>
                  </a:cubicBezTo>
                  <a:cubicBezTo>
                    <a:pt x="1643" y="420"/>
                    <a:pt x="1651" y="432"/>
                    <a:pt x="1651" y="458"/>
                  </a:cubicBezTo>
                  <a:cubicBezTo>
                    <a:pt x="1653" y="481"/>
                    <a:pt x="1646" y="501"/>
                    <a:pt x="1656" y="523"/>
                  </a:cubicBezTo>
                  <a:cubicBezTo>
                    <a:pt x="1663" y="541"/>
                    <a:pt x="1679" y="552"/>
                    <a:pt x="1678" y="574"/>
                  </a:cubicBezTo>
                  <a:cubicBezTo>
                    <a:pt x="1676" y="592"/>
                    <a:pt x="1663" y="605"/>
                    <a:pt x="1663" y="623"/>
                  </a:cubicBezTo>
                  <a:cubicBezTo>
                    <a:pt x="1663" y="663"/>
                    <a:pt x="1699" y="709"/>
                    <a:pt x="1724" y="735"/>
                  </a:cubicBezTo>
                  <a:cubicBezTo>
                    <a:pt x="1745" y="757"/>
                    <a:pt x="1796" y="785"/>
                    <a:pt x="1752" y="811"/>
                  </a:cubicBezTo>
                  <a:cubicBezTo>
                    <a:pt x="1735" y="821"/>
                    <a:pt x="1706" y="826"/>
                    <a:pt x="1689" y="819"/>
                  </a:cubicBezTo>
                  <a:cubicBezTo>
                    <a:pt x="1674" y="814"/>
                    <a:pt x="1674" y="799"/>
                    <a:pt x="1656" y="799"/>
                  </a:cubicBezTo>
                  <a:cubicBezTo>
                    <a:pt x="1648" y="798"/>
                    <a:pt x="1640" y="808"/>
                    <a:pt x="1630" y="809"/>
                  </a:cubicBezTo>
                  <a:cubicBezTo>
                    <a:pt x="1617" y="811"/>
                    <a:pt x="1603" y="808"/>
                    <a:pt x="1590" y="809"/>
                  </a:cubicBezTo>
                  <a:cubicBezTo>
                    <a:pt x="1572" y="813"/>
                    <a:pt x="1547" y="821"/>
                    <a:pt x="1533" y="832"/>
                  </a:cubicBezTo>
                  <a:cubicBezTo>
                    <a:pt x="1516" y="847"/>
                    <a:pt x="1513" y="870"/>
                    <a:pt x="1500" y="887"/>
                  </a:cubicBezTo>
                  <a:cubicBezTo>
                    <a:pt x="1488" y="902"/>
                    <a:pt x="1472" y="911"/>
                    <a:pt x="1460" y="926"/>
                  </a:cubicBezTo>
                  <a:cubicBezTo>
                    <a:pt x="1435" y="959"/>
                    <a:pt x="1424" y="1015"/>
                    <a:pt x="1417" y="1055"/>
                  </a:cubicBezTo>
                  <a:cubicBezTo>
                    <a:pt x="1409" y="1106"/>
                    <a:pt x="1411" y="1149"/>
                    <a:pt x="1429" y="1196"/>
                  </a:cubicBezTo>
                  <a:cubicBezTo>
                    <a:pt x="1440" y="1226"/>
                    <a:pt x="1467" y="1262"/>
                    <a:pt x="1468" y="1295"/>
                  </a:cubicBezTo>
                  <a:cubicBezTo>
                    <a:pt x="1472" y="1335"/>
                    <a:pt x="1435" y="1351"/>
                    <a:pt x="1411" y="1318"/>
                  </a:cubicBezTo>
                  <a:cubicBezTo>
                    <a:pt x="1391" y="1292"/>
                    <a:pt x="1368" y="1267"/>
                    <a:pt x="1345" y="1244"/>
                  </a:cubicBezTo>
                  <a:cubicBezTo>
                    <a:pt x="1322" y="1219"/>
                    <a:pt x="1297" y="1219"/>
                    <a:pt x="1297" y="1257"/>
                  </a:cubicBezTo>
                  <a:cubicBezTo>
                    <a:pt x="1297" y="1282"/>
                    <a:pt x="1310" y="1305"/>
                    <a:pt x="1312" y="1328"/>
                  </a:cubicBezTo>
                  <a:cubicBezTo>
                    <a:pt x="1318" y="1376"/>
                    <a:pt x="1304" y="1406"/>
                    <a:pt x="1333" y="1448"/>
                  </a:cubicBezTo>
                  <a:cubicBezTo>
                    <a:pt x="1351" y="1473"/>
                    <a:pt x="1366" y="1529"/>
                    <a:pt x="1315" y="1513"/>
                  </a:cubicBezTo>
                  <a:cubicBezTo>
                    <a:pt x="1297" y="1508"/>
                    <a:pt x="1285" y="1483"/>
                    <a:pt x="1264" y="1508"/>
                  </a:cubicBezTo>
                  <a:cubicBezTo>
                    <a:pt x="1251" y="1524"/>
                    <a:pt x="1261" y="1536"/>
                    <a:pt x="1266" y="1551"/>
                  </a:cubicBezTo>
                  <a:cubicBezTo>
                    <a:pt x="1269" y="1564"/>
                    <a:pt x="1282" y="1587"/>
                    <a:pt x="1264" y="1595"/>
                  </a:cubicBezTo>
                  <a:cubicBezTo>
                    <a:pt x="1259" y="1598"/>
                    <a:pt x="1244" y="1588"/>
                    <a:pt x="1238" y="1587"/>
                  </a:cubicBezTo>
                  <a:cubicBezTo>
                    <a:pt x="1218" y="1585"/>
                    <a:pt x="1203" y="1597"/>
                    <a:pt x="1211" y="1620"/>
                  </a:cubicBezTo>
                  <a:cubicBezTo>
                    <a:pt x="1216" y="1630"/>
                    <a:pt x="1233" y="1635"/>
                    <a:pt x="1233" y="1644"/>
                  </a:cubicBezTo>
                  <a:cubicBezTo>
                    <a:pt x="1233" y="1646"/>
                    <a:pt x="1218" y="1654"/>
                    <a:pt x="1216" y="1661"/>
                  </a:cubicBezTo>
                  <a:cubicBezTo>
                    <a:pt x="1213" y="1674"/>
                    <a:pt x="1226" y="1694"/>
                    <a:pt x="1234" y="1705"/>
                  </a:cubicBezTo>
                  <a:cubicBezTo>
                    <a:pt x="1253" y="1733"/>
                    <a:pt x="1277" y="1773"/>
                    <a:pt x="1307" y="1788"/>
                  </a:cubicBezTo>
                  <a:cubicBezTo>
                    <a:pt x="1338" y="1804"/>
                    <a:pt x="1340" y="1839"/>
                    <a:pt x="1363" y="1869"/>
                  </a:cubicBezTo>
                  <a:cubicBezTo>
                    <a:pt x="1424" y="1948"/>
                    <a:pt x="1406" y="2055"/>
                    <a:pt x="1465" y="2137"/>
                  </a:cubicBezTo>
                  <a:cubicBezTo>
                    <a:pt x="1490" y="2173"/>
                    <a:pt x="1529" y="2223"/>
                    <a:pt x="1579" y="2218"/>
                  </a:cubicBezTo>
                  <a:cubicBezTo>
                    <a:pt x="1600" y="2214"/>
                    <a:pt x="1630" y="2208"/>
                    <a:pt x="1625" y="2183"/>
                  </a:cubicBezTo>
                  <a:cubicBezTo>
                    <a:pt x="1622" y="2158"/>
                    <a:pt x="1589" y="2149"/>
                    <a:pt x="1617" y="2122"/>
                  </a:cubicBezTo>
                  <a:cubicBezTo>
                    <a:pt x="1630" y="2109"/>
                    <a:pt x="1650" y="2109"/>
                    <a:pt x="1666" y="2099"/>
                  </a:cubicBezTo>
                  <a:cubicBezTo>
                    <a:pt x="1679" y="2091"/>
                    <a:pt x="1687" y="2074"/>
                    <a:pt x="1707" y="2078"/>
                  </a:cubicBezTo>
                  <a:cubicBezTo>
                    <a:pt x="1739" y="2084"/>
                    <a:pt x="1753" y="2135"/>
                    <a:pt x="1757" y="2162"/>
                  </a:cubicBezTo>
                  <a:cubicBezTo>
                    <a:pt x="1763" y="2196"/>
                    <a:pt x="1762" y="2216"/>
                    <a:pt x="1790" y="2239"/>
                  </a:cubicBezTo>
                  <a:cubicBezTo>
                    <a:pt x="1795" y="2242"/>
                    <a:pt x="1798" y="2244"/>
                    <a:pt x="1801" y="2247"/>
                  </a:cubicBezTo>
                  <a:cubicBezTo>
                    <a:pt x="1762" y="2271"/>
                    <a:pt x="1722" y="2300"/>
                    <a:pt x="1696" y="2340"/>
                  </a:cubicBezTo>
                  <a:cubicBezTo>
                    <a:pt x="1689" y="2350"/>
                    <a:pt x="1684" y="2359"/>
                    <a:pt x="1679" y="2369"/>
                  </a:cubicBezTo>
                  <a:cubicBezTo>
                    <a:pt x="1669" y="2389"/>
                    <a:pt x="1659" y="2407"/>
                    <a:pt x="1638" y="2419"/>
                  </a:cubicBezTo>
                  <a:cubicBezTo>
                    <a:pt x="1628" y="2425"/>
                    <a:pt x="1618" y="2430"/>
                    <a:pt x="1610" y="2435"/>
                  </a:cubicBezTo>
                  <a:cubicBezTo>
                    <a:pt x="1584" y="2448"/>
                    <a:pt x="1559" y="2462"/>
                    <a:pt x="1536" y="2483"/>
                  </a:cubicBezTo>
                  <a:cubicBezTo>
                    <a:pt x="1496" y="2523"/>
                    <a:pt x="1503" y="2544"/>
                    <a:pt x="1518" y="2584"/>
                  </a:cubicBezTo>
                  <a:cubicBezTo>
                    <a:pt x="1523" y="2593"/>
                    <a:pt x="1526" y="2603"/>
                    <a:pt x="1528" y="2613"/>
                  </a:cubicBezTo>
                  <a:cubicBezTo>
                    <a:pt x="1536" y="2635"/>
                    <a:pt x="1544" y="2658"/>
                    <a:pt x="1554" y="2679"/>
                  </a:cubicBezTo>
                  <a:cubicBezTo>
                    <a:pt x="1559" y="2689"/>
                    <a:pt x="1564" y="2699"/>
                    <a:pt x="1570" y="2709"/>
                  </a:cubicBezTo>
                  <a:cubicBezTo>
                    <a:pt x="1584" y="2730"/>
                    <a:pt x="1595" y="2748"/>
                    <a:pt x="1597" y="2775"/>
                  </a:cubicBezTo>
                  <a:cubicBezTo>
                    <a:pt x="1598" y="2801"/>
                    <a:pt x="1590" y="2834"/>
                    <a:pt x="1572" y="2869"/>
                  </a:cubicBezTo>
                  <a:lnTo>
                    <a:pt x="1570" y="2872"/>
                  </a:lnTo>
                  <a:cubicBezTo>
                    <a:pt x="1557" y="2898"/>
                    <a:pt x="1542" y="2929"/>
                    <a:pt x="1518" y="2943"/>
                  </a:cubicBezTo>
                  <a:cubicBezTo>
                    <a:pt x="1505" y="2949"/>
                    <a:pt x="1490" y="2953"/>
                    <a:pt x="1475" y="2954"/>
                  </a:cubicBezTo>
                  <a:cubicBezTo>
                    <a:pt x="1462" y="2957"/>
                    <a:pt x="1449" y="2959"/>
                    <a:pt x="1435" y="2964"/>
                  </a:cubicBezTo>
                  <a:cubicBezTo>
                    <a:pt x="1407" y="2976"/>
                    <a:pt x="1389" y="3002"/>
                    <a:pt x="1388" y="3037"/>
                  </a:cubicBezTo>
                  <a:cubicBezTo>
                    <a:pt x="1384" y="3073"/>
                    <a:pt x="1404" y="3109"/>
                    <a:pt x="1435" y="3124"/>
                  </a:cubicBezTo>
                  <a:cubicBezTo>
                    <a:pt x="1480" y="3147"/>
                    <a:pt x="1523" y="3124"/>
                    <a:pt x="1552" y="3106"/>
                  </a:cubicBezTo>
                  <a:cubicBezTo>
                    <a:pt x="1572" y="3091"/>
                    <a:pt x="1580" y="3091"/>
                    <a:pt x="1584" y="3093"/>
                  </a:cubicBezTo>
                  <a:cubicBezTo>
                    <a:pt x="1585" y="3094"/>
                    <a:pt x="1590" y="3098"/>
                    <a:pt x="1595" y="3117"/>
                  </a:cubicBezTo>
                  <a:cubicBezTo>
                    <a:pt x="1597" y="3130"/>
                    <a:pt x="1598" y="3144"/>
                    <a:pt x="1600" y="3157"/>
                  </a:cubicBezTo>
                  <a:cubicBezTo>
                    <a:pt x="1602" y="3178"/>
                    <a:pt x="1603" y="3200"/>
                    <a:pt x="1612" y="3223"/>
                  </a:cubicBezTo>
                  <a:cubicBezTo>
                    <a:pt x="1620" y="3246"/>
                    <a:pt x="1620" y="3249"/>
                    <a:pt x="1594" y="3264"/>
                  </a:cubicBezTo>
                  <a:cubicBezTo>
                    <a:pt x="1587" y="3267"/>
                    <a:pt x="1580" y="3270"/>
                    <a:pt x="1574" y="3274"/>
                  </a:cubicBezTo>
                  <a:cubicBezTo>
                    <a:pt x="1552" y="3284"/>
                    <a:pt x="1531" y="3294"/>
                    <a:pt x="1516" y="3323"/>
                  </a:cubicBezTo>
                  <a:cubicBezTo>
                    <a:pt x="1511" y="3331"/>
                    <a:pt x="1508" y="3340"/>
                    <a:pt x="1505" y="3348"/>
                  </a:cubicBezTo>
                  <a:cubicBezTo>
                    <a:pt x="1496" y="3366"/>
                    <a:pt x="1488" y="3383"/>
                    <a:pt x="1470" y="3397"/>
                  </a:cubicBezTo>
                  <a:cubicBezTo>
                    <a:pt x="1452" y="3411"/>
                    <a:pt x="1432" y="3422"/>
                    <a:pt x="1411" y="3434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52" name="Freeform 88">
              <a:extLst>
                <a:ext uri="{FF2B5EF4-FFF2-40B4-BE49-F238E27FC236}">
                  <a16:creationId xmlns:a16="http://schemas.microsoft.com/office/drawing/2014/main" id="{6144C440-6B78-094F-BAD2-5515C18DB5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10613" y="2643188"/>
              <a:ext cx="434975" cy="723900"/>
            </a:xfrm>
            <a:custGeom>
              <a:avLst/>
              <a:gdLst>
                <a:gd name="T0" fmla="*/ 1196 w 1208"/>
                <a:gd name="T1" fmla="*/ 2002 h 2009"/>
                <a:gd name="T2" fmla="*/ 1130 w 1208"/>
                <a:gd name="T3" fmla="*/ 1989 h 2009"/>
                <a:gd name="T4" fmla="*/ 1054 w 1208"/>
                <a:gd name="T5" fmla="*/ 1939 h 2009"/>
                <a:gd name="T6" fmla="*/ 769 w 1208"/>
                <a:gd name="T7" fmla="*/ 1750 h 2009"/>
                <a:gd name="T8" fmla="*/ 387 w 1208"/>
                <a:gd name="T9" fmla="*/ 1493 h 2009"/>
                <a:gd name="T10" fmla="*/ 30 w 1208"/>
                <a:gd name="T11" fmla="*/ 1247 h 2009"/>
                <a:gd name="T12" fmla="*/ 28 w 1208"/>
                <a:gd name="T13" fmla="*/ 1195 h 2009"/>
                <a:gd name="T14" fmla="*/ 132 w 1208"/>
                <a:gd name="T15" fmla="*/ 1096 h 2009"/>
                <a:gd name="T16" fmla="*/ 189 w 1208"/>
                <a:gd name="T17" fmla="*/ 1035 h 2009"/>
                <a:gd name="T18" fmla="*/ 240 w 1208"/>
                <a:gd name="T19" fmla="*/ 951 h 2009"/>
                <a:gd name="T20" fmla="*/ 226 w 1208"/>
                <a:gd name="T21" fmla="*/ 850 h 2009"/>
                <a:gd name="T22" fmla="*/ 142 w 1208"/>
                <a:gd name="T23" fmla="*/ 821 h 2009"/>
                <a:gd name="T24" fmla="*/ 18 w 1208"/>
                <a:gd name="T25" fmla="*/ 776 h 2009"/>
                <a:gd name="T26" fmla="*/ 82 w 1208"/>
                <a:gd name="T27" fmla="*/ 719 h 2009"/>
                <a:gd name="T28" fmla="*/ 199 w 1208"/>
                <a:gd name="T29" fmla="*/ 623 h 2009"/>
                <a:gd name="T30" fmla="*/ 227 w 1208"/>
                <a:gd name="T31" fmla="*/ 511 h 2009"/>
                <a:gd name="T32" fmla="*/ 181 w 1208"/>
                <a:gd name="T33" fmla="*/ 406 h 2009"/>
                <a:gd name="T34" fmla="*/ 146 w 1208"/>
                <a:gd name="T35" fmla="*/ 313 h 2009"/>
                <a:gd name="T36" fmla="*/ 226 w 1208"/>
                <a:gd name="T37" fmla="*/ 196 h 2009"/>
                <a:gd name="T38" fmla="*/ 306 w 1208"/>
                <a:gd name="T39" fmla="*/ 119 h 2009"/>
                <a:gd name="T40" fmla="*/ 430 w 1208"/>
                <a:gd name="T41" fmla="*/ 0 h 2009"/>
                <a:gd name="T42" fmla="*/ 461 w 1208"/>
                <a:gd name="T43" fmla="*/ 18 h 2009"/>
                <a:gd name="T44" fmla="*/ 550 w 1208"/>
                <a:gd name="T45" fmla="*/ 37 h 2009"/>
                <a:gd name="T46" fmla="*/ 713 w 1208"/>
                <a:gd name="T47" fmla="*/ 122 h 2009"/>
                <a:gd name="T48" fmla="*/ 618 w 1208"/>
                <a:gd name="T49" fmla="*/ 150 h 2009"/>
                <a:gd name="T50" fmla="*/ 581 w 1208"/>
                <a:gd name="T51" fmla="*/ 172 h 2009"/>
                <a:gd name="T52" fmla="*/ 611 w 1208"/>
                <a:gd name="T53" fmla="*/ 270 h 2009"/>
                <a:gd name="T54" fmla="*/ 753 w 1208"/>
                <a:gd name="T55" fmla="*/ 466 h 2009"/>
                <a:gd name="T56" fmla="*/ 947 w 1208"/>
                <a:gd name="T57" fmla="*/ 564 h 2009"/>
                <a:gd name="T58" fmla="*/ 842 w 1208"/>
                <a:gd name="T59" fmla="*/ 766 h 2009"/>
                <a:gd name="T60" fmla="*/ 868 w 1208"/>
                <a:gd name="T61" fmla="*/ 951 h 2009"/>
                <a:gd name="T62" fmla="*/ 950 w 1208"/>
                <a:gd name="T63" fmla="*/ 1027 h 2009"/>
                <a:gd name="T64" fmla="*/ 1066 w 1208"/>
                <a:gd name="T65" fmla="*/ 1089 h 2009"/>
                <a:gd name="T66" fmla="*/ 1008 w 1208"/>
                <a:gd name="T67" fmla="*/ 1191 h 2009"/>
                <a:gd name="T68" fmla="*/ 1016 w 1208"/>
                <a:gd name="T69" fmla="*/ 1406 h 2009"/>
                <a:gd name="T70" fmla="*/ 1094 w 1208"/>
                <a:gd name="T71" fmla="*/ 1476 h 2009"/>
                <a:gd name="T72" fmla="*/ 1206 w 1208"/>
                <a:gd name="T73" fmla="*/ 1880 h 2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8" h="2009">
                  <a:moveTo>
                    <a:pt x="1204" y="1980"/>
                  </a:moveTo>
                  <a:cubicBezTo>
                    <a:pt x="1204" y="1989"/>
                    <a:pt x="1202" y="1997"/>
                    <a:pt x="1196" y="2002"/>
                  </a:cubicBezTo>
                  <a:cubicBezTo>
                    <a:pt x="1193" y="2004"/>
                    <a:pt x="1189" y="2005"/>
                    <a:pt x="1186" y="2005"/>
                  </a:cubicBezTo>
                  <a:cubicBezTo>
                    <a:pt x="1166" y="2008"/>
                    <a:pt x="1146" y="1999"/>
                    <a:pt x="1130" y="1989"/>
                  </a:cubicBezTo>
                  <a:cubicBezTo>
                    <a:pt x="1123" y="1985"/>
                    <a:pt x="1118" y="1982"/>
                    <a:pt x="1114" y="1979"/>
                  </a:cubicBezTo>
                  <a:cubicBezTo>
                    <a:pt x="1094" y="1967"/>
                    <a:pt x="1074" y="1951"/>
                    <a:pt x="1054" y="1939"/>
                  </a:cubicBezTo>
                  <a:cubicBezTo>
                    <a:pt x="1036" y="1931"/>
                    <a:pt x="1020" y="1918"/>
                    <a:pt x="1005" y="1905"/>
                  </a:cubicBezTo>
                  <a:cubicBezTo>
                    <a:pt x="932" y="1840"/>
                    <a:pt x="863" y="1779"/>
                    <a:pt x="769" y="1750"/>
                  </a:cubicBezTo>
                  <a:cubicBezTo>
                    <a:pt x="670" y="1719"/>
                    <a:pt x="600" y="1646"/>
                    <a:pt x="515" y="1590"/>
                  </a:cubicBezTo>
                  <a:cubicBezTo>
                    <a:pt x="471" y="1560"/>
                    <a:pt x="431" y="1522"/>
                    <a:pt x="387" y="1493"/>
                  </a:cubicBezTo>
                  <a:cubicBezTo>
                    <a:pt x="347" y="1466"/>
                    <a:pt x="301" y="1455"/>
                    <a:pt x="262" y="1427"/>
                  </a:cubicBezTo>
                  <a:cubicBezTo>
                    <a:pt x="183" y="1373"/>
                    <a:pt x="90" y="1323"/>
                    <a:pt x="30" y="1247"/>
                  </a:cubicBezTo>
                  <a:cubicBezTo>
                    <a:pt x="20" y="1234"/>
                    <a:pt x="10" y="1223"/>
                    <a:pt x="0" y="1211"/>
                  </a:cubicBezTo>
                  <a:cubicBezTo>
                    <a:pt x="10" y="1205"/>
                    <a:pt x="18" y="1200"/>
                    <a:pt x="28" y="1195"/>
                  </a:cubicBezTo>
                  <a:cubicBezTo>
                    <a:pt x="49" y="1183"/>
                    <a:pt x="71" y="1172"/>
                    <a:pt x="90" y="1155"/>
                  </a:cubicBezTo>
                  <a:cubicBezTo>
                    <a:pt x="114" y="1137"/>
                    <a:pt x="123" y="1116"/>
                    <a:pt x="132" y="1096"/>
                  </a:cubicBezTo>
                  <a:cubicBezTo>
                    <a:pt x="135" y="1088"/>
                    <a:pt x="140" y="1081"/>
                    <a:pt x="143" y="1073"/>
                  </a:cubicBezTo>
                  <a:cubicBezTo>
                    <a:pt x="153" y="1053"/>
                    <a:pt x="170" y="1045"/>
                    <a:pt x="189" y="1035"/>
                  </a:cubicBezTo>
                  <a:cubicBezTo>
                    <a:pt x="196" y="1033"/>
                    <a:pt x="204" y="1028"/>
                    <a:pt x="211" y="1025"/>
                  </a:cubicBezTo>
                  <a:cubicBezTo>
                    <a:pt x="247" y="1005"/>
                    <a:pt x="254" y="989"/>
                    <a:pt x="240" y="951"/>
                  </a:cubicBezTo>
                  <a:cubicBezTo>
                    <a:pt x="234" y="933"/>
                    <a:pt x="232" y="913"/>
                    <a:pt x="230" y="893"/>
                  </a:cubicBezTo>
                  <a:cubicBezTo>
                    <a:pt x="229" y="878"/>
                    <a:pt x="227" y="865"/>
                    <a:pt x="226" y="850"/>
                  </a:cubicBezTo>
                  <a:cubicBezTo>
                    <a:pt x="222" y="836"/>
                    <a:pt x="216" y="814"/>
                    <a:pt x="198" y="807"/>
                  </a:cubicBezTo>
                  <a:cubicBezTo>
                    <a:pt x="179" y="799"/>
                    <a:pt x="160" y="809"/>
                    <a:pt x="142" y="821"/>
                  </a:cubicBezTo>
                  <a:cubicBezTo>
                    <a:pt x="102" y="847"/>
                    <a:pt x="76" y="852"/>
                    <a:pt x="51" y="839"/>
                  </a:cubicBezTo>
                  <a:cubicBezTo>
                    <a:pt x="26" y="827"/>
                    <a:pt x="16" y="798"/>
                    <a:pt x="18" y="776"/>
                  </a:cubicBezTo>
                  <a:cubicBezTo>
                    <a:pt x="18" y="765"/>
                    <a:pt x="23" y="738"/>
                    <a:pt x="49" y="727"/>
                  </a:cubicBezTo>
                  <a:cubicBezTo>
                    <a:pt x="59" y="723"/>
                    <a:pt x="71" y="722"/>
                    <a:pt x="82" y="719"/>
                  </a:cubicBezTo>
                  <a:cubicBezTo>
                    <a:pt x="100" y="717"/>
                    <a:pt x="118" y="714"/>
                    <a:pt x="135" y="704"/>
                  </a:cubicBezTo>
                  <a:cubicBezTo>
                    <a:pt x="166" y="686"/>
                    <a:pt x="184" y="651"/>
                    <a:pt x="199" y="623"/>
                  </a:cubicBezTo>
                  <a:lnTo>
                    <a:pt x="199" y="620"/>
                  </a:lnTo>
                  <a:cubicBezTo>
                    <a:pt x="221" y="579"/>
                    <a:pt x="229" y="544"/>
                    <a:pt x="227" y="511"/>
                  </a:cubicBezTo>
                  <a:cubicBezTo>
                    <a:pt x="224" y="478"/>
                    <a:pt x="211" y="455"/>
                    <a:pt x="198" y="432"/>
                  </a:cubicBezTo>
                  <a:cubicBezTo>
                    <a:pt x="191" y="424"/>
                    <a:pt x="186" y="415"/>
                    <a:pt x="181" y="406"/>
                  </a:cubicBezTo>
                  <a:cubicBezTo>
                    <a:pt x="171" y="386"/>
                    <a:pt x="165" y="364"/>
                    <a:pt x="158" y="343"/>
                  </a:cubicBezTo>
                  <a:cubicBezTo>
                    <a:pt x="155" y="333"/>
                    <a:pt x="151" y="323"/>
                    <a:pt x="146" y="313"/>
                  </a:cubicBezTo>
                  <a:cubicBezTo>
                    <a:pt x="133" y="274"/>
                    <a:pt x="130" y="267"/>
                    <a:pt x="158" y="241"/>
                  </a:cubicBezTo>
                  <a:cubicBezTo>
                    <a:pt x="178" y="221"/>
                    <a:pt x="201" y="209"/>
                    <a:pt x="226" y="196"/>
                  </a:cubicBezTo>
                  <a:cubicBezTo>
                    <a:pt x="235" y="191"/>
                    <a:pt x="245" y="186"/>
                    <a:pt x="255" y="180"/>
                  </a:cubicBezTo>
                  <a:cubicBezTo>
                    <a:pt x="283" y="165"/>
                    <a:pt x="295" y="142"/>
                    <a:pt x="306" y="119"/>
                  </a:cubicBezTo>
                  <a:cubicBezTo>
                    <a:pt x="311" y="111"/>
                    <a:pt x="316" y="102"/>
                    <a:pt x="321" y="94"/>
                  </a:cubicBezTo>
                  <a:cubicBezTo>
                    <a:pt x="349" y="53"/>
                    <a:pt x="389" y="25"/>
                    <a:pt x="430" y="0"/>
                  </a:cubicBezTo>
                  <a:cubicBezTo>
                    <a:pt x="430" y="0"/>
                    <a:pt x="430" y="0"/>
                    <a:pt x="431" y="0"/>
                  </a:cubicBezTo>
                  <a:cubicBezTo>
                    <a:pt x="441" y="7"/>
                    <a:pt x="451" y="12"/>
                    <a:pt x="461" y="18"/>
                  </a:cubicBezTo>
                  <a:cubicBezTo>
                    <a:pt x="474" y="30"/>
                    <a:pt x="486" y="45"/>
                    <a:pt x="501" y="55"/>
                  </a:cubicBezTo>
                  <a:cubicBezTo>
                    <a:pt x="529" y="71"/>
                    <a:pt x="532" y="55"/>
                    <a:pt x="550" y="37"/>
                  </a:cubicBezTo>
                  <a:cubicBezTo>
                    <a:pt x="581" y="4"/>
                    <a:pt x="606" y="32"/>
                    <a:pt x="639" y="51"/>
                  </a:cubicBezTo>
                  <a:cubicBezTo>
                    <a:pt x="674" y="71"/>
                    <a:pt x="707" y="79"/>
                    <a:pt x="713" y="122"/>
                  </a:cubicBezTo>
                  <a:cubicBezTo>
                    <a:pt x="721" y="167"/>
                    <a:pt x="695" y="183"/>
                    <a:pt x="654" y="190"/>
                  </a:cubicBezTo>
                  <a:cubicBezTo>
                    <a:pt x="623" y="193"/>
                    <a:pt x="621" y="178"/>
                    <a:pt x="618" y="150"/>
                  </a:cubicBezTo>
                  <a:cubicBezTo>
                    <a:pt x="616" y="135"/>
                    <a:pt x="623" y="96"/>
                    <a:pt x="600" y="97"/>
                  </a:cubicBezTo>
                  <a:cubicBezTo>
                    <a:pt x="568" y="102"/>
                    <a:pt x="568" y="155"/>
                    <a:pt x="581" y="172"/>
                  </a:cubicBezTo>
                  <a:cubicBezTo>
                    <a:pt x="595" y="186"/>
                    <a:pt x="606" y="193"/>
                    <a:pt x="609" y="213"/>
                  </a:cubicBezTo>
                  <a:cubicBezTo>
                    <a:pt x="614" y="231"/>
                    <a:pt x="608" y="252"/>
                    <a:pt x="611" y="270"/>
                  </a:cubicBezTo>
                  <a:cubicBezTo>
                    <a:pt x="618" y="310"/>
                    <a:pt x="644" y="348"/>
                    <a:pt x="669" y="379"/>
                  </a:cubicBezTo>
                  <a:cubicBezTo>
                    <a:pt x="692" y="412"/>
                    <a:pt x="715" y="448"/>
                    <a:pt x="753" y="466"/>
                  </a:cubicBezTo>
                  <a:cubicBezTo>
                    <a:pt x="794" y="486"/>
                    <a:pt x="825" y="480"/>
                    <a:pt x="868" y="485"/>
                  </a:cubicBezTo>
                  <a:cubicBezTo>
                    <a:pt x="914" y="490"/>
                    <a:pt x="939" y="521"/>
                    <a:pt x="947" y="564"/>
                  </a:cubicBezTo>
                  <a:cubicBezTo>
                    <a:pt x="955" y="607"/>
                    <a:pt x="942" y="635"/>
                    <a:pt x="911" y="666"/>
                  </a:cubicBezTo>
                  <a:cubicBezTo>
                    <a:pt x="876" y="699"/>
                    <a:pt x="845" y="712"/>
                    <a:pt x="842" y="766"/>
                  </a:cubicBezTo>
                  <a:cubicBezTo>
                    <a:pt x="840" y="809"/>
                    <a:pt x="860" y="852"/>
                    <a:pt x="861" y="895"/>
                  </a:cubicBezTo>
                  <a:cubicBezTo>
                    <a:pt x="863" y="916"/>
                    <a:pt x="853" y="933"/>
                    <a:pt x="868" y="951"/>
                  </a:cubicBezTo>
                  <a:cubicBezTo>
                    <a:pt x="880" y="966"/>
                    <a:pt x="896" y="974"/>
                    <a:pt x="908" y="990"/>
                  </a:cubicBezTo>
                  <a:cubicBezTo>
                    <a:pt x="921" y="1007"/>
                    <a:pt x="932" y="1015"/>
                    <a:pt x="950" y="1027"/>
                  </a:cubicBezTo>
                  <a:cubicBezTo>
                    <a:pt x="970" y="1040"/>
                    <a:pt x="972" y="1048"/>
                    <a:pt x="983" y="1066"/>
                  </a:cubicBezTo>
                  <a:cubicBezTo>
                    <a:pt x="1005" y="1099"/>
                    <a:pt x="1034" y="1079"/>
                    <a:pt x="1066" y="1089"/>
                  </a:cubicBezTo>
                  <a:cubicBezTo>
                    <a:pt x="1102" y="1099"/>
                    <a:pt x="1089" y="1127"/>
                    <a:pt x="1061" y="1135"/>
                  </a:cubicBezTo>
                  <a:cubicBezTo>
                    <a:pt x="1023" y="1147"/>
                    <a:pt x="1016" y="1147"/>
                    <a:pt x="1008" y="1191"/>
                  </a:cubicBezTo>
                  <a:cubicBezTo>
                    <a:pt x="1003" y="1226"/>
                    <a:pt x="995" y="1256"/>
                    <a:pt x="992" y="1290"/>
                  </a:cubicBezTo>
                  <a:cubicBezTo>
                    <a:pt x="988" y="1338"/>
                    <a:pt x="987" y="1369"/>
                    <a:pt x="1016" y="1406"/>
                  </a:cubicBezTo>
                  <a:cubicBezTo>
                    <a:pt x="1029" y="1420"/>
                    <a:pt x="1039" y="1440"/>
                    <a:pt x="1053" y="1452"/>
                  </a:cubicBezTo>
                  <a:cubicBezTo>
                    <a:pt x="1064" y="1463"/>
                    <a:pt x="1081" y="1466"/>
                    <a:pt x="1094" y="1476"/>
                  </a:cubicBezTo>
                  <a:cubicBezTo>
                    <a:pt x="1161" y="1534"/>
                    <a:pt x="1174" y="1651"/>
                    <a:pt x="1179" y="1733"/>
                  </a:cubicBezTo>
                  <a:cubicBezTo>
                    <a:pt x="1181" y="1783"/>
                    <a:pt x="1201" y="1831"/>
                    <a:pt x="1206" y="1880"/>
                  </a:cubicBezTo>
                  <a:cubicBezTo>
                    <a:pt x="1207" y="1915"/>
                    <a:pt x="1207" y="1948"/>
                    <a:pt x="1204" y="1980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53" name="Freeform 89">
              <a:extLst>
                <a:ext uri="{FF2B5EF4-FFF2-40B4-BE49-F238E27FC236}">
                  <a16:creationId xmlns:a16="http://schemas.microsoft.com/office/drawing/2014/main" id="{194ACEE1-A9B3-0346-A391-1C1F7CA0B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3525" y="2136775"/>
              <a:ext cx="141288" cy="173038"/>
            </a:xfrm>
            <a:custGeom>
              <a:avLst/>
              <a:gdLst>
                <a:gd name="T0" fmla="*/ 335 w 393"/>
                <a:gd name="T1" fmla="*/ 198 h 482"/>
                <a:gd name="T2" fmla="*/ 305 w 393"/>
                <a:gd name="T3" fmla="*/ 134 h 482"/>
                <a:gd name="T4" fmla="*/ 233 w 393"/>
                <a:gd name="T5" fmla="*/ 159 h 482"/>
                <a:gd name="T6" fmla="*/ 195 w 393"/>
                <a:gd name="T7" fmla="*/ 106 h 482"/>
                <a:gd name="T8" fmla="*/ 201 w 393"/>
                <a:gd name="T9" fmla="*/ 58 h 482"/>
                <a:gd name="T10" fmla="*/ 83 w 393"/>
                <a:gd name="T11" fmla="*/ 55 h 482"/>
                <a:gd name="T12" fmla="*/ 66 w 393"/>
                <a:gd name="T13" fmla="*/ 22 h 482"/>
                <a:gd name="T14" fmla="*/ 36 w 393"/>
                <a:gd name="T15" fmla="*/ 45 h 482"/>
                <a:gd name="T16" fmla="*/ 18 w 393"/>
                <a:gd name="T17" fmla="*/ 18 h 482"/>
                <a:gd name="T18" fmla="*/ 0 w 393"/>
                <a:gd name="T19" fmla="*/ 0 h 482"/>
                <a:gd name="T20" fmla="*/ 63 w 393"/>
                <a:gd name="T21" fmla="*/ 198 h 482"/>
                <a:gd name="T22" fmla="*/ 106 w 393"/>
                <a:gd name="T23" fmla="*/ 264 h 482"/>
                <a:gd name="T24" fmla="*/ 139 w 393"/>
                <a:gd name="T25" fmla="*/ 313 h 482"/>
                <a:gd name="T26" fmla="*/ 170 w 393"/>
                <a:gd name="T27" fmla="*/ 369 h 482"/>
                <a:gd name="T28" fmla="*/ 208 w 393"/>
                <a:gd name="T29" fmla="*/ 437 h 482"/>
                <a:gd name="T30" fmla="*/ 224 w 393"/>
                <a:gd name="T31" fmla="*/ 460 h 482"/>
                <a:gd name="T32" fmla="*/ 239 w 393"/>
                <a:gd name="T33" fmla="*/ 481 h 482"/>
                <a:gd name="T34" fmla="*/ 269 w 393"/>
                <a:gd name="T35" fmla="*/ 475 h 482"/>
                <a:gd name="T36" fmla="*/ 379 w 393"/>
                <a:gd name="T37" fmla="*/ 388 h 482"/>
                <a:gd name="T38" fmla="*/ 335 w 393"/>
                <a:gd name="T39" fmla="*/ 198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3" h="482">
                  <a:moveTo>
                    <a:pt x="335" y="198"/>
                  </a:moveTo>
                  <a:cubicBezTo>
                    <a:pt x="325" y="178"/>
                    <a:pt x="315" y="155"/>
                    <a:pt x="305" y="134"/>
                  </a:cubicBezTo>
                  <a:cubicBezTo>
                    <a:pt x="285" y="160"/>
                    <a:pt x="265" y="187"/>
                    <a:pt x="233" y="159"/>
                  </a:cubicBezTo>
                  <a:cubicBezTo>
                    <a:pt x="216" y="144"/>
                    <a:pt x="193" y="131"/>
                    <a:pt x="195" y="106"/>
                  </a:cubicBezTo>
                  <a:cubicBezTo>
                    <a:pt x="195" y="89"/>
                    <a:pt x="213" y="73"/>
                    <a:pt x="201" y="58"/>
                  </a:cubicBezTo>
                  <a:cubicBezTo>
                    <a:pt x="172" y="25"/>
                    <a:pt x="109" y="124"/>
                    <a:pt x="83" y="55"/>
                  </a:cubicBezTo>
                  <a:cubicBezTo>
                    <a:pt x="78" y="42"/>
                    <a:pt x="88" y="14"/>
                    <a:pt x="66" y="22"/>
                  </a:cubicBezTo>
                  <a:cubicBezTo>
                    <a:pt x="53" y="27"/>
                    <a:pt x="61" y="51"/>
                    <a:pt x="36" y="45"/>
                  </a:cubicBezTo>
                  <a:cubicBezTo>
                    <a:pt x="23" y="40"/>
                    <a:pt x="27" y="27"/>
                    <a:pt x="18" y="18"/>
                  </a:cubicBezTo>
                  <a:cubicBezTo>
                    <a:pt x="12" y="10"/>
                    <a:pt x="7" y="5"/>
                    <a:pt x="0" y="0"/>
                  </a:cubicBezTo>
                  <a:cubicBezTo>
                    <a:pt x="7" y="66"/>
                    <a:pt x="28" y="134"/>
                    <a:pt x="63" y="198"/>
                  </a:cubicBezTo>
                  <a:cubicBezTo>
                    <a:pt x="76" y="221"/>
                    <a:pt x="91" y="243"/>
                    <a:pt x="106" y="264"/>
                  </a:cubicBezTo>
                  <a:cubicBezTo>
                    <a:pt x="117" y="280"/>
                    <a:pt x="129" y="297"/>
                    <a:pt x="139" y="313"/>
                  </a:cubicBezTo>
                  <a:cubicBezTo>
                    <a:pt x="150" y="332"/>
                    <a:pt x="160" y="351"/>
                    <a:pt x="170" y="369"/>
                  </a:cubicBezTo>
                  <a:cubicBezTo>
                    <a:pt x="181" y="392"/>
                    <a:pt x="193" y="416"/>
                    <a:pt x="208" y="437"/>
                  </a:cubicBezTo>
                  <a:cubicBezTo>
                    <a:pt x="213" y="445"/>
                    <a:pt x="218" y="453"/>
                    <a:pt x="224" y="460"/>
                  </a:cubicBezTo>
                  <a:cubicBezTo>
                    <a:pt x="229" y="467"/>
                    <a:pt x="234" y="473"/>
                    <a:pt x="239" y="481"/>
                  </a:cubicBezTo>
                  <a:cubicBezTo>
                    <a:pt x="249" y="478"/>
                    <a:pt x="259" y="476"/>
                    <a:pt x="269" y="475"/>
                  </a:cubicBezTo>
                  <a:cubicBezTo>
                    <a:pt x="330" y="462"/>
                    <a:pt x="368" y="444"/>
                    <a:pt x="379" y="388"/>
                  </a:cubicBezTo>
                  <a:cubicBezTo>
                    <a:pt x="392" y="320"/>
                    <a:pt x="364" y="261"/>
                    <a:pt x="335" y="19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54" name="Freeform 90">
              <a:extLst>
                <a:ext uri="{FF2B5EF4-FFF2-40B4-BE49-F238E27FC236}">
                  <a16:creationId xmlns:a16="http://schemas.microsoft.com/office/drawing/2014/main" id="{1BA148D8-1D30-7546-B4C3-839A6FF3A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1938" y="1069975"/>
              <a:ext cx="88900" cy="149225"/>
            </a:xfrm>
            <a:custGeom>
              <a:avLst/>
              <a:gdLst>
                <a:gd name="T0" fmla="*/ 239 w 247"/>
                <a:gd name="T1" fmla="*/ 135 h 413"/>
                <a:gd name="T2" fmla="*/ 231 w 247"/>
                <a:gd name="T3" fmla="*/ 77 h 413"/>
                <a:gd name="T4" fmla="*/ 231 w 247"/>
                <a:gd name="T5" fmla="*/ 43 h 413"/>
                <a:gd name="T6" fmla="*/ 218 w 247"/>
                <a:gd name="T7" fmla="*/ 10 h 413"/>
                <a:gd name="T8" fmla="*/ 170 w 247"/>
                <a:gd name="T9" fmla="*/ 10 h 413"/>
                <a:gd name="T10" fmla="*/ 137 w 247"/>
                <a:gd name="T11" fmla="*/ 21 h 413"/>
                <a:gd name="T12" fmla="*/ 98 w 247"/>
                <a:gd name="T13" fmla="*/ 38 h 413"/>
                <a:gd name="T14" fmla="*/ 76 w 247"/>
                <a:gd name="T15" fmla="*/ 53 h 413"/>
                <a:gd name="T16" fmla="*/ 51 w 247"/>
                <a:gd name="T17" fmla="*/ 71 h 413"/>
                <a:gd name="T18" fmla="*/ 37 w 247"/>
                <a:gd name="T19" fmla="*/ 86 h 413"/>
                <a:gd name="T20" fmla="*/ 23 w 247"/>
                <a:gd name="T21" fmla="*/ 138 h 413"/>
                <a:gd name="T22" fmla="*/ 9 w 247"/>
                <a:gd name="T23" fmla="*/ 158 h 413"/>
                <a:gd name="T24" fmla="*/ 5 w 247"/>
                <a:gd name="T25" fmla="*/ 199 h 413"/>
                <a:gd name="T26" fmla="*/ 17 w 247"/>
                <a:gd name="T27" fmla="*/ 241 h 413"/>
                <a:gd name="T28" fmla="*/ 23 w 247"/>
                <a:gd name="T29" fmla="*/ 277 h 413"/>
                <a:gd name="T30" fmla="*/ 38 w 247"/>
                <a:gd name="T31" fmla="*/ 290 h 413"/>
                <a:gd name="T32" fmla="*/ 55 w 247"/>
                <a:gd name="T33" fmla="*/ 330 h 413"/>
                <a:gd name="T34" fmla="*/ 78 w 247"/>
                <a:gd name="T35" fmla="*/ 364 h 413"/>
                <a:gd name="T36" fmla="*/ 89 w 247"/>
                <a:gd name="T37" fmla="*/ 371 h 413"/>
                <a:gd name="T38" fmla="*/ 103 w 247"/>
                <a:gd name="T39" fmla="*/ 390 h 413"/>
                <a:gd name="T40" fmla="*/ 121 w 247"/>
                <a:gd name="T41" fmla="*/ 404 h 413"/>
                <a:gd name="T42" fmla="*/ 155 w 247"/>
                <a:gd name="T43" fmla="*/ 407 h 413"/>
                <a:gd name="T44" fmla="*/ 178 w 247"/>
                <a:gd name="T45" fmla="*/ 376 h 413"/>
                <a:gd name="T46" fmla="*/ 192 w 247"/>
                <a:gd name="T47" fmla="*/ 336 h 413"/>
                <a:gd name="T48" fmla="*/ 183 w 247"/>
                <a:gd name="T49" fmla="*/ 292 h 413"/>
                <a:gd name="T50" fmla="*/ 188 w 247"/>
                <a:gd name="T51" fmla="*/ 247 h 413"/>
                <a:gd name="T52" fmla="*/ 213 w 247"/>
                <a:gd name="T53" fmla="*/ 221 h 413"/>
                <a:gd name="T54" fmla="*/ 224 w 247"/>
                <a:gd name="T55" fmla="*/ 188 h 413"/>
                <a:gd name="T56" fmla="*/ 228 w 247"/>
                <a:gd name="T57" fmla="*/ 160 h 413"/>
                <a:gd name="T58" fmla="*/ 239 w 247"/>
                <a:gd name="T59" fmla="*/ 135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7" h="413">
                  <a:moveTo>
                    <a:pt x="239" y="135"/>
                  </a:moveTo>
                  <a:cubicBezTo>
                    <a:pt x="246" y="117"/>
                    <a:pt x="233" y="97"/>
                    <a:pt x="231" y="77"/>
                  </a:cubicBezTo>
                  <a:cubicBezTo>
                    <a:pt x="229" y="66"/>
                    <a:pt x="231" y="54"/>
                    <a:pt x="231" y="43"/>
                  </a:cubicBezTo>
                  <a:cubicBezTo>
                    <a:pt x="229" y="30"/>
                    <a:pt x="226" y="17"/>
                    <a:pt x="218" y="10"/>
                  </a:cubicBezTo>
                  <a:cubicBezTo>
                    <a:pt x="203" y="0"/>
                    <a:pt x="185" y="5"/>
                    <a:pt x="170" y="10"/>
                  </a:cubicBezTo>
                  <a:cubicBezTo>
                    <a:pt x="159" y="15"/>
                    <a:pt x="147" y="18"/>
                    <a:pt x="137" y="21"/>
                  </a:cubicBezTo>
                  <a:cubicBezTo>
                    <a:pt x="124" y="26"/>
                    <a:pt x="111" y="31"/>
                    <a:pt x="98" y="38"/>
                  </a:cubicBezTo>
                  <a:cubicBezTo>
                    <a:pt x="89" y="41"/>
                    <a:pt x="83" y="48"/>
                    <a:pt x="76" y="53"/>
                  </a:cubicBezTo>
                  <a:cubicBezTo>
                    <a:pt x="68" y="59"/>
                    <a:pt x="60" y="66"/>
                    <a:pt x="51" y="71"/>
                  </a:cubicBezTo>
                  <a:cubicBezTo>
                    <a:pt x="45" y="76"/>
                    <a:pt x="40" y="79"/>
                    <a:pt x="37" y="86"/>
                  </a:cubicBezTo>
                  <a:cubicBezTo>
                    <a:pt x="27" y="101"/>
                    <a:pt x="33" y="122"/>
                    <a:pt x="23" y="138"/>
                  </a:cubicBezTo>
                  <a:cubicBezTo>
                    <a:pt x="20" y="145"/>
                    <a:pt x="12" y="152"/>
                    <a:pt x="9" y="158"/>
                  </a:cubicBezTo>
                  <a:cubicBezTo>
                    <a:pt x="0" y="171"/>
                    <a:pt x="2" y="185"/>
                    <a:pt x="5" y="199"/>
                  </a:cubicBezTo>
                  <a:cubicBezTo>
                    <a:pt x="9" y="213"/>
                    <a:pt x="15" y="227"/>
                    <a:pt x="17" y="241"/>
                  </a:cubicBezTo>
                  <a:cubicBezTo>
                    <a:pt x="19" y="254"/>
                    <a:pt x="17" y="267"/>
                    <a:pt x="23" y="277"/>
                  </a:cubicBezTo>
                  <a:cubicBezTo>
                    <a:pt x="28" y="282"/>
                    <a:pt x="33" y="287"/>
                    <a:pt x="38" y="290"/>
                  </a:cubicBezTo>
                  <a:cubicBezTo>
                    <a:pt x="48" y="302"/>
                    <a:pt x="50" y="316"/>
                    <a:pt x="55" y="330"/>
                  </a:cubicBezTo>
                  <a:cubicBezTo>
                    <a:pt x="58" y="344"/>
                    <a:pt x="65" y="359"/>
                    <a:pt x="78" y="364"/>
                  </a:cubicBezTo>
                  <a:cubicBezTo>
                    <a:pt x="81" y="367"/>
                    <a:pt x="86" y="367"/>
                    <a:pt x="89" y="371"/>
                  </a:cubicBezTo>
                  <a:cubicBezTo>
                    <a:pt x="96" y="376"/>
                    <a:pt x="98" y="384"/>
                    <a:pt x="103" y="390"/>
                  </a:cubicBezTo>
                  <a:cubicBezTo>
                    <a:pt x="106" y="397"/>
                    <a:pt x="114" y="400"/>
                    <a:pt x="121" y="404"/>
                  </a:cubicBezTo>
                  <a:cubicBezTo>
                    <a:pt x="132" y="409"/>
                    <a:pt x="145" y="412"/>
                    <a:pt x="155" y="407"/>
                  </a:cubicBezTo>
                  <a:cubicBezTo>
                    <a:pt x="167" y="400"/>
                    <a:pt x="173" y="387"/>
                    <a:pt x="178" y="376"/>
                  </a:cubicBezTo>
                  <a:cubicBezTo>
                    <a:pt x="183" y="362"/>
                    <a:pt x="190" y="349"/>
                    <a:pt x="192" y="336"/>
                  </a:cubicBezTo>
                  <a:cubicBezTo>
                    <a:pt x="193" y="321"/>
                    <a:pt x="190" y="306"/>
                    <a:pt x="183" y="292"/>
                  </a:cubicBezTo>
                  <a:cubicBezTo>
                    <a:pt x="175" y="274"/>
                    <a:pt x="175" y="264"/>
                    <a:pt x="188" y="247"/>
                  </a:cubicBezTo>
                  <a:cubicBezTo>
                    <a:pt x="196" y="237"/>
                    <a:pt x="206" y="231"/>
                    <a:pt x="213" y="221"/>
                  </a:cubicBezTo>
                  <a:cubicBezTo>
                    <a:pt x="221" y="211"/>
                    <a:pt x="223" y="199"/>
                    <a:pt x="224" y="188"/>
                  </a:cubicBezTo>
                  <a:cubicBezTo>
                    <a:pt x="226" y="178"/>
                    <a:pt x="226" y="168"/>
                    <a:pt x="228" y="160"/>
                  </a:cubicBezTo>
                  <a:cubicBezTo>
                    <a:pt x="231" y="150"/>
                    <a:pt x="236" y="143"/>
                    <a:pt x="239" y="135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55" name="Freeform 91">
              <a:extLst>
                <a:ext uri="{FF2B5EF4-FFF2-40B4-BE49-F238E27FC236}">
                  <a16:creationId xmlns:a16="http://schemas.microsoft.com/office/drawing/2014/main" id="{B794EB76-8136-4943-88D0-27FFD8B5F7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34313" y="1582738"/>
              <a:ext cx="65087" cy="57150"/>
            </a:xfrm>
            <a:custGeom>
              <a:avLst/>
              <a:gdLst>
                <a:gd name="T0" fmla="*/ 154 w 179"/>
                <a:gd name="T1" fmla="*/ 113 h 160"/>
                <a:gd name="T2" fmla="*/ 175 w 179"/>
                <a:gd name="T3" fmla="*/ 71 h 160"/>
                <a:gd name="T4" fmla="*/ 175 w 179"/>
                <a:gd name="T5" fmla="*/ 54 h 160"/>
                <a:gd name="T6" fmla="*/ 162 w 179"/>
                <a:gd name="T7" fmla="*/ 46 h 160"/>
                <a:gd name="T8" fmla="*/ 150 w 179"/>
                <a:gd name="T9" fmla="*/ 31 h 160"/>
                <a:gd name="T10" fmla="*/ 132 w 179"/>
                <a:gd name="T11" fmla="*/ 8 h 160"/>
                <a:gd name="T12" fmla="*/ 91 w 179"/>
                <a:gd name="T13" fmla="*/ 16 h 160"/>
                <a:gd name="T14" fmla="*/ 78 w 179"/>
                <a:gd name="T15" fmla="*/ 26 h 160"/>
                <a:gd name="T16" fmla="*/ 73 w 179"/>
                <a:gd name="T17" fmla="*/ 31 h 160"/>
                <a:gd name="T18" fmla="*/ 58 w 179"/>
                <a:gd name="T19" fmla="*/ 41 h 160"/>
                <a:gd name="T20" fmla="*/ 37 w 179"/>
                <a:gd name="T21" fmla="*/ 52 h 160"/>
                <a:gd name="T22" fmla="*/ 7 w 179"/>
                <a:gd name="T23" fmla="*/ 85 h 160"/>
                <a:gd name="T24" fmla="*/ 0 w 179"/>
                <a:gd name="T25" fmla="*/ 105 h 160"/>
                <a:gd name="T26" fmla="*/ 17 w 179"/>
                <a:gd name="T27" fmla="*/ 145 h 160"/>
                <a:gd name="T28" fmla="*/ 25 w 179"/>
                <a:gd name="T29" fmla="*/ 155 h 160"/>
                <a:gd name="T30" fmla="*/ 55 w 179"/>
                <a:gd name="T31" fmla="*/ 155 h 160"/>
                <a:gd name="T32" fmla="*/ 154 w 179"/>
                <a:gd name="T33" fmla="*/ 11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9" h="160">
                  <a:moveTo>
                    <a:pt x="154" y="113"/>
                  </a:moveTo>
                  <a:cubicBezTo>
                    <a:pt x="163" y="100"/>
                    <a:pt x="170" y="85"/>
                    <a:pt x="175" y="71"/>
                  </a:cubicBezTo>
                  <a:cubicBezTo>
                    <a:pt x="177" y="66"/>
                    <a:pt x="178" y="59"/>
                    <a:pt x="175" y="54"/>
                  </a:cubicBezTo>
                  <a:cubicBezTo>
                    <a:pt x="172" y="51"/>
                    <a:pt x="167" y="49"/>
                    <a:pt x="162" y="46"/>
                  </a:cubicBezTo>
                  <a:cubicBezTo>
                    <a:pt x="157" y="43"/>
                    <a:pt x="154" y="36"/>
                    <a:pt x="150" y="31"/>
                  </a:cubicBezTo>
                  <a:cubicBezTo>
                    <a:pt x="145" y="23"/>
                    <a:pt x="140" y="15"/>
                    <a:pt x="132" y="8"/>
                  </a:cubicBezTo>
                  <a:cubicBezTo>
                    <a:pt x="117" y="0"/>
                    <a:pt x="102" y="10"/>
                    <a:pt x="91" y="16"/>
                  </a:cubicBezTo>
                  <a:cubicBezTo>
                    <a:pt x="86" y="19"/>
                    <a:pt x="81" y="23"/>
                    <a:pt x="78" y="26"/>
                  </a:cubicBezTo>
                  <a:cubicBezTo>
                    <a:pt x="76" y="28"/>
                    <a:pt x="74" y="29"/>
                    <a:pt x="73" y="31"/>
                  </a:cubicBezTo>
                  <a:cubicBezTo>
                    <a:pt x="66" y="36"/>
                    <a:pt x="66" y="39"/>
                    <a:pt x="58" y="41"/>
                  </a:cubicBezTo>
                  <a:cubicBezTo>
                    <a:pt x="50" y="44"/>
                    <a:pt x="43" y="47"/>
                    <a:pt x="37" y="52"/>
                  </a:cubicBezTo>
                  <a:cubicBezTo>
                    <a:pt x="25" y="61"/>
                    <a:pt x="14" y="72"/>
                    <a:pt x="7" y="85"/>
                  </a:cubicBezTo>
                  <a:cubicBezTo>
                    <a:pt x="4" y="92"/>
                    <a:pt x="0" y="99"/>
                    <a:pt x="0" y="105"/>
                  </a:cubicBezTo>
                  <a:cubicBezTo>
                    <a:pt x="0" y="120"/>
                    <a:pt x="9" y="133"/>
                    <a:pt x="17" y="145"/>
                  </a:cubicBezTo>
                  <a:cubicBezTo>
                    <a:pt x="20" y="148"/>
                    <a:pt x="22" y="153"/>
                    <a:pt x="25" y="155"/>
                  </a:cubicBezTo>
                  <a:cubicBezTo>
                    <a:pt x="35" y="159"/>
                    <a:pt x="45" y="158"/>
                    <a:pt x="55" y="155"/>
                  </a:cubicBezTo>
                  <a:cubicBezTo>
                    <a:pt x="86" y="146"/>
                    <a:pt x="134" y="140"/>
                    <a:pt x="154" y="11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56" name="Freeform 92">
              <a:extLst>
                <a:ext uri="{FF2B5EF4-FFF2-40B4-BE49-F238E27FC236}">
                  <a16:creationId xmlns:a16="http://schemas.microsoft.com/office/drawing/2014/main" id="{C78A62D8-6388-F347-AEB8-CCD7BCEAEE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36063" y="2582863"/>
              <a:ext cx="77787" cy="31750"/>
            </a:xfrm>
            <a:custGeom>
              <a:avLst/>
              <a:gdLst>
                <a:gd name="T0" fmla="*/ 0 w 216"/>
                <a:gd name="T1" fmla="*/ 43 h 87"/>
                <a:gd name="T2" fmla="*/ 10 w 216"/>
                <a:gd name="T3" fmla="*/ 28 h 87"/>
                <a:gd name="T4" fmla="*/ 23 w 216"/>
                <a:gd name="T5" fmla="*/ 20 h 87"/>
                <a:gd name="T6" fmla="*/ 32 w 216"/>
                <a:gd name="T7" fmla="*/ 8 h 87"/>
                <a:gd name="T8" fmla="*/ 45 w 216"/>
                <a:gd name="T9" fmla="*/ 2 h 87"/>
                <a:gd name="T10" fmla="*/ 53 w 216"/>
                <a:gd name="T11" fmla="*/ 13 h 87"/>
                <a:gd name="T12" fmla="*/ 70 w 216"/>
                <a:gd name="T13" fmla="*/ 27 h 87"/>
                <a:gd name="T14" fmla="*/ 93 w 216"/>
                <a:gd name="T15" fmla="*/ 30 h 87"/>
                <a:gd name="T16" fmla="*/ 144 w 216"/>
                <a:gd name="T17" fmla="*/ 32 h 87"/>
                <a:gd name="T18" fmla="*/ 152 w 216"/>
                <a:gd name="T19" fmla="*/ 32 h 87"/>
                <a:gd name="T20" fmla="*/ 167 w 216"/>
                <a:gd name="T21" fmla="*/ 22 h 87"/>
                <a:gd name="T22" fmla="*/ 191 w 216"/>
                <a:gd name="T23" fmla="*/ 23 h 87"/>
                <a:gd name="T24" fmla="*/ 195 w 216"/>
                <a:gd name="T25" fmla="*/ 30 h 87"/>
                <a:gd name="T26" fmla="*/ 206 w 216"/>
                <a:gd name="T27" fmla="*/ 40 h 87"/>
                <a:gd name="T28" fmla="*/ 213 w 216"/>
                <a:gd name="T29" fmla="*/ 51 h 87"/>
                <a:gd name="T30" fmla="*/ 203 w 216"/>
                <a:gd name="T31" fmla="*/ 58 h 87"/>
                <a:gd name="T32" fmla="*/ 190 w 216"/>
                <a:gd name="T33" fmla="*/ 63 h 87"/>
                <a:gd name="T34" fmla="*/ 185 w 216"/>
                <a:gd name="T35" fmla="*/ 68 h 87"/>
                <a:gd name="T36" fmla="*/ 152 w 216"/>
                <a:gd name="T37" fmla="*/ 74 h 87"/>
                <a:gd name="T38" fmla="*/ 135 w 216"/>
                <a:gd name="T39" fmla="*/ 84 h 87"/>
                <a:gd name="T40" fmla="*/ 122 w 216"/>
                <a:gd name="T41" fmla="*/ 84 h 87"/>
                <a:gd name="T42" fmla="*/ 30 w 216"/>
                <a:gd name="T43" fmla="*/ 73 h 87"/>
                <a:gd name="T44" fmla="*/ 17 w 216"/>
                <a:gd name="T45" fmla="*/ 69 h 87"/>
                <a:gd name="T46" fmla="*/ 0 w 216"/>
                <a:gd name="T47" fmla="*/ 4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6" h="87">
                  <a:moveTo>
                    <a:pt x="0" y="43"/>
                  </a:moveTo>
                  <a:cubicBezTo>
                    <a:pt x="2" y="36"/>
                    <a:pt x="5" y="32"/>
                    <a:pt x="10" y="28"/>
                  </a:cubicBezTo>
                  <a:cubicBezTo>
                    <a:pt x="14" y="25"/>
                    <a:pt x="20" y="25"/>
                    <a:pt x="23" y="20"/>
                  </a:cubicBezTo>
                  <a:cubicBezTo>
                    <a:pt x="28" y="17"/>
                    <a:pt x="29" y="13"/>
                    <a:pt x="32" y="8"/>
                  </a:cubicBezTo>
                  <a:cubicBezTo>
                    <a:pt x="34" y="4"/>
                    <a:pt x="40" y="0"/>
                    <a:pt x="45" y="2"/>
                  </a:cubicBezTo>
                  <a:cubicBezTo>
                    <a:pt x="50" y="4"/>
                    <a:pt x="50" y="8"/>
                    <a:pt x="53" y="13"/>
                  </a:cubicBezTo>
                  <a:cubicBezTo>
                    <a:pt x="56" y="20"/>
                    <a:pt x="63" y="25"/>
                    <a:pt x="70" y="27"/>
                  </a:cubicBezTo>
                  <a:cubicBezTo>
                    <a:pt x="78" y="28"/>
                    <a:pt x="86" y="30"/>
                    <a:pt x="93" y="30"/>
                  </a:cubicBezTo>
                  <a:cubicBezTo>
                    <a:pt x="111" y="30"/>
                    <a:pt x="127" y="32"/>
                    <a:pt x="144" y="32"/>
                  </a:cubicBezTo>
                  <a:cubicBezTo>
                    <a:pt x="147" y="32"/>
                    <a:pt x="150" y="32"/>
                    <a:pt x="152" y="32"/>
                  </a:cubicBezTo>
                  <a:cubicBezTo>
                    <a:pt x="159" y="30"/>
                    <a:pt x="162" y="25"/>
                    <a:pt x="167" y="22"/>
                  </a:cubicBezTo>
                  <a:cubicBezTo>
                    <a:pt x="173" y="17"/>
                    <a:pt x="187" y="17"/>
                    <a:pt x="191" y="23"/>
                  </a:cubicBezTo>
                  <a:cubicBezTo>
                    <a:pt x="193" y="27"/>
                    <a:pt x="193" y="28"/>
                    <a:pt x="195" y="30"/>
                  </a:cubicBezTo>
                  <a:cubicBezTo>
                    <a:pt x="198" y="35"/>
                    <a:pt x="203" y="36"/>
                    <a:pt x="206" y="40"/>
                  </a:cubicBezTo>
                  <a:cubicBezTo>
                    <a:pt x="211" y="41"/>
                    <a:pt x="215" y="46"/>
                    <a:pt x="213" y="51"/>
                  </a:cubicBezTo>
                  <a:cubicBezTo>
                    <a:pt x="211" y="55"/>
                    <a:pt x="208" y="58"/>
                    <a:pt x="203" y="58"/>
                  </a:cubicBezTo>
                  <a:cubicBezTo>
                    <a:pt x="198" y="60"/>
                    <a:pt x="195" y="60"/>
                    <a:pt x="190" y="63"/>
                  </a:cubicBezTo>
                  <a:cubicBezTo>
                    <a:pt x="188" y="64"/>
                    <a:pt x="187" y="66"/>
                    <a:pt x="185" y="68"/>
                  </a:cubicBezTo>
                  <a:cubicBezTo>
                    <a:pt x="177" y="76"/>
                    <a:pt x="163" y="69"/>
                    <a:pt x="152" y="74"/>
                  </a:cubicBezTo>
                  <a:cubicBezTo>
                    <a:pt x="147" y="76"/>
                    <a:pt x="142" y="83"/>
                    <a:pt x="135" y="84"/>
                  </a:cubicBezTo>
                  <a:cubicBezTo>
                    <a:pt x="131" y="86"/>
                    <a:pt x="126" y="84"/>
                    <a:pt x="122" y="84"/>
                  </a:cubicBezTo>
                  <a:cubicBezTo>
                    <a:pt x="91" y="78"/>
                    <a:pt x="61" y="74"/>
                    <a:pt x="30" y="73"/>
                  </a:cubicBezTo>
                  <a:cubicBezTo>
                    <a:pt x="25" y="71"/>
                    <a:pt x="20" y="71"/>
                    <a:pt x="17" y="69"/>
                  </a:cubicBezTo>
                  <a:cubicBezTo>
                    <a:pt x="9" y="66"/>
                    <a:pt x="0" y="51"/>
                    <a:pt x="0" y="4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57" name="Freeform 93">
              <a:extLst>
                <a:ext uri="{FF2B5EF4-FFF2-40B4-BE49-F238E27FC236}">
                  <a16:creationId xmlns:a16="http://schemas.microsoft.com/office/drawing/2014/main" id="{FCAB13A4-D1DF-3D46-8298-B75990BD0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9663" y="2425700"/>
              <a:ext cx="46037" cy="100013"/>
            </a:xfrm>
            <a:custGeom>
              <a:avLst/>
              <a:gdLst>
                <a:gd name="T0" fmla="*/ 97 w 126"/>
                <a:gd name="T1" fmla="*/ 129 h 278"/>
                <a:gd name="T2" fmla="*/ 95 w 126"/>
                <a:gd name="T3" fmla="*/ 99 h 278"/>
                <a:gd name="T4" fmla="*/ 112 w 126"/>
                <a:gd name="T5" fmla="*/ 76 h 278"/>
                <a:gd name="T6" fmla="*/ 117 w 126"/>
                <a:gd name="T7" fmla="*/ 73 h 278"/>
                <a:gd name="T8" fmla="*/ 118 w 126"/>
                <a:gd name="T9" fmla="*/ 46 h 278"/>
                <a:gd name="T10" fmla="*/ 95 w 126"/>
                <a:gd name="T11" fmla="*/ 28 h 278"/>
                <a:gd name="T12" fmla="*/ 79 w 126"/>
                <a:gd name="T13" fmla="*/ 13 h 278"/>
                <a:gd name="T14" fmla="*/ 56 w 126"/>
                <a:gd name="T15" fmla="*/ 3 h 278"/>
                <a:gd name="T16" fmla="*/ 33 w 126"/>
                <a:gd name="T17" fmla="*/ 5 h 278"/>
                <a:gd name="T18" fmla="*/ 23 w 126"/>
                <a:gd name="T19" fmla="*/ 15 h 278"/>
                <a:gd name="T20" fmla="*/ 9 w 126"/>
                <a:gd name="T21" fmla="*/ 28 h 278"/>
                <a:gd name="T22" fmla="*/ 16 w 126"/>
                <a:gd name="T23" fmla="*/ 53 h 278"/>
                <a:gd name="T24" fmla="*/ 16 w 126"/>
                <a:gd name="T25" fmla="*/ 99 h 278"/>
                <a:gd name="T26" fmla="*/ 5 w 126"/>
                <a:gd name="T27" fmla="*/ 117 h 278"/>
                <a:gd name="T28" fmla="*/ 1 w 126"/>
                <a:gd name="T29" fmla="*/ 138 h 278"/>
                <a:gd name="T30" fmla="*/ 16 w 126"/>
                <a:gd name="T31" fmla="*/ 157 h 278"/>
                <a:gd name="T32" fmla="*/ 54 w 126"/>
                <a:gd name="T33" fmla="*/ 198 h 278"/>
                <a:gd name="T34" fmla="*/ 67 w 126"/>
                <a:gd name="T35" fmla="*/ 217 h 278"/>
                <a:gd name="T36" fmla="*/ 70 w 126"/>
                <a:gd name="T37" fmla="*/ 242 h 278"/>
                <a:gd name="T38" fmla="*/ 80 w 126"/>
                <a:gd name="T39" fmla="*/ 259 h 278"/>
                <a:gd name="T40" fmla="*/ 80 w 126"/>
                <a:gd name="T41" fmla="*/ 265 h 278"/>
                <a:gd name="T42" fmla="*/ 87 w 126"/>
                <a:gd name="T43" fmla="*/ 270 h 278"/>
                <a:gd name="T44" fmla="*/ 108 w 126"/>
                <a:gd name="T45" fmla="*/ 270 h 278"/>
                <a:gd name="T46" fmla="*/ 107 w 126"/>
                <a:gd name="T47" fmla="*/ 255 h 278"/>
                <a:gd name="T48" fmla="*/ 98 w 126"/>
                <a:gd name="T49" fmla="*/ 244 h 278"/>
                <a:gd name="T50" fmla="*/ 98 w 126"/>
                <a:gd name="T51" fmla="*/ 224 h 278"/>
                <a:gd name="T52" fmla="*/ 98 w 126"/>
                <a:gd name="T53" fmla="*/ 199 h 278"/>
                <a:gd name="T54" fmla="*/ 92 w 126"/>
                <a:gd name="T55" fmla="*/ 181 h 278"/>
                <a:gd name="T56" fmla="*/ 97 w 126"/>
                <a:gd name="T57" fmla="*/ 160 h 278"/>
                <a:gd name="T58" fmla="*/ 97 w 126"/>
                <a:gd name="T59" fmla="*/ 12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6" h="278">
                  <a:moveTo>
                    <a:pt x="97" y="129"/>
                  </a:moveTo>
                  <a:cubicBezTo>
                    <a:pt x="95" y="119"/>
                    <a:pt x="93" y="108"/>
                    <a:pt x="95" y="99"/>
                  </a:cubicBezTo>
                  <a:cubicBezTo>
                    <a:pt x="97" y="90"/>
                    <a:pt x="102" y="81"/>
                    <a:pt x="112" y="76"/>
                  </a:cubicBezTo>
                  <a:cubicBezTo>
                    <a:pt x="113" y="76"/>
                    <a:pt x="115" y="74"/>
                    <a:pt x="117" y="73"/>
                  </a:cubicBezTo>
                  <a:cubicBezTo>
                    <a:pt x="125" y="68"/>
                    <a:pt x="125" y="54"/>
                    <a:pt x="118" y="46"/>
                  </a:cubicBezTo>
                  <a:cubicBezTo>
                    <a:pt x="112" y="38"/>
                    <a:pt x="102" y="35"/>
                    <a:pt x="95" y="28"/>
                  </a:cubicBezTo>
                  <a:cubicBezTo>
                    <a:pt x="89" y="23"/>
                    <a:pt x="85" y="18"/>
                    <a:pt x="79" y="13"/>
                  </a:cubicBezTo>
                  <a:cubicBezTo>
                    <a:pt x="72" y="8"/>
                    <a:pt x="64" y="7"/>
                    <a:pt x="56" y="3"/>
                  </a:cubicBezTo>
                  <a:cubicBezTo>
                    <a:pt x="47" y="2"/>
                    <a:pt x="37" y="0"/>
                    <a:pt x="33" y="5"/>
                  </a:cubicBezTo>
                  <a:cubicBezTo>
                    <a:pt x="28" y="7"/>
                    <a:pt x="26" y="12"/>
                    <a:pt x="23" y="15"/>
                  </a:cubicBezTo>
                  <a:cubicBezTo>
                    <a:pt x="19" y="20"/>
                    <a:pt x="13" y="23"/>
                    <a:pt x="9" y="28"/>
                  </a:cubicBezTo>
                  <a:cubicBezTo>
                    <a:pt x="6" y="36"/>
                    <a:pt x="13" y="44"/>
                    <a:pt x="16" y="53"/>
                  </a:cubicBezTo>
                  <a:cubicBezTo>
                    <a:pt x="24" y="66"/>
                    <a:pt x="24" y="84"/>
                    <a:pt x="16" y="99"/>
                  </a:cubicBezTo>
                  <a:cubicBezTo>
                    <a:pt x="13" y="105"/>
                    <a:pt x="8" y="112"/>
                    <a:pt x="5" y="117"/>
                  </a:cubicBezTo>
                  <a:cubicBezTo>
                    <a:pt x="1" y="124"/>
                    <a:pt x="0" y="132"/>
                    <a:pt x="1" y="138"/>
                  </a:cubicBezTo>
                  <a:cubicBezTo>
                    <a:pt x="5" y="147"/>
                    <a:pt x="9" y="152"/>
                    <a:pt x="16" y="157"/>
                  </a:cubicBezTo>
                  <a:cubicBezTo>
                    <a:pt x="29" y="168"/>
                    <a:pt x="41" y="183"/>
                    <a:pt x="54" y="198"/>
                  </a:cubicBezTo>
                  <a:cubicBezTo>
                    <a:pt x="59" y="204"/>
                    <a:pt x="64" y="210"/>
                    <a:pt x="67" y="217"/>
                  </a:cubicBezTo>
                  <a:cubicBezTo>
                    <a:pt x="70" y="225"/>
                    <a:pt x="72" y="234"/>
                    <a:pt x="70" y="242"/>
                  </a:cubicBezTo>
                  <a:cubicBezTo>
                    <a:pt x="77" y="245"/>
                    <a:pt x="80" y="252"/>
                    <a:pt x="80" y="259"/>
                  </a:cubicBezTo>
                  <a:cubicBezTo>
                    <a:pt x="80" y="262"/>
                    <a:pt x="80" y="264"/>
                    <a:pt x="80" y="265"/>
                  </a:cubicBezTo>
                  <a:cubicBezTo>
                    <a:pt x="82" y="269"/>
                    <a:pt x="84" y="269"/>
                    <a:pt x="87" y="270"/>
                  </a:cubicBezTo>
                  <a:cubicBezTo>
                    <a:pt x="93" y="273"/>
                    <a:pt x="103" y="277"/>
                    <a:pt x="108" y="270"/>
                  </a:cubicBezTo>
                  <a:cubicBezTo>
                    <a:pt x="110" y="267"/>
                    <a:pt x="110" y="260"/>
                    <a:pt x="107" y="255"/>
                  </a:cubicBezTo>
                  <a:cubicBezTo>
                    <a:pt x="103" y="252"/>
                    <a:pt x="100" y="249"/>
                    <a:pt x="98" y="244"/>
                  </a:cubicBezTo>
                  <a:cubicBezTo>
                    <a:pt x="95" y="237"/>
                    <a:pt x="95" y="231"/>
                    <a:pt x="98" y="224"/>
                  </a:cubicBezTo>
                  <a:cubicBezTo>
                    <a:pt x="103" y="214"/>
                    <a:pt x="102" y="211"/>
                    <a:pt x="98" y="199"/>
                  </a:cubicBezTo>
                  <a:cubicBezTo>
                    <a:pt x="95" y="194"/>
                    <a:pt x="92" y="188"/>
                    <a:pt x="92" y="181"/>
                  </a:cubicBezTo>
                  <a:cubicBezTo>
                    <a:pt x="92" y="175"/>
                    <a:pt x="95" y="166"/>
                    <a:pt x="97" y="160"/>
                  </a:cubicBezTo>
                  <a:cubicBezTo>
                    <a:pt x="98" y="150"/>
                    <a:pt x="98" y="138"/>
                    <a:pt x="97" y="129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58" name="Freeform 94">
              <a:extLst>
                <a:ext uri="{FF2B5EF4-FFF2-40B4-BE49-F238E27FC236}">
                  <a16:creationId xmlns:a16="http://schemas.microsoft.com/office/drawing/2014/main" id="{DC9A05D2-6B49-C546-9B73-D6576F3053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7013" y="3384550"/>
              <a:ext cx="42862" cy="125413"/>
            </a:xfrm>
            <a:custGeom>
              <a:avLst/>
              <a:gdLst>
                <a:gd name="T0" fmla="*/ 75 w 119"/>
                <a:gd name="T1" fmla="*/ 34 h 350"/>
                <a:gd name="T2" fmla="*/ 92 w 119"/>
                <a:gd name="T3" fmla="*/ 38 h 350"/>
                <a:gd name="T4" fmla="*/ 105 w 119"/>
                <a:gd name="T5" fmla="*/ 51 h 350"/>
                <a:gd name="T6" fmla="*/ 99 w 119"/>
                <a:gd name="T7" fmla="*/ 69 h 350"/>
                <a:gd name="T8" fmla="*/ 87 w 119"/>
                <a:gd name="T9" fmla="*/ 74 h 350"/>
                <a:gd name="T10" fmla="*/ 77 w 119"/>
                <a:gd name="T11" fmla="*/ 102 h 350"/>
                <a:gd name="T12" fmla="*/ 92 w 119"/>
                <a:gd name="T13" fmla="*/ 130 h 350"/>
                <a:gd name="T14" fmla="*/ 99 w 119"/>
                <a:gd name="T15" fmla="*/ 138 h 350"/>
                <a:gd name="T16" fmla="*/ 99 w 119"/>
                <a:gd name="T17" fmla="*/ 156 h 350"/>
                <a:gd name="T18" fmla="*/ 113 w 119"/>
                <a:gd name="T19" fmla="*/ 171 h 350"/>
                <a:gd name="T20" fmla="*/ 117 w 119"/>
                <a:gd name="T21" fmla="*/ 193 h 350"/>
                <a:gd name="T22" fmla="*/ 107 w 119"/>
                <a:gd name="T23" fmla="*/ 275 h 350"/>
                <a:gd name="T24" fmla="*/ 102 w 119"/>
                <a:gd name="T25" fmla="*/ 305 h 350"/>
                <a:gd name="T26" fmla="*/ 115 w 119"/>
                <a:gd name="T27" fmla="*/ 329 h 350"/>
                <a:gd name="T28" fmla="*/ 117 w 119"/>
                <a:gd name="T29" fmla="*/ 334 h 350"/>
                <a:gd name="T30" fmla="*/ 110 w 119"/>
                <a:gd name="T31" fmla="*/ 339 h 350"/>
                <a:gd name="T32" fmla="*/ 75 w 119"/>
                <a:gd name="T33" fmla="*/ 346 h 350"/>
                <a:gd name="T34" fmla="*/ 61 w 119"/>
                <a:gd name="T35" fmla="*/ 346 h 350"/>
                <a:gd name="T36" fmla="*/ 47 w 119"/>
                <a:gd name="T37" fmla="*/ 323 h 350"/>
                <a:gd name="T38" fmla="*/ 16 w 119"/>
                <a:gd name="T39" fmla="*/ 305 h 350"/>
                <a:gd name="T40" fmla="*/ 23 w 119"/>
                <a:gd name="T41" fmla="*/ 288 h 350"/>
                <a:gd name="T42" fmla="*/ 33 w 119"/>
                <a:gd name="T43" fmla="*/ 273 h 350"/>
                <a:gd name="T44" fmla="*/ 36 w 119"/>
                <a:gd name="T45" fmla="*/ 254 h 350"/>
                <a:gd name="T46" fmla="*/ 51 w 119"/>
                <a:gd name="T47" fmla="*/ 239 h 350"/>
                <a:gd name="T48" fmla="*/ 51 w 119"/>
                <a:gd name="T49" fmla="*/ 199 h 350"/>
                <a:gd name="T50" fmla="*/ 44 w 119"/>
                <a:gd name="T51" fmla="*/ 176 h 350"/>
                <a:gd name="T52" fmla="*/ 33 w 119"/>
                <a:gd name="T53" fmla="*/ 165 h 350"/>
                <a:gd name="T54" fmla="*/ 39 w 119"/>
                <a:gd name="T55" fmla="*/ 94 h 350"/>
                <a:gd name="T56" fmla="*/ 52 w 119"/>
                <a:gd name="T57" fmla="*/ 99 h 350"/>
                <a:gd name="T58" fmla="*/ 66 w 119"/>
                <a:gd name="T59" fmla="*/ 95 h 350"/>
                <a:gd name="T60" fmla="*/ 59 w 119"/>
                <a:gd name="T61" fmla="*/ 82 h 350"/>
                <a:gd name="T62" fmla="*/ 44 w 119"/>
                <a:gd name="T63" fmla="*/ 76 h 350"/>
                <a:gd name="T64" fmla="*/ 41 w 119"/>
                <a:gd name="T65" fmla="*/ 74 h 350"/>
                <a:gd name="T66" fmla="*/ 39 w 119"/>
                <a:gd name="T67" fmla="*/ 71 h 350"/>
                <a:gd name="T68" fmla="*/ 41 w 119"/>
                <a:gd name="T69" fmla="*/ 51 h 350"/>
                <a:gd name="T70" fmla="*/ 46 w 119"/>
                <a:gd name="T71" fmla="*/ 21 h 350"/>
                <a:gd name="T72" fmla="*/ 75 w 119"/>
                <a:gd name="T73" fmla="*/ 3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9" h="350">
                  <a:moveTo>
                    <a:pt x="75" y="34"/>
                  </a:moveTo>
                  <a:cubicBezTo>
                    <a:pt x="80" y="36"/>
                    <a:pt x="87" y="36"/>
                    <a:pt x="92" y="38"/>
                  </a:cubicBezTo>
                  <a:cubicBezTo>
                    <a:pt x="99" y="39"/>
                    <a:pt x="104" y="44"/>
                    <a:pt x="105" y="51"/>
                  </a:cubicBezTo>
                  <a:cubicBezTo>
                    <a:pt x="106" y="58"/>
                    <a:pt x="103" y="64"/>
                    <a:pt x="99" y="69"/>
                  </a:cubicBezTo>
                  <a:cubicBezTo>
                    <a:pt x="95" y="71"/>
                    <a:pt x="90" y="72"/>
                    <a:pt x="87" y="74"/>
                  </a:cubicBezTo>
                  <a:cubicBezTo>
                    <a:pt x="79" y="81"/>
                    <a:pt x="75" y="92"/>
                    <a:pt x="77" y="102"/>
                  </a:cubicBezTo>
                  <a:cubicBezTo>
                    <a:pt x="79" y="112"/>
                    <a:pt x="85" y="122"/>
                    <a:pt x="92" y="130"/>
                  </a:cubicBezTo>
                  <a:cubicBezTo>
                    <a:pt x="95" y="132"/>
                    <a:pt x="97" y="135"/>
                    <a:pt x="99" y="138"/>
                  </a:cubicBezTo>
                  <a:cubicBezTo>
                    <a:pt x="100" y="145"/>
                    <a:pt x="97" y="151"/>
                    <a:pt x="99" y="156"/>
                  </a:cubicBezTo>
                  <a:cubicBezTo>
                    <a:pt x="100" y="163"/>
                    <a:pt x="109" y="165"/>
                    <a:pt x="113" y="171"/>
                  </a:cubicBezTo>
                  <a:cubicBezTo>
                    <a:pt x="118" y="177"/>
                    <a:pt x="117" y="184"/>
                    <a:pt x="117" y="193"/>
                  </a:cubicBezTo>
                  <a:cubicBezTo>
                    <a:pt x="115" y="219"/>
                    <a:pt x="113" y="247"/>
                    <a:pt x="107" y="275"/>
                  </a:cubicBezTo>
                  <a:cubicBezTo>
                    <a:pt x="103" y="283"/>
                    <a:pt x="100" y="293"/>
                    <a:pt x="102" y="305"/>
                  </a:cubicBezTo>
                  <a:cubicBezTo>
                    <a:pt x="103" y="313"/>
                    <a:pt x="108" y="323"/>
                    <a:pt x="115" y="329"/>
                  </a:cubicBezTo>
                  <a:cubicBezTo>
                    <a:pt x="117" y="331"/>
                    <a:pt x="117" y="333"/>
                    <a:pt x="117" y="334"/>
                  </a:cubicBezTo>
                  <a:cubicBezTo>
                    <a:pt x="118" y="338"/>
                    <a:pt x="113" y="339"/>
                    <a:pt x="110" y="339"/>
                  </a:cubicBezTo>
                  <a:cubicBezTo>
                    <a:pt x="99" y="343"/>
                    <a:pt x="87" y="344"/>
                    <a:pt x="75" y="346"/>
                  </a:cubicBezTo>
                  <a:cubicBezTo>
                    <a:pt x="71" y="347"/>
                    <a:pt x="64" y="349"/>
                    <a:pt x="61" y="346"/>
                  </a:cubicBezTo>
                  <a:cubicBezTo>
                    <a:pt x="52" y="341"/>
                    <a:pt x="54" y="329"/>
                    <a:pt x="47" y="323"/>
                  </a:cubicBezTo>
                  <a:cubicBezTo>
                    <a:pt x="39" y="313"/>
                    <a:pt x="19" y="316"/>
                    <a:pt x="16" y="305"/>
                  </a:cubicBezTo>
                  <a:cubicBezTo>
                    <a:pt x="15" y="298"/>
                    <a:pt x="18" y="293"/>
                    <a:pt x="23" y="288"/>
                  </a:cubicBezTo>
                  <a:cubicBezTo>
                    <a:pt x="26" y="283"/>
                    <a:pt x="31" y="280"/>
                    <a:pt x="33" y="273"/>
                  </a:cubicBezTo>
                  <a:cubicBezTo>
                    <a:pt x="36" y="267"/>
                    <a:pt x="33" y="260"/>
                    <a:pt x="36" y="254"/>
                  </a:cubicBezTo>
                  <a:cubicBezTo>
                    <a:pt x="39" y="249"/>
                    <a:pt x="47" y="245"/>
                    <a:pt x="51" y="239"/>
                  </a:cubicBezTo>
                  <a:cubicBezTo>
                    <a:pt x="61" y="229"/>
                    <a:pt x="54" y="212"/>
                    <a:pt x="51" y="199"/>
                  </a:cubicBezTo>
                  <a:cubicBezTo>
                    <a:pt x="49" y="191"/>
                    <a:pt x="47" y="183"/>
                    <a:pt x="44" y="176"/>
                  </a:cubicBezTo>
                  <a:cubicBezTo>
                    <a:pt x="41" y="171"/>
                    <a:pt x="36" y="168"/>
                    <a:pt x="33" y="165"/>
                  </a:cubicBezTo>
                  <a:cubicBezTo>
                    <a:pt x="19" y="150"/>
                    <a:pt x="0" y="87"/>
                    <a:pt x="39" y="94"/>
                  </a:cubicBezTo>
                  <a:cubicBezTo>
                    <a:pt x="44" y="94"/>
                    <a:pt x="47" y="97"/>
                    <a:pt x="52" y="99"/>
                  </a:cubicBezTo>
                  <a:cubicBezTo>
                    <a:pt x="57" y="100"/>
                    <a:pt x="64" y="100"/>
                    <a:pt x="66" y="95"/>
                  </a:cubicBezTo>
                  <a:cubicBezTo>
                    <a:pt x="67" y="90"/>
                    <a:pt x="64" y="86"/>
                    <a:pt x="59" y="82"/>
                  </a:cubicBezTo>
                  <a:cubicBezTo>
                    <a:pt x="56" y="79"/>
                    <a:pt x="49" y="74"/>
                    <a:pt x="44" y="76"/>
                  </a:cubicBezTo>
                  <a:cubicBezTo>
                    <a:pt x="43" y="76"/>
                    <a:pt x="41" y="76"/>
                    <a:pt x="41" y="74"/>
                  </a:cubicBezTo>
                  <a:cubicBezTo>
                    <a:pt x="39" y="74"/>
                    <a:pt x="39" y="72"/>
                    <a:pt x="39" y="71"/>
                  </a:cubicBezTo>
                  <a:cubicBezTo>
                    <a:pt x="36" y="62"/>
                    <a:pt x="39" y="59"/>
                    <a:pt x="41" y="51"/>
                  </a:cubicBezTo>
                  <a:cubicBezTo>
                    <a:pt x="44" y="41"/>
                    <a:pt x="41" y="30"/>
                    <a:pt x="46" y="21"/>
                  </a:cubicBezTo>
                  <a:cubicBezTo>
                    <a:pt x="57" y="0"/>
                    <a:pt x="67" y="28"/>
                    <a:pt x="75" y="34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59" name="Freeform 95">
              <a:extLst>
                <a:ext uri="{FF2B5EF4-FFF2-40B4-BE49-F238E27FC236}">
                  <a16:creationId xmlns:a16="http://schemas.microsoft.com/office/drawing/2014/main" id="{C03DC89D-578F-1A4A-86E9-7F506E8013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85263" y="3424238"/>
              <a:ext cx="19050" cy="20637"/>
            </a:xfrm>
            <a:custGeom>
              <a:avLst/>
              <a:gdLst>
                <a:gd name="T0" fmla="*/ 46 w 51"/>
                <a:gd name="T1" fmla="*/ 18 h 57"/>
                <a:gd name="T2" fmla="*/ 48 w 51"/>
                <a:gd name="T3" fmla="*/ 15 h 57"/>
                <a:gd name="T4" fmla="*/ 27 w 51"/>
                <a:gd name="T5" fmla="*/ 0 h 57"/>
                <a:gd name="T6" fmla="*/ 14 w 51"/>
                <a:gd name="T7" fmla="*/ 3 h 57"/>
                <a:gd name="T8" fmla="*/ 10 w 51"/>
                <a:gd name="T9" fmla="*/ 13 h 57"/>
                <a:gd name="T10" fmla="*/ 4 w 51"/>
                <a:gd name="T11" fmla="*/ 25 h 57"/>
                <a:gd name="T12" fmla="*/ 25 w 51"/>
                <a:gd name="T13" fmla="*/ 46 h 57"/>
                <a:gd name="T14" fmla="*/ 30 w 51"/>
                <a:gd name="T15" fmla="*/ 30 h 57"/>
                <a:gd name="T16" fmla="*/ 46 w 51"/>
                <a:gd name="T17" fmla="*/ 1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7">
                  <a:moveTo>
                    <a:pt x="46" y="18"/>
                  </a:moveTo>
                  <a:cubicBezTo>
                    <a:pt x="46" y="16"/>
                    <a:pt x="48" y="16"/>
                    <a:pt x="48" y="15"/>
                  </a:cubicBezTo>
                  <a:cubicBezTo>
                    <a:pt x="50" y="5"/>
                    <a:pt x="33" y="2"/>
                    <a:pt x="27" y="0"/>
                  </a:cubicBezTo>
                  <a:cubicBezTo>
                    <a:pt x="22" y="0"/>
                    <a:pt x="17" y="0"/>
                    <a:pt x="14" y="3"/>
                  </a:cubicBezTo>
                  <a:cubicBezTo>
                    <a:pt x="12" y="6"/>
                    <a:pt x="10" y="10"/>
                    <a:pt x="10" y="13"/>
                  </a:cubicBezTo>
                  <a:cubicBezTo>
                    <a:pt x="9" y="16"/>
                    <a:pt x="4" y="20"/>
                    <a:pt x="4" y="25"/>
                  </a:cubicBezTo>
                  <a:cubicBezTo>
                    <a:pt x="0" y="34"/>
                    <a:pt x="14" y="56"/>
                    <a:pt x="25" y="46"/>
                  </a:cubicBezTo>
                  <a:cubicBezTo>
                    <a:pt x="30" y="43"/>
                    <a:pt x="28" y="34"/>
                    <a:pt x="30" y="30"/>
                  </a:cubicBezTo>
                  <a:cubicBezTo>
                    <a:pt x="33" y="23"/>
                    <a:pt x="42" y="21"/>
                    <a:pt x="46" y="1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60" name="Freeform 96">
              <a:extLst>
                <a:ext uri="{FF2B5EF4-FFF2-40B4-BE49-F238E27FC236}">
                  <a16:creationId xmlns:a16="http://schemas.microsoft.com/office/drawing/2014/main" id="{09E1F56D-FCE0-4A4E-9A61-27A2F6CE8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9875" y="3565525"/>
              <a:ext cx="25400" cy="38100"/>
            </a:xfrm>
            <a:custGeom>
              <a:avLst/>
              <a:gdLst>
                <a:gd name="T0" fmla="*/ 23 w 70"/>
                <a:gd name="T1" fmla="*/ 87 h 108"/>
                <a:gd name="T2" fmla="*/ 13 w 70"/>
                <a:gd name="T3" fmla="*/ 72 h 108"/>
                <a:gd name="T4" fmla="*/ 11 w 70"/>
                <a:gd name="T5" fmla="*/ 63 h 108"/>
                <a:gd name="T6" fmla="*/ 5 w 70"/>
                <a:gd name="T7" fmla="*/ 49 h 108"/>
                <a:gd name="T8" fmla="*/ 8 w 70"/>
                <a:gd name="T9" fmla="*/ 7 h 108"/>
                <a:gd name="T10" fmla="*/ 11 w 70"/>
                <a:gd name="T11" fmla="*/ 2 h 108"/>
                <a:gd name="T12" fmla="*/ 19 w 70"/>
                <a:gd name="T13" fmla="*/ 5 h 108"/>
                <a:gd name="T14" fmla="*/ 23 w 70"/>
                <a:gd name="T15" fmla="*/ 15 h 108"/>
                <a:gd name="T16" fmla="*/ 41 w 70"/>
                <a:gd name="T17" fmla="*/ 35 h 108"/>
                <a:gd name="T18" fmla="*/ 51 w 70"/>
                <a:gd name="T19" fmla="*/ 38 h 108"/>
                <a:gd name="T20" fmla="*/ 56 w 70"/>
                <a:gd name="T21" fmla="*/ 44 h 108"/>
                <a:gd name="T22" fmla="*/ 56 w 70"/>
                <a:gd name="T23" fmla="*/ 53 h 108"/>
                <a:gd name="T24" fmla="*/ 59 w 70"/>
                <a:gd name="T25" fmla="*/ 56 h 108"/>
                <a:gd name="T26" fmla="*/ 65 w 70"/>
                <a:gd name="T27" fmla="*/ 77 h 108"/>
                <a:gd name="T28" fmla="*/ 47 w 70"/>
                <a:gd name="T29" fmla="*/ 100 h 108"/>
                <a:gd name="T30" fmla="*/ 23 w 70"/>
                <a:gd name="T31" fmla="*/ 8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0" h="108">
                  <a:moveTo>
                    <a:pt x="23" y="87"/>
                  </a:moveTo>
                  <a:cubicBezTo>
                    <a:pt x="19" y="84"/>
                    <a:pt x="14" y="79"/>
                    <a:pt x="13" y="72"/>
                  </a:cubicBezTo>
                  <a:cubicBezTo>
                    <a:pt x="11" y="69"/>
                    <a:pt x="11" y="66"/>
                    <a:pt x="11" y="63"/>
                  </a:cubicBezTo>
                  <a:cubicBezTo>
                    <a:pt x="9" y="58"/>
                    <a:pt x="6" y="54"/>
                    <a:pt x="5" y="49"/>
                  </a:cubicBezTo>
                  <a:cubicBezTo>
                    <a:pt x="0" y="35"/>
                    <a:pt x="1" y="20"/>
                    <a:pt x="8" y="7"/>
                  </a:cubicBezTo>
                  <a:cubicBezTo>
                    <a:pt x="9" y="5"/>
                    <a:pt x="9" y="3"/>
                    <a:pt x="11" y="2"/>
                  </a:cubicBezTo>
                  <a:cubicBezTo>
                    <a:pt x="14" y="0"/>
                    <a:pt x="18" y="3"/>
                    <a:pt x="19" y="5"/>
                  </a:cubicBezTo>
                  <a:cubicBezTo>
                    <a:pt x="21" y="8"/>
                    <a:pt x="21" y="12"/>
                    <a:pt x="23" y="15"/>
                  </a:cubicBezTo>
                  <a:cubicBezTo>
                    <a:pt x="24" y="25"/>
                    <a:pt x="33" y="33"/>
                    <a:pt x="41" y="35"/>
                  </a:cubicBezTo>
                  <a:cubicBezTo>
                    <a:pt x="44" y="36"/>
                    <a:pt x="47" y="36"/>
                    <a:pt x="51" y="38"/>
                  </a:cubicBezTo>
                  <a:cubicBezTo>
                    <a:pt x="52" y="38"/>
                    <a:pt x="56" y="41"/>
                    <a:pt x="56" y="44"/>
                  </a:cubicBezTo>
                  <a:cubicBezTo>
                    <a:pt x="56" y="48"/>
                    <a:pt x="54" y="51"/>
                    <a:pt x="56" y="53"/>
                  </a:cubicBezTo>
                  <a:cubicBezTo>
                    <a:pt x="57" y="54"/>
                    <a:pt x="57" y="54"/>
                    <a:pt x="59" y="56"/>
                  </a:cubicBezTo>
                  <a:cubicBezTo>
                    <a:pt x="65" y="61"/>
                    <a:pt x="69" y="71"/>
                    <a:pt x="65" y="77"/>
                  </a:cubicBezTo>
                  <a:cubicBezTo>
                    <a:pt x="62" y="84"/>
                    <a:pt x="52" y="97"/>
                    <a:pt x="47" y="100"/>
                  </a:cubicBezTo>
                  <a:cubicBezTo>
                    <a:pt x="36" y="107"/>
                    <a:pt x="31" y="96"/>
                    <a:pt x="23" y="8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61" name="Freeform 97">
              <a:extLst>
                <a:ext uri="{FF2B5EF4-FFF2-40B4-BE49-F238E27FC236}">
                  <a16:creationId xmlns:a16="http://schemas.microsoft.com/office/drawing/2014/main" id="{804D5F71-9829-8B46-963C-49C8A1A4BD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0513" y="3654425"/>
              <a:ext cx="15875" cy="25400"/>
            </a:xfrm>
            <a:custGeom>
              <a:avLst/>
              <a:gdLst>
                <a:gd name="T0" fmla="*/ 36 w 42"/>
                <a:gd name="T1" fmla="*/ 4 h 72"/>
                <a:gd name="T2" fmla="*/ 34 w 42"/>
                <a:gd name="T3" fmla="*/ 2 h 72"/>
                <a:gd name="T4" fmla="*/ 31 w 42"/>
                <a:gd name="T5" fmla="*/ 0 h 72"/>
                <a:gd name="T6" fmla="*/ 18 w 42"/>
                <a:gd name="T7" fmla="*/ 7 h 72"/>
                <a:gd name="T8" fmla="*/ 13 w 42"/>
                <a:gd name="T9" fmla="*/ 22 h 72"/>
                <a:gd name="T10" fmla="*/ 23 w 42"/>
                <a:gd name="T11" fmla="*/ 56 h 72"/>
                <a:gd name="T12" fmla="*/ 36 w 42"/>
                <a:gd name="T13" fmla="*/ 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72">
                  <a:moveTo>
                    <a:pt x="36" y="4"/>
                  </a:moveTo>
                  <a:cubicBezTo>
                    <a:pt x="34" y="4"/>
                    <a:pt x="34" y="2"/>
                    <a:pt x="34" y="2"/>
                  </a:cubicBezTo>
                  <a:cubicBezTo>
                    <a:pt x="33" y="0"/>
                    <a:pt x="31" y="0"/>
                    <a:pt x="31" y="0"/>
                  </a:cubicBezTo>
                  <a:cubicBezTo>
                    <a:pt x="26" y="0"/>
                    <a:pt x="21" y="3"/>
                    <a:pt x="18" y="7"/>
                  </a:cubicBezTo>
                  <a:cubicBezTo>
                    <a:pt x="14" y="11"/>
                    <a:pt x="13" y="17"/>
                    <a:pt x="13" y="22"/>
                  </a:cubicBezTo>
                  <a:cubicBezTo>
                    <a:pt x="9" y="32"/>
                    <a:pt x="0" y="71"/>
                    <a:pt x="23" y="56"/>
                  </a:cubicBezTo>
                  <a:cubicBezTo>
                    <a:pt x="39" y="45"/>
                    <a:pt x="41" y="22"/>
                    <a:pt x="36" y="4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62" name="Freeform 98">
              <a:extLst>
                <a:ext uri="{FF2B5EF4-FFF2-40B4-BE49-F238E27FC236}">
                  <a16:creationId xmlns:a16="http://schemas.microsoft.com/office/drawing/2014/main" id="{C32A8F81-CFE6-E141-9B1F-0852307F8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25" y="3757613"/>
              <a:ext cx="20638" cy="12700"/>
            </a:xfrm>
            <a:custGeom>
              <a:avLst/>
              <a:gdLst>
                <a:gd name="T0" fmla="*/ 53 w 57"/>
                <a:gd name="T1" fmla="*/ 28 h 36"/>
                <a:gd name="T2" fmla="*/ 55 w 57"/>
                <a:gd name="T3" fmla="*/ 20 h 36"/>
                <a:gd name="T4" fmla="*/ 55 w 57"/>
                <a:gd name="T5" fmla="*/ 14 h 36"/>
                <a:gd name="T6" fmla="*/ 50 w 57"/>
                <a:gd name="T7" fmla="*/ 9 h 36"/>
                <a:gd name="T8" fmla="*/ 33 w 57"/>
                <a:gd name="T9" fmla="*/ 0 h 36"/>
                <a:gd name="T10" fmla="*/ 12 w 57"/>
                <a:gd name="T11" fmla="*/ 27 h 36"/>
                <a:gd name="T12" fmla="*/ 35 w 57"/>
                <a:gd name="T13" fmla="*/ 35 h 36"/>
                <a:gd name="T14" fmla="*/ 51 w 57"/>
                <a:gd name="T15" fmla="*/ 32 h 36"/>
                <a:gd name="T16" fmla="*/ 53 w 57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36">
                  <a:moveTo>
                    <a:pt x="53" y="28"/>
                  </a:moveTo>
                  <a:cubicBezTo>
                    <a:pt x="55" y="25"/>
                    <a:pt x="55" y="23"/>
                    <a:pt x="55" y="20"/>
                  </a:cubicBezTo>
                  <a:cubicBezTo>
                    <a:pt x="55" y="19"/>
                    <a:pt x="56" y="17"/>
                    <a:pt x="55" y="14"/>
                  </a:cubicBezTo>
                  <a:cubicBezTo>
                    <a:pt x="53" y="12"/>
                    <a:pt x="51" y="10"/>
                    <a:pt x="50" y="9"/>
                  </a:cubicBezTo>
                  <a:cubicBezTo>
                    <a:pt x="45" y="5"/>
                    <a:pt x="40" y="0"/>
                    <a:pt x="33" y="0"/>
                  </a:cubicBezTo>
                  <a:cubicBezTo>
                    <a:pt x="20" y="0"/>
                    <a:pt x="0" y="12"/>
                    <a:pt x="12" y="27"/>
                  </a:cubicBezTo>
                  <a:cubicBezTo>
                    <a:pt x="17" y="33"/>
                    <a:pt x="27" y="35"/>
                    <a:pt x="35" y="35"/>
                  </a:cubicBezTo>
                  <a:cubicBezTo>
                    <a:pt x="41" y="35"/>
                    <a:pt x="46" y="35"/>
                    <a:pt x="51" y="32"/>
                  </a:cubicBezTo>
                  <a:cubicBezTo>
                    <a:pt x="51" y="30"/>
                    <a:pt x="53" y="30"/>
                    <a:pt x="53" y="2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63" name="Freeform 99">
              <a:extLst>
                <a:ext uri="{FF2B5EF4-FFF2-40B4-BE49-F238E27FC236}">
                  <a16:creationId xmlns:a16="http://schemas.microsoft.com/office/drawing/2014/main" id="{3D74B11A-08BD-044E-ADCC-160769015C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15438" y="3792538"/>
              <a:ext cx="9525" cy="15875"/>
            </a:xfrm>
            <a:custGeom>
              <a:avLst/>
              <a:gdLst>
                <a:gd name="T0" fmla="*/ 23 w 28"/>
                <a:gd name="T1" fmla="*/ 18 h 45"/>
                <a:gd name="T2" fmla="*/ 27 w 28"/>
                <a:gd name="T3" fmla="*/ 11 h 45"/>
                <a:gd name="T4" fmla="*/ 25 w 28"/>
                <a:gd name="T5" fmla="*/ 8 h 45"/>
                <a:gd name="T6" fmla="*/ 20 w 28"/>
                <a:gd name="T7" fmla="*/ 3 h 45"/>
                <a:gd name="T8" fmla="*/ 18 w 28"/>
                <a:gd name="T9" fmla="*/ 1 h 45"/>
                <a:gd name="T10" fmla="*/ 15 w 28"/>
                <a:gd name="T11" fmla="*/ 1 h 45"/>
                <a:gd name="T12" fmla="*/ 5 w 28"/>
                <a:gd name="T13" fmla="*/ 6 h 45"/>
                <a:gd name="T14" fmla="*/ 2 w 28"/>
                <a:gd name="T15" fmla="*/ 8 h 45"/>
                <a:gd name="T16" fmla="*/ 2 w 28"/>
                <a:gd name="T17" fmla="*/ 11 h 45"/>
                <a:gd name="T18" fmla="*/ 0 w 28"/>
                <a:gd name="T19" fmla="*/ 26 h 45"/>
                <a:gd name="T20" fmla="*/ 10 w 28"/>
                <a:gd name="T21" fmla="*/ 42 h 45"/>
                <a:gd name="T22" fmla="*/ 23 w 28"/>
                <a:gd name="T23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45">
                  <a:moveTo>
                    <a:pt x="23" y="18"/>
                  </a:moveTo>
                  <a:cubicBezTo>
                    <a:pt x="25" y="16"/>
                    <a:pt x="27" y="14"/>
                    <a:pt x="27" y="11"/>
                  </a:cubicBezTo>
                  <a:cubicBezTo>
                    <a:pt x="25" y="11"/>
                    <a:pt x="25" y="10"/>
                    <a:pt x="25" y="8"/>
                  </a:cubicBezTo>
                  <a:cubicBezTo>
                    <a:pt x="23" y="6"/>
                    <a:pt x="22" y="5"/>
                    <a:pt x="20" y="3"/>
                  </a:cubicBezTo>
                  <a:cubicBezTo>
                    <a:pt x="20" y="1"/>
                    <a:pt x="18" y="1"/>
                    <a:pt x="18" y="1"/>
                  </a:cubicBezTo>
                  <a:cubicBezTo>
                    <a:pt x="17" y="0"/>
                    <a:pt x="17" y="1"/>
                    <a:pt x="15" y="1"/>
                  </a:cubicBezTo>
                  <a:cubicBezTo>
                    <a:pt x="12" y="3"/>
                    <a:pt x="8" y="5"/>
                    <a:pt x="5" y="6"/>
                  </a:cubicBezTo>
                  <a:cubicBezTo>
                    <a:pt x="3" y="6"/>
                    <a:pt x="2" y="6"/>
                    <a:pt x="2" y="8"/>
                  </a:cubicBezTo>
                  <a:cubicBezTo>
                    <a:pt x="2" y="8"/>
                    <a:pt x="2" y="10"/>
                    <a:pt x="2" y="11"/>
                  </a:cubicBezTo>
                  <a:cubicBezTo>
                    <a:pt x="2" y="16"/>
                    <a:pt x="0" y="21"/>
                    <a:pt x="0" y="26"/>
                  </a:cubicBezTo>
                  <a:cubicBezTo>
                    <a:pt x="0" y="33"/>
                    <a:pt x="0" y="44"/>
                    <a:pt x="10" y="42"/>
                  </a:cubicBezTo>
                  <a:cubicBezTo>
                    <a:pt x="20" y="41"/>
                    <a:pt x="18" y="24"/>
                    <a:pt x="23" y="1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64" name="Freeform 100">
              <a:extLst>
                <a:ext uri="{FF2B5EF4-FFF2-40B4-BE49-F238E27FC236}">
                  <a16:creationId xmlns:a16="http://schemas.microsoft.com/office/drawing/2014/main" id="{71F1D0A6-DA81-2E4E-8D13-1DC63FE440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13850" y="3852863"/>
              <a:ext cx="12700" cy="15875"/>
            </a:xfrm>
            <a:custGeom>
              <a:avLst/>
              <a:gdLst>
                <a:gd name="T0" fmla="*/ 35 w 37"/>
                <a:gd name="T1" fmla="*/ 15 h 44"/>
                <a:gd name="T2" fmla="*/ 28 w 37"/>
                <a:gd name="T3" fmla="*/ 2 h 44"/>
                <a:gd name="T4" fmla="*/ 23 w 37"/>
                <a:gd name="T5" fmla="*/ 0 h 44"/>
                <a:gd name="T6" fmla="*/ 20 w 37"/>
                <a:gd name="T7" fmla="*/ 2 h 44"/>
                <a:gd name="T8" fmla="*/ 15 w 37"/>
                <a:gd name="T9" fmla="*/ 7 h 44"/>
                <a:gd name="T10" fmla="*/ 10 w 37"/>
                <a:gd name="T11" fmla="*/ 13 h 44"/>
                <a:gd name="T12" fmla="*/ 5 w 37"/>
                <a:gd name="T13" fmla="*/ 38 h 44"/>
                <a:gd name="T14" fmla="*/ 15 w 37"/>
                <a:gd name="T15" fmla="*/ 38 h 44"/>
                <a:gd name="T16" fmla="*/ 35 w 37"/>
                <a:gd name="T17" fmla="*/ 26 h 44"/>
                <a:gd name="T18" fmla="*/ 35 w 37"/>
                <a:gd name="T19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44">
                  <a:moveTo>
                    <a:pt x="35" y="15"/>
                  </a:moveTo>
                  <a:cubicBezTo>
                    <a:pt x="33" y="12"/>
                    <a:pt x="32" y="7"/>
                    <a:pt x="28" y="2"/>
                  </a:cubicBezTo>
                  <a:cubicBezTo>
                    <a:pt x="27" y="0"/>
                    <a:pt x="25" y="0"/>
                    <a:pt x="23" y="0"/>
                  </a:cubicBezTo>
                  <a:cubicBezTo>
                    <a:pt x="22" y="0"/>
                    <a:pt x="20" y="2"/>
                    <a:pt x="20" y="2"/>
                  </a:cubicBezTo>
                  <a:cubicBezTo>
                    <a:pt x="18" y="3"/>
                    <a:pt x="15" y="5"/>
                    <a:pt x="15" y="7"/>
                  </a:cubicBezTo>
                  <a:cubicBezTo>
                    <a:pt x="13" y="8"/>
                    <a:pt x="12" y="12"/>
                    <a:pt x="10" y="13"/>
                  </a:cubicBezTo>
                  <a:cubicBezTo>
                    <a:pt x="7" y="20"/>
                    <a:pt x="0" y="31"/>
                    <a:pt x="5" y="38"/>
                  </a:cubicBezTo>
                  <a:cubicBezTo>
                    <a:pt x="8" y="43"/>
                    <a:pt x="12" y="40"/>
                    <a:pt x="15" y="38"/>
                  </a:cubicBezTo>
                  <a:cubicBezTo>
                    <a:pt x="22" y="35"/>
                    <a:pt x="30" y="33"/>
                    <a:pt x="35" y="26"/>
                  </a:cubicBezTo>
                  <a:cubicBezTo>
                    <a:pt x="36" y="23"/>
                    <a:pt x="36" y="20"/>
                    <a:pt x="35" y="15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65" name="Freeform 101">
              <a:extLst>
                <a:ext uri="{FF2B5EF4-FFF2-40B4-BE49-F238E27FC236}">
                  <a16:creationId xmlns:a16="http://schemas.microsoft.com/office/drawing/2014/main" id="{F13CCF5C-F9BE-4049-98B0-D13E6C1BD5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13850" y="3892550"/>
              <a:ext cx="22225" cy="58738"/>
            </a:xfrm>
            <a:custGeom>
              <a:avLst/>
              <a:gdLst>
                <a:gd name="T0" fmla="*/ 32 w 60"/>
                <a:gd name="T1" fmla="*/ 142 h 163"/>
                <a:gd name="T2" fmla="*/ 42 w 60"/>
                <a:gd name="T3" fmla="*/ 125 h 163"/>
                <a:gd name="T4" fmla="*/ 49 w 60"/>
                <a:gd name="T5" fmla="*/ 122 h 163"/>
                <a:gd name="T6" fmla="*/ 57 w 60"/>
                <a:gd name="T7" fmla="*/ 105 h 163"/>
                <a:gd name="T8" fmla="*/ 56 w 60"/>
                <a:gd name="T9" fmla="*/ 68 h 163"/>
                <a:gd name="T10" fmla="*/ 52 w 60"/>
                <a:gd name="T11" fmla="*/ 53 h 163"/>
                <a:gd name="T12" fmla="*/ 42 w 60"/>
                <a:gd name="T13" fmla="*/ 38 h 163"/>
                <a:gd name="T14" fmla="*/ 41 w 60"/>
                <a:gd name="T15" fmla="*/ 23 h 163"/>
                <a:gd name="T16" fmla="*/ 39 w 60"/>
                <a:gd name="T17" fmla="*/ 8 h 163"/>
                <a:gd name="T18" fmla="*/ 34 w 60"/>
                <a:gd name="T19" fmla="*/ 5 h 163"/>
                <a:gd name="T20" fmla="*/ 23 w 60"/>
                <a:gd name="T21" fmla="*/ 0 h 163"/>
                <a:gd name="T22" fmla="*/ 18 w 60"/>
                <a:gd name="T23" fmla="*/ 0 h 163"/>
                <a:gd name="T24" fmla="*/ 14 w 60"/>
                <a:gd name="T25" fmla="*/ 8 h 163"/>
                <a:gd name="T26" fmla="*/ 14 w 60"/>
                <a:gd name="T27" fmla="*/ 23 h 163"/>
                <a:gd name="T28" fmla="*/ 16 w 60"/>
                <a:gd name="T29" fmla="*/ 40 h 163"/>
                <a:gd name="T30" fmla="*/ 21 w 60"/>
                <a:gd name="T31" fmla="*/ 53 h 163"/>
                <a:gd name="T32" fmla="*/ 24 w 60"/>
                <a:gd name="T33" fmla="*/ 58 h 163"/>
                <a:gd name="T34" fmla="*/ 24 w 60"/>
                <a:gd name="T35" fmla="*/ 61 h 163"/>
                <a:gd name="T36" fmla="*/ 18 w 60"/>
                <a:gd name="T37" fmla="*/ 112 h 163"/>
                <a:gd name="T38" fmla="*/ 14 w 60"/>
                <a:gd name="T39" fmla="*/ 119 h 163"/>
                <a:gd name="T40" fmla="*/ 8 w 60"/>
                <a:gd name="T41" fmla="*/ 124 h 163"/>
                <a:gd name="T42" fmla="*/ 1 w 60"/>
                <a:gd name="T43" fmla="*/ 140 h 163"/>
                <a:gd name="T44" fmla="*/ 11 w 60"/>
                <a:gd name="T45" fmla="*/ 155 h 163"/>
                <a:gd name="T46" fmla="*/ 29 w 60"/>
                <a:gd name="T47" fmla="*/ 158 h 163"/>
                <a:gd name="T48" fmla="*/ 32 w 60"/>
                <a:gd name="T49" fmla="*/ 14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163">
                  <a:moveTo>
                    <a:pt x="32" y="142"/>
                  </a:moveTo>
                  <a:cubicBezTo>
                    <a:pt x="34" y="135"/>
                    <a:pt x="37" y="129"/>
                    <a:pt x="42" y="125"/>
                  </a:cubicBezTo>
                  <a:cubicBezTo>
                    <a:pt x="44" y="124"/>
                    <a:pt x="47" y="122"/>
                    <a:pt x="49" y="122"/>
                  </a:cubicBezTo>
                  <a:cubicBezTo>
                    <a:pt x="54" y="117"/>
                    <a:pt x="56" y="112"/>
                    <a:pt x="57" y="105"/>
                  </a:cubicBezTo>
                  <a:cubicBezTo>
                    <a:pt x="59" y="92"/>
                    <a:pt x="57" y="81"/>
                    <a:pt x="56" y="68"/>
                  </a:cubicBezTo>
                  <a:cubicBezTo>
                    <a:pt x="56" y="63"/>
                    <a:pt x="54" y="58"/>
                    <a:pt x="52" y="53"/>
                  </a:cubicBezTo>
                  <a:cubicBezTo>
                    <a:pt x="49" y="46"/>
                    <a:pt x="46" y="43"/>
                    <a:pt x="42" y="38"/>
                  </a:cubicBezTo>
                  <a:cubicBezTo>
                    <a:pt x="41" y="33"/>
                    <a:pt x="41" y="28"/>
                    <a:pt x="41" y="23"/>
                  </a:cubicBezTo>
                  <a:cubicBezTo>
                    <a:pt x="41" y="18"/>
                    <a:pt x="42" y="12"/>
                    <a:pt x="39" y="8"/>
                  </a:cubicBezTo>
                  <a:cubicBezTo>
                    <a:pt x="37" y="7"/>
                    <a:pt x="36" y="5"/>
                    <a:pt x="34" y="5"/>
                  </a:cubicBezTo>
                  <a:cubicBezTo>
                    <a:pt x="31" y="2"/>
                    <a:pt x="28" y="2"/>
                    <a:pt x="23" y="0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6" y="2"/>
                    <a:pt x="16" y="7"/>
                    <a:pt x="14" y="8"/>
                  </a:cubicBezTo>
                  <a:cubicBezTo>
                    <a:pt x="14" y="13"/>
                    <a:pt x="14" y="18"/>
                    <a:pt x="14" y="23"/>
                  </a:cubicBezTo>
                  <a:cubicBezTo>
                    <a:pt x="14" y="28"/>
                    <a:pt x="14" y="35"/>
                    <a:pt x="16" y="40"/>
                  </a:cubicBezTo>
                  <a:cubicBezTo>
                    <a:pt x="16" y="45"/>
                    <a:pt x="18" y="49"/>
                    <a:pt x="21" y="53"/>
                  </a:cubicBezTo>
                  <a:cubicBezTo>
                    <a:pt x="23" y="54"/>
                    <a:pt x="23" y="56"/>
                    <a:pt x="24" y="58"/>
                  </a:cubicBezTo>
                  <a:cubicBezTo>
                    <a:pt x="24" y="58"/>
                    <a:pt x="24" y="59"/>
                    <a:pt x="24" y="61"/>
                  </a:cubicBezTo>
                  <a:cubicBezTo>
                    <a:pt x="28" y="79"/>
                    <a:pt x="23" y="96"/>
                    <a:pt x="18" y="112"/>
                  </a:cubicBezTo>
                  <a:cubicBezTo>
                    <a:pt x="16" y="115"/>
                    <a:pt x="16" y="117"/>
                    <a:pt x="14" y="119"/>
                  </a:cubicBezTo>
                  <a:cubicBezTo>
                    <a:pt x="13" y="122"/>
                    <a:pt x="9" y="122"/>
                    <a:pt x="8" y="124"/>
                  </a:cubicBezTo>
                  <a:cubicBezTo>
                    <a:pt x="3" y="127"/>
                    <a:pt x="0" y="134"/>
                    <a:pt x="1" y="140"/>
                  </a:cubicBezTo>
                  <a:cubicBezTo>
                    <a:pt x="1" y="147"/>
                    <a:pt x="4" y="152"/>
                    <a:pt x="11" y="155"/>
                  </a:cubicBezTo>
                  <a:cubicBezTo>
                    <a:pt x="14" y="157"/>
                    <a:pt x="26" y="162"/>
                    <a:pt x="29" y="158"/>
                  </a:cubicBezTo>
                  <a:cubicBezTo>
                    <a:pt x="34" y="155"/>
                    <a:pt x="32" y="147"/>
                    <a:pt x="32" y="14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66" name="Freeform 102">
              <a:extLst>
                <a:ext uri="{FF2B5EF4-FFF2-40B4-BE49-F238E27FC236}">
                  <a16:creationId xmlns:a16="http://schemas.microsoft.com/office/drawing/2014/main" id="{65ABA265-7672-8B43-A580-9CAB15F775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7338" y="4051300"/>
              <a:ext cx="30162" cy="104775"/>
            </a:xfrm>
            <a:custGeom>
              <a:avLst/>
              <a:gdLst>
                <a:gd name="T0" fmla="*/ 39 w 83"/>
                <a:gd name="T1" fmla="*/ 284 h 291"/>
                <a:gd name="T2" fmla="*/ 59 w 83"/>
                <a:gd name="T3" fmla="*/ 252 h 291"/>
                <a:gd name="T4" fmla="*/ 69 w 83"/>
                <a:gd name="T5" fmla="*/ 148 h 291"/>
                <a:gd name="T6" fmla="*/ 77 w 83"/>
                <a:gd name="T7" fmla="*/ 124 h 291"/>
                <a:gd name="T8" fmla="*/ 75 w 83"/>
                <a:gd name="T9" fmla="*/ 51 h 291"/>
                <a:gd name="T10" fmla="*/ 79 w 83"/>
                <a:gd name="T11" fmla="*/ 23 h 291"/>
                <a:gd name="T12" fmla="*/ 79 w 83"/>
                <a:gd name="T13" fmla="*/ 8 h 291"/>
                <a:gd name="T14" fmla="*/ 69 w 83"/>
                <a:gd name="T15" fmla="*/ 0 h 291"/>
                <a:gd name="T16" fmla="*/ 59 w 83"/>
                <a:gd name="T17" fmla="*/ 7 h 291"/>
                <a:gd name="T18" fmla="*/ 54 w 83"/>
                <a:gd name="T19" fmla="*/ 18 h 291"/>
                <a:gd name="T20" fmla="*/ 43 w 83"/>
                <a:gd name="T21" fmla="*/ 35 h 291"/>
                <a:gd name="T22" fmla="*/ 29 w 83"/>
                <a:gd name="T23" fmla="*/ 66 h 291"/>
                <a:gd name="T24" fmla="*/ 29 w 83"/>
                <a:gd name="T25" fmla="*/ 107 h 291"/>
                <a:gd name="T26" fmla="*/ 31 w 83"/>
                <a:gd name="T27" fmla="*/ 152 h 291"/>
                <a:gd name="T28" fmla="*/ 1 w 83"/>
                <a:gd name="T29" fmla="*/ 239 h 291"/>
                <a:gd name="T30" fmla="*/ 39 w 83"/>
                <a:gd name="T31" fmla="*/ 28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291">
                  <a:moveTo>
                    <a:pt x="39" y="284"/>
                  </a:moveTo>
                  <a:cubicBezTo>
                    <a:pt x="52" y="282"/>
                    <a:pt x="57" y="265"/>
                    <a:pt x="59" y="252"/>
                  </a:cubicBezTo>
                  <a:cubicBezTo>
                    <a:pt x="66" y="218"/>
                    <a:pt x="59" y="181"/>
                    <a:pt x="69" y="148"/>
                  </a:cubicBezTo>
                  <a:cubicBezTo>
                    <a:pt x="72" y="140"/>
                    <a:pt x="75" y="132"/>
                    <a:pt x="77" y="124"/>
                  </a:cubicBezTo>
                  <a:cubicBezTo>
                    <a:pt x="82" y="99"/>
                    <a:pt x="72" y="76"/>
                    <a:pt x="75" y="51"/>
                  </a:cubicBezTo>
                  <a:cubicBezTo>
                    <a:pt x="75" y="41"/>
                    <a:pt x="77" y="32"/>
                    <a:pt x="79" y="23"/>
                  </a:cubicBezTo>
                  <a:cubicBezTo>
                    <a:pt x="79" y="18"/>
                    <a:pt x="80" y="13"/>
                    <a:pt x="79" y="8"/>
                  </a:cubicBezTo>
                  <a:cubicBezTo>
                    <a:pt x="77" y="5"/>
                    <a:pt x="74" y="0"/>
                    <a:pt x="69" y="0"/>
                  </a:cubicBezTo>
                  <a:cubicBezTo>
                    <a:pt x="66" y="0"/>
                    <a:pt x="61" y="4"/>
                    <a:pt x="59" y="7"/>
                  </a:cubicBezTo>
                  <a:cubicBezTo>
                    <a:pt x="56" y="10"/>
                    <a:pt x="56" y="15"/>
                    <a:pt x="54" y="18"/>
                  </a:cubicBezTo>
                  <a:cubicBezTo>
                    <a:pt x="51" y="25"/>
                    <a:pt x="46" y="30"/>
                    <a:pt x="43" y="35"/>
                  </a:cubicBezTo>
                  <a:cubicBezTo>
                    <a:pt x="36" y="45"/>
                    <a:pt x="29" y="55"/>
                    <a:pt x="29" y="66"/>
                  </a:cubicBezTo>
                  <a:cubicBezTo>
                    <a:pt x="29" y="79"/>
                    <a:pt x="28" y="94"/>
                    <a:pt x="29" y="107"/>
                  </a:cubicBezTo>
                  <a:cubicBezTo>
                    <a:pt x="31" y="122"/>
                    <a:pt x="33" y="137"/>
                    <a:pt x="31" y="152"/>
                  </a:cubicBezTo>
                  <a:cubicBezTo>
                    <a:pt x="26" y="181"/>
                    <a:pt x="5" y="208"/>
                    <a:pt x="1" y="239"/>
                  </a:cubicBezTo>
                  <a:cubicBezTo>
                    <a:pt x="0" y="257"/>
                    <a:pt x="15" y="290"/>
                    <a:pt x="39" y="284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67" name="Freeform 103">
              <a:extLst>
                <a:ext uri="{FF2B5EF4-FFF2-40B4-BE49-F238E27FC236}">
                  <a16:creationId xmlns:a16="http://schemas.microsoft.com/office/drawing/2014/main" id="{8F683FF9-599E-7940-8F18-D00FF07710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9438" y="3714750"/>
              <a:ext cx="592137" cy="777875"/>
            </a:xfrm>
            <a:custGeom>
              <a:avLst/>
              <a:gdLst>
                <a:gd name="T0" fmla="*/ 145 w 1644"/>
                <a:gd name="T1" fmla="*/ 114 h 2159"/>
                <a:gd name="T2" fmla="*/ 119 w 1644"/>
                <a:gd name="T3" fmla="*/ 60 h 2159"/>
                <a:gd name="T4" fmla="*/ 20 w 1644"/>
                <a:gd name="T5" fmla="*/ 10 h 2159"/>
                <a:gd name="T6" fmla="*/ 40 w 1644"/>
                <a:gd name="T7" fmla="*/ 109 h 2159"/>
                <a:gd name="T8" fmla="*/ 119 w 1644"/>
                <a:gd name="T9" fmla="*/ 169 h 2159"/>
                <a:gd name="T10" fmla="*/ 142 w 1644"/>
                <a:gd name="T11" fmla="*/ 305 h 2159"/>
                <a:gd name="T12" fmla="*/ 79 w 1644"/>
                <a:gd name="T13" fmla="*/ 384 h 2159"/>
                <a:gd name="T14" fmla="*/ 167 w 1644"/>
                <a:gd name="T15" fmla="*/ 508 h 2159"/>
                <a:gd name="T16" fmla="*/ 293 w 1644"/>
                <a:gd name="T17" fmla="*/ 722 h 2159"/>
                <a:gd name="T18" fmla="*/ 376 w 1644"/>
                <a:gd name="T19" fmla="*/ 780 h 2159"/>
                <a:gd name="T20" fmla="*/ 550 w 1644"/>
                <a:gd name="T21" fmla="*/ 893 h 2159"/>
                <a:gd name="T22" fmla="*/ 585 w 1644"/>
                <a:gd name="T23" fmla="*/ 981 h 2159"/>
                <a:gd name="T24" fmla="*/ 666 w 1644"/>
                <a:gd name="T25" fmla="*/ 1070 h 2159"/>
                <a:gd name="T26" fmla="*/ 756 w 1644"/>
                <a:gd name="T27" fmla="*/ 1200 h 2159"/>
                <a:gd name="T28" fmla="*/ 819 w 1644"/>
                <a:gd name="T29" fmla="*/ 1292 h 2159"/>
                <a:gd name="T30" fmla="*/ 865 w 1644"/>
                <a:gd name="T31" fmla="*/ 1378 h 2159"/>
                <a:gd name="T32" fmla="*/ 914 w 1644"/>
                <a:gd name="T33" fmla="*/ 1486 h 2159"/>
                <a:gd name="T34" fmla="*/ 1081 w 1644"/>
                <a:gd name="T35" fmla="*/ 1620 h 2159"/>
                <a:gd name="T36" fmla="*/ 1117 w 1644"/>
                <a:gd name="T37" fmla="*/ 1722 h 2159"/>
                <a:gd name="T38" fmla="*/ 1259 w 1644"/>
                <a:gd name="T39" fmla="*/ 1916 h 2159"/>
                <a:gd name="T40" fmla="*/ 1384 w 1644"/>
                <a:gd name="T41" fmla="*/ 2126 h 2159"/>
                <a:gd name="T42" fmla="*/ 1455 w 1644"/>
                <a:gd name="T43" fmla="*/ 2096 h 2159"/>
                <a:gd name="T44" fmla="*/ 1419 w 1644"/>
                <a:gd name="T45" fmla="*/ 2017 h 2159"/>
                <a:gd name="T46" fmla="*/ 1412 w 1644"/>
                <a:gd name="T47" fmla="*/ 1933 h 2159"/>
                <a:gd name="T48" fmla="*/ 1445 w 1644"/>
                <a:gd name="T49" fmla="*/ 1898 h 2159"/>
                <a:gd name="T50" fmla="*/ 1588 w 1644"/>
                <a:gd name="T51" fmla="*/ 1893 h 2159"/>
                <a:gd name="T52" fmla="*/ 1624 w 1644"/>
                <a:gd name="T53" fmla="*/ 1888 h 2159"/>
                <a:gd name="T54" fmla="*/ 1509 w 1644"/>
                <a:gd name="T55" fmla="*/ 1803 h 2159"/>
                <a:gd name="T56" fmla="*/ 1387 w 1644"/>
                <a:gd name="T57" fmla="*/ 1729 h 2159"/>
                <a:gd name="T58" fmla="*/ 1201 w 1644"/>
                <a:gd name="T59" fmla="*/ 1648 h 2159"/>
                <a:gd name="T60" fmla="*/ 1079 w 1644"/>
                <a:gd name="T61" fmla="*/ 1406 h 2159"/>
                <a:gd name="T62" fmla="*/ 1017 w 1644"/>
                <a:gd name="T63" fmla="*/ 1276 h 2159"/>
                <a:gd name="T64" fmla="*/ 1035 w 1644"/>
                <a:gd name="T65" fmla="*/ 1200 h 2159"/>
                <a:gd name="T66" fmla="*/ 1076 w 1644"/>
                <a:gd name="T67" fmla="*/ 1142 h 2159"/>
                <a:gd name="T68" fmla="*/ 1292 w 1644"/>
                <a:gd name="T69" fmla="*/ 1136 h 2159"/>
                <a:gd name="T70" fmla="*/ 1363 w 1644"/>
                <a:gd name="T71" fmla="*/ 1169 h 2159"/>
                <a:gd name="T72" fmla="*/ 1377 w 1644"/>
                <a:gd name="T73" fmla="*/ 1157 h 2159"/>
                <a:gd name="T74" fmla="*/ 1326 w 1644"/>
                <a:gd name="T75" fmla="*/ 1108 h 2159"/>
                <a:gd name="T76" fmla="*/ 1211 w 1644"/>
                <a:gd name="T77" fmla="*/ 1073 h 2159"/>
                <a:gd name="T78" fmla="*/ 998 w 1644"/>
                <a:gd name="T79" fmla="*/ 916 h 2159"/>
                <a:gd name="T80" fmla="*/ 821 w 1644"/>
                <a:gd name="T81" fmla="*/ 776 h 2159"/>
                <a:gd name="T82" fmla="*/ 648 w 1644"/>
                <a:gd name="T83" fmla="*/ 636 h 2159"/>
                <a:gd name="T84" fmla="*/ 509 w 1644"/>
                <a:gd name="T85" fmla="*/ 552 h 2159"/>
                <a:gd name="T86" fmla="*/ 442 w 1644"/>
                <a:gd name="T87" fmla="*/ 419 h 2159"/>
                <a:gd name="T88" fmla="*/ 251 w 1644"/>
                <a:gd name="T89" fmla="*/ 198 h 2159"/>
                <a:gd name="T90" fmla="*/ 199 w 1644"/>
                <a:gd name="T91" fmla="*/ 170 h 2159"/>
                <a:gd name="T92" fmla="*/ 155 w 1644"/>
                <a:gd name="T93" fmla="*/ 127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44" h="2159">
                  <a:moveTo>
                    <a:pt x="153" y="121"/>
                  </a:moveTo>
                  <a:cubicBezTo>
                    <a:pt x="153" y="121"/>
                    <a:pt x="153" y="121"/>
                    <a:pt x="152" y="121"/>
                  </a:cubicBezTo>
                  <a:cubicBezTo>
                    <a:pt x="150" y="117"/>
                    <a:pt x="148" y="116"/>
                    <a:pt x="145" y="114"/>
                  </a:cubicBezTo>
                  <a:cubicBezTo>
                    <a:pt x="140" y="109"/>
                    <a:pt x="134" y="106"/>
                    <a:pt x="130" y="99"/>
                  </a:cubicBezTo>
                  <a:cubicBezTo>
                    <a:pt x="127" y="94"/>
                    <a:pt x="124" y="88"/>
                    <a:pt x="122" y="81"/>
                  </a:cubicBezTo>
                  <a:cubicBezTo>
                    <a:pt x="122" y="73"/>
                    <a:pt x="122" y="66"/>
                    <a:pt x="119" y="60"/>
                  </a:cubicBezTo>
                  <a:cubicBezTo>
                    <a:pt x="115" y="55"/>
                    <a:pt x="111" y="52"/>
                    <a:pt x="106" y="47"/>
                  </a:cubicBezTo>
                  <a:cubicBezTo>
                    <a:pt x="92" y="37"/>
                    <a:pt x="78" y="25"/>
                    <a:pt x="63" y="15"/>
                  </a:cubicBezTo>
                  <a:cubicBezTo>
                    <a:pt x="50" y="7"/>
                    <a:pt x="31" y="0"/>
                    <a:pt x="20" y="10"/>
                  </a:cubicBezTo>
                  <a:cubicBezTo>
                    <a:pt x="13" y="15"/>
                    <a:pt x="12" y="24"/>
                    <a:pt x="10" y="30"/>
                  </a:cubicBezTo>
                  <a:cubicBezTo>
                    <a:pt x="5" y="55"/>
                    <a:pt x="0" y="85"/>
                    <a:pt x="20" y="99"/>
                  </a:cubicBezTo>
                  <a:cubicBezTo>
                    <a:pt x="26" y="104"/>
                    <a:pt x="33" y="106"/>
                    <a:pt x="40" y="109"/>
                  </a:cubicBezTo>
                  <a:cubicBezTo>
                    <a:pt x="56" y="114"/>
                    <a:pt x="71" y="121"/>
                    <a:pt x="84" y="129"/>
                  </a:cubicBezTo>
                  <a:cubicBezTo>
                    <a:pt x="92" y="132"/>
                    <a:pt x="101" y="137"/>
                    <a:pt x="107" y="144"/>
                  </a:cubicBezTo>
                  <a:cubicBezTo>
                    <a:pt x="112" y="150"/>
                    <a:pt x="115" y="160"/>
                    <a:pt x="119" y="169"/>
                  </a:cubicBezTo>
                  <a:cubicBezTo>
                    <a:pt x="129" y="198"/>
                    <a:pt x="140" y="229"/>
                    <a:pt x="152" y="261"/>
                  </a:cubicBezTo>
                  <a:cubicBezTo>
                    <a:pt x="155" y="269"/>
                    <a:pt x="157" y="277"/>
                    <a:pt x="157" y="285"/>
                  </a:cubicBezTo>
                  <a:cubicBezTo>
                    <a:pt x="157" y="295"/>
                    <a:pt x="150" y="304"/>
                    <a:pt x="142" y="305"/>
                  </a:cubicBezTo>
                  <a:cubicBezTo>
                    <a:pt x="132" y="307"/>
                    <a:pt x="124" y="300"/>
                    <a:pt x="115" y="300"/>
                  </a:cubicBezTo>
                  <a:cubicBezTo>
                    <a:pt x="97" y="299"/>
                    <a:pt x="86" y="315"/>
                    <a:pt x="79" y="332"/>
                  </a:cubicBezTo>
                  <a:cubicBezTo>
                    <a:pt x="73" y="353"/>
                    <a:pt x="61" y="366"/>
                    <a:pt x="79" y="384"/>
                  </a:cubicBezTo>
                  <a:cubicBezTo>
                    <a:pt x="92" y="398"/>
                    <a:pt x="106" y="409"/>
                    <a:pt x="119" y="422"/>
                  </a:cubicBezTo>
                  <a:cubicBezTo>
                    <a:pt x="127" y="432"/>
                    <a:pt x="137" y="440"/>
                    <a:pt x="143" y="452"/>
                  </a:cubicBezTo>
                  <a:cubicBezTo>
                    <a:pt x="155" y="470"/>
                    <a:pt x="158" y="490"/>
                    <a:pt x="167" y="508"/>
                  </a:cubicBezTo>
                  <a:cubicBezTo>
                    <a:pt x="178" y="531"/>
                    <a:pt x="199" y="549"/>
                    <a:pt x="211" y="572"/>
                  </a:cubicBezTo>
                  <a:cubicBezTo>
                    <a:pt x="227" y="602"/>
                    <a:pt x="227" y="640"/>
                    <a:pt x="249" y="668"/>
                  </a:cubicBezTo>
                  <a:cubicBezTo>
                    <a:pt x="264" y="687"/>
                    <a:pt x="282" y="701"/>
                    <a:pt x="293" y="722"/>
                  </a:cubicBezTo>
                  <a:cubicBezTo>
                    <a:pt x="305" y="742"/>
                    <a:pt x="330" y="752"/>
                    <a:pt x="351" y="757"/>
                  </a:cubicBezTo>
                  <a:cubicBezTo>
                    <a:pt x="358" y="758"/>
                    <a:pt x="366" y="760"/>
                    <a:pt x="369" y="765"/>
                  </a:cubicBezTo>
                  <a:cubicBezTo>
                    <a:pt x="372" y="770"/>
                    <a:pt x="374" y="775"/>
                    <a:pt x="376" y="780"/>
                  </a:cubicBezTo>
                  <a:cubicBezTo>
                    <a:pt x="384" y="793"/>
                    <a:pt x="400" y="793"/>
                    <a:pt x="415" y="796"/>
                  </a:cubicBezTo>
                  <a:cubicBezTo>
                    <a:pt x="448" y="799"/>
                    <a:pt x="476" y="821"/>
                    <a:pt x="503" y="839"/>
                  </a:cubicBezTo>
                  <a:cubicBezTo>
                    <a:pt x="522" y="854"/>
                    <a:pt x="542" y="870"/>
                    <a:pt x="550" y="893"/>
                  </a:cubicBezTo>
                  <a:cubicBezTo>
                    <a:pt x="552" y="902"/>
                    <a:pt x="554" y="910"/>
                    <a:pt x="555" y="916"/>
                  </a:cubicBezTo>
                  <a:cubicBezTo>
                    <a:pt x="562" y="930"/>
                    <a:pt x="572" y="941"/>
                    <a:pt x="577" y="954"/>
                  </a:cubicBezTo>
                  <a:cubicBezTo>
                    <a:pt x="578" y="963"/>
                    <a:pt x="580" y="972"/>
                    <a:pt x="585" y="981"/>
                  </a:cubicBezTo>
                  <a:cubicBezTo>
                    <a:pt x="590" y="987"/>
                    <a:pt x="600" y="994"/>
                    <a:pt x="605" y="1000"/>
                  </a:cubicBezTo>
                  <a:cubicBezTo>
                    <a:pt x="618" y="1019"/>
                    <a:pt x="626" y="1040"/>
                    <a:pt x="644" y="1053"/>
                  </a:cubicBezTo>
                  <a:cubicBezTo>
                    <a:pt x="651" y="1060"/>
                    <a:pt x="659" y="1063"/>
                    <a:pt x="666" y="1070"/>
                  </a:cubicBezTo>
                  <a:cubicBezTo>
                    <a:pt x="672" y="1075"/>
                    <a:pt x="677" y="1083"/>
                    <a:pt x="684" y="1091"/>
                  </a:cubicBezTo>
                  <a:cubicBezTo>
                    <a:pt x="697" y="1108"/>
                    <a:pt x="713" y="1119"/>
                    <a:pt x="725" y="1137"/>
                  </a:cubicBezTo>
                  <a:cubicBezTo>
                    <a:pt x="737" y="1157"/>
                    <a:pt x="740" y="1182"/>
                    <a:pt x="756" y="1200"/>
                  </a:cubicBezTo>
                  <a:cubicBezTo>
                    <a:pt x="763" y="1206"/>
                    <a:pt x="773" y="1213"/>
                    <a:pt x="781" y="1220"/>
                  </a:cubicBezTo>
                  <a:cubicBezTo>
                    <a:pt x="796" y="1234"/>
                    <a:pt x="807" y="1254"/>
                    <a:pt x="812" y="1274"/>
                  </a:cubicBezTo>
                  <a:cubicBezTo>
                    <a:pt x="814" y="1281"/>
                    <a:pt x="816" y="1285"/>
                    <a:pt x="819" y="1292"/>
                  </a:cubicBezTo>
                  <a:cubicBezTo>
                    <a:pt x="821" y="1297"/>
                    <a:pt x="825" y="1302"/>
                    <a:pt x="829" y="1307"/>
                  </a:cubicBezTo>
                  <a:cubicBezTo>
                    <a:pt x="842" y="1325"/>
                    <a:pt x="852" y="1346"/>
                    <a:pt x="860" y="1368"/>
                  </a:cubicBezTo>
                  <a:cubicBezTo>
                    <a:pt x="862" y="1371"/>
                    <a:pt x="862" y="1374"/>
                    <a:pt x="865" y="1378"/>
                  </a:cubicBezTo>
                  <a:cubicBezTo>
                    <a:pt x="868" y="1383"/>
                    <a:pt x="873" y="1388"/>
                    <a:pt x="878" y="1391"/>
                  </a:cubicBezTo>
                  <a:cubicBezTo>
                    <a:pt x="891" y="1401"/>
                    <a:pt x="905" y="1414"/>
                    <a:pt x="908" y="1430"/>
                  </a:cubicBezTo>
                  <a:cubicBezTo>
                    <a:pt x="913" y="1449"/>
                    <a:pt x="910" y="1468"/>
                    <a:pt x="914" y="1486"/>
                  </a:cubicBezTo>
                  <a:cubicBezTo>
                    <a:pt x="926" y="1516"/>
                    <a:pt x="961" y="1529"/>
                    <a:pt x="989" y="1544"/>
                  </a:cubicBezTo>
                  <a:cubicBezTo>
                    <a:pt x="1008" y="1556"/>
                    <a:pt x="1026" y="1569"/>
                    <a:pt x="1046" y="1584"/>
                  </a:cubicBezTo>
                  <a:cubicBezTo>
                    <a:pt x="1059" y="1594"/>
                    <a:pt x="1074" y="1605"/>
                    <a:pt x="1081" y="1620"/>
                  </a:cubicBezTo>
                  <a:cubicBezTo>
                    <a:pt x="1084" y="1633"/>
                    <a:pt x="1084" y="1645"/>
                    <a:pt x="1091" y="1656"/>
                  </a:cubicBezTo>
                  <a:cubicBezTo>
                    <a:pt x="1097" y="1671"/>
                    <a:pt x="1114" y="1681"/>
                    <a:pt x="1117" y="1697"/>
                  </a:cubicBezTo>
                  <a:cubicBezTo>
                    <a:pt x="1119" y="1706"/>
                    <a:pt x="1117" y="1714"/>
                    <a:pt x="1117" y="1722"/>
                  </a:cubicBezTo>
                  <a:cubicBezTo>
                    <a:pt x="1117" y="1745"/>
                    <a:pt x="1128" y="1767"/>
                    <a:pt x="1143" y="1783"/>
                  </a:cubicBezTo>
                  <a:cubicBezTo>
                    <a:pt x="1159" y="1799"/>
                    <a:pt x="1178" y="1814"/>
                    <a:pt x="1196" y="1829"/>
                  </a:cubicBezTo>
                  <a:cubicBezTo>
                    <a:pt x="1223" y="1852"/>
                    <a:pt x="1247" y="1882"/>
                    <a:pt x="1259" y="1916"/>
                  </a:cubicBezTo>
                  <a:cubicBezTo>
                    <a:pt x="1272" y="1949"/>
                    <a:pt x="1274" y="1987"/>
                    <a:pt x="1290" y="2019"/>
                  </a:cubicBezTo>
                  <a:cubicBezTo>
                    <a:pt x="1298" y="2032"/>
                    <a:pt x="1310" y="2045"/>
                    <a:pt x="1321" y="2056"/>
                  </a:cubicBezTo>
                  <a:cubicBezTo>
                    <a:pt x="1343" y="2080"/>
                    <a:pt x="1363" y="2103"/>
                    <a:pt x="1384" y="2126"/>
                  </a:cubicBezTo>
                  <a:cubicBezTo>
                    <a:pt x="1394" y="2137"/>
                    <a:pt x="1405" y="2150"/>
                    <a:pt x="1420" y="2154"/>
                  </a:cubicBezTo>
                  <a:cubicBezTo>
                    <a:pt x="1435" y="2158"/>
                    <a:pt x="1453" y="2149"/>
                    <a:pt x="1455" y="2134"/>
                  </a:cubicBezTo>
                  <a:cubicBezTo>
                    <a:pt x="1456" y="2121"/>
                    <a:pt x="1458" y="2109"/>
                    <a:pt x="1455" y="2096"/>
                  </a:cubicBezTo>
                  <a:cubicBezTo>
                    <a:pt x="1450" y="2081"/>
                    <a:pt x="1445" y="2066"/>
                    <a:pt x="1437" y="2053"/>
                  </a:cubicBezTo>
                  <a:cubicBezTo>
                    <a:pt x="1432" y="2047"/>
                    <a:pt x="1427" y="2042"/>
                    <a:pt x="1423" y="2035"/>
                  </a:cubicBezTo>
                  <a:cubicBezTo>
                    <a:pt x="1420" y="2028"/>
                    <a:pt x="1419" y="2024"/>
                    <a:pt x="1419" y="2017"/>
                  </a:cubicBezTo>
                  <a:cubicBezTo>
                    <a:pt x="1415" y="2007"/>
                    <a:pt x="1414" y="1997"/>
                    <a:pt x="1415" y="1986"/>
                  </a:cubicBezTo>
                  <a:cubicBezTo>
                    <a:pt x="1415" y="1979"/>
                    <a:pt x="1419" y="1971"/>
                    <a:pt x="1420" y="1963"/>
                  </a:cubicBezTo>
                  <a:cubicBezTo>
                    <a:pt x="1420" y="1953"/>
                    <a:pt x="1417" y="1943"/>
                    <a:pt x="1412" y="1933"/>
                  </a:cubicBezTo>
                  <a:cubicBezTo>
                    <a:pt x="1407" y="1925"/>
                    <a:pt x="1400" y="1913"/>
                    <a:pt x="1404" y="1903"/>
                  </a:cubicBezTo>
                  <a:cubicBezTo>
                    <a:pt x="1407" y="1895"/>
                    <a:pt x="1419" y="1888"/>
                    <a:pt x="1428" y="1892"/>
                  </a:cubicBezTo>
                  <a:cubicBezTo>
                    <a:pt x="1435" y="1892"/>
                    <a:pt x="1440" y="1897"/>
                    <a:pt x="1445" y="1898"/>
                  </a:cubicBezTo>
                  <a:cubicBezTo>
                    <a:pt x="1456" y="1903"/>
                    <a:pt x="1471" y="1902"/>
                    <a:pt x="1481" y="1893"/>
                  </a:cubicBezTo>
                  <a:cubicBezTo>
                    <a:pt x="1498" y="1879"/>
                    <a:pt x="1498" y="1860"/>
                    <a:pt x="1522" y="1862"/>
                  </a:cubicBezTo>
                  <a:cubicBezTo>
                    <a:pt x="1547" y="1864"/>
                    <a:pt x="1572" y="1874"/>
                    <a:pt x="1588" y="1893"/>
                  </a:cubicBezTo>
                  <a:cubicBezTo>
                    <a:pt x="1596" y="1902"/>
                    <a:pt x="1602" y="1912"/>
                    <a:pt x="1611" y="1920"/>
                  </a:cubicBezTo>
                  <a:cubicBezTo>
                    <a:pt x="1620" y="1927"/>
                    <a:pt x="1631" y="1931"/>
                    <a:pt x="1643" y="1928"/>
                  </a:cubicBezTo>
                  <a:cubicBezTo>
                    <a:pt x="1636" y="1915"/>
                    <a:pt x="1631" y="1902"/>
                    <a:pt x="1624" y="1888"/>
                  </a:cubicBezTo>
                  <a:cubicBezTo>
                    <a:pt x="1621" y="1880"/>
                    <a:pt x="1618" y="1872"/>
                    <a:pt x="1610" y="1867"/>
                  </a:cubicBezTo>
                  <a:cubicBezTo>
                    <a:pt x="1603" y="1862"/>
                    <a:pt x="1596" y="1862"/>
                    <a:pt x="1588" y="1859"/>
                  </a:cubicBezTo>
                  <a:cubicBezTo>
                    <a:pt x="1557" y="1846"/>
                    <a:pt x="1542" y="1801"/>
                    <a:pt x="1509" y="1803"/>
                  </a:cubicBezTo>
                  <a:cubicBezTo>
                    <a:pt x="1498" y="1803"/>
                    <a:pt x="1488" y="1809"/>
                    <a:pt x="1478" y="1806"/>
                  </a:cubicBezTo>
                  <a:cubicBezTo>
                    <a:pt x="1470" y="1806"/>
                    <a:pt x="1463" y="1799"/>
                    <a:pt x="1456" y="1793"/>
                  </a:cubicBezTo>
                  <a:cubicBezTo>
                    <a:pt x="1433" y="1771"/>
                    <a:pt x="1410" y="1750"/>
                    <a:pt x="1387" y="1729"/>
                  </a:cubicBezTo>
                  <a:cubicBezTo>
                    <a:pt x="1377" y="1720"/>
                    <a:pt x="1367" y="1710"/>
                    <a:pt x="1354" y="1706"/>
                  </a:cubicBezTo>
                  <a:cubicBezTo>
                    <a:pt x="1336" y="1699"/>
                    <a:pt x="1315" y="1704"/>
                    <a:pt x="1295" y="1702"/>
                  </a:cubicBezTo>
                  <a:cubicBezTo>
                    <a:pt x="1259" y="1697"/>
                    <a:pt x="1229" y="1673"/>
                    <a:pt x="1201" y="1648"/>
                  </a:cubicBezTo>
                  <a:cubicBezTo>
                    <a:pt x="1175" y="1625"/>
                    <a:pt x="1147" y="1598"/>
                    <a:pt x="1135" y="1564"/>
                  </a:cubicBezTo>
                  <a:cubicBezTo>
                    <a:pt x="1124" y="1524"/>
                    <a:pt x="1138" y="1475"/>
                    <a:pt x="1112" y="1442"/>
                  </a:cubicBezTo>
                  <a:cubicBezTo>
                    <a:pt x="1102" y="1429"/>
                    <a:pt x="1087" y="1421"/>
                    <a:pt x="1079" y="1406"/>
                  </a:cubicBezTo>
                  <a:cubicBezTo>
                    <a:pt x="1071" y="1389"/>
                    <a:pt x="1071" y="1366"/>
                    <a:pt x="1066" y="1346"/>
                  </a:cubicBezTo>
                  <a:cubicBezTo>
                    <a:pt x="1058" y="1323"/>
                    <a:pt x="1045" y="1304"/>
                    <a:pt x="1026" y="1287"/>
                  </a:cubicBezTo>
                  <a:cubicBezTo>
                    <a:pt x="1023" y="1284"/>
                    <a:pt x="1018" y="1281"/>
                    <a:pt x="1017" y="1276"/>
                  </a:cubicBezTo>
                  <a:cubicBezTo>
                    <a:pt x="1013" y="1271"/>
                    <a:pt x="1013" y="1266"/>
                    <a:pt x="1015" y="1259"/>
                  </a:cubicBezTo>
                  <a:cubicBezTo>
                    <a:pt x="1017" y="1248"/>
                    <a:pt x="1022" y="1238"/>
                    <a:pt x="1025" y="1228"/>
                  </a:cubicBezTo>
                  <a:cubicBezTo>
                    <a:pt x="1028" y="1218"/>
                    <a:pt x="1030" y="1208"/>
                    <a:pt x="1035" y="1200"/>
                  </a:cubicBezTo>
                  <a:cubicBezTo>
                    <a:pt x="1040" y="1188"/>
                    <a:pt x="1046" y="1177"/>
                    <a:pt x="1051" y="1165"/>
                  </a:cubicBezTo>
                  <a:cubicBezTo>
                    <a:pt x="1054" y="1162"/>
                    <a:pt x="1056" y="1159"/>
                    <a:pt x="1058" y="1155"/>
                  </a:cubicBezTo>
                  <a:cubicBezTo>
                    <a:pt x="1063" y="1150"/>
                    <a:pt x="1069" y="1145"/>
                    <a:pt x="1076" y="1142"/>
                  </a:cubicBezTo>
                  <a:cubicBezTo>
                    <a:pt x="1096" y="1134"/>
                    <a:pt x="1117" y="1131"/>
                    <a:pt x="1138" y="1121"/>
                  </a:cubicBezTo>
                  <a:cubicBezTo>
                    <a:pt x="1150" y="1116"/>
                    <a:pt x="1163" y="1117"/>
                    <a:pt x="1176" y="1117"/>
                  </a:cubicBezTo>
                  <a:cubicBezTo>
                    <a:pt x="1214" y="1122"/>
                    <a:pt x="1252" y="1134"/>
                    <a:pt x="1292" y="1136"/>
                  </a:cubicBezTo>
                  <a:cubicBezTo>
                    <a:pt x="1307" y="1137"/>
                    <a:pt x="1326" y="1134"/>
                    <a:pt x="1338" y="1144"/>
                  </a:cubicBezTo>
                  <a:cubicBezTo>
                    <a:pt x="1341" y="1147"/>
                    <a:pt x="1344" y="1152"/>
                    <a:pt x="1348" y="1155"/>
                  </a:cubicBezTo>
                  <a:cubicBezTo>
                    <a:pt x="1351" y="1160"/>
                    <a:pt x="1358" y="1164"/>
                    <a:pt x="1363" y="1169"/>
                  </a:cubicBezTo>
                  <a:cubicBezTo>
                    <a:pt x="1364" y="1170"/>
                    <a:pt x="1367" y="1172"/>
                    <a:pt x="1371" y="1172"/>
                  </a:cubicBezTo>
                  <a:cubicBezTo>
                    <a:pt x="1374" y="1172"/>
                    <a:pt x="1377" y="1170"/>
                    <a:pt x="1379" y="1167"/>
                  </a:cubicBezTo>
                  <a:cubicBezTo>
                    <a:pt x="1381" y="1164"/>
                    <a:pt x="1379" y="1160"/>
                    <a:pt x="1377" y="1157"/>
                  </a:cubicBezTo>
                  <a:cubicBezTo>
                    <a:pt x="1374" y="1150"/>
                    <a:pt x="1371" y="1144"/>
                    <a:pt x="1367" y="1136"/>
                  </a:cubicBezTo>
                  <a:cubicBezTo>
                    <a:pt x="1363" y="1129"/>
                    <a:pt x="1359" y="1122"/>
                    <a:pt x="1353" y="1117"/>
                  </a:cubicBezTo>
                  <a:cubicBezTo>
                    <a:pt x="1346" y="1111"/>
                    <a:pt x="1336" y="1109"/>
                    <a:pt x="1326" y="1108"/>
                  </a:cubicBezTo>
                  <a:cubicBezTo>
                    <a:pt x="1316" y="1108"/>
                    <a:pt x="1305" y="1106"/>
                    <a:pt x="1295" y="1106"/>
                  </a:cubicBezTo>
                  <a:cubicBezTo>
                    <a:pt x="1285" y="1106"/>
                    <a:pt x="1272" y="1108"/>
                    <a:pt x="1262" y="1104"/>
                  </a:cubicBezTo>
                  <a:cubicBezTo>
                    <a:pt x="1246" y="1098"/>
                    <a:pt x="1227" y="1083"/>
                    <a:pt x="1211" y="1073"/>
                  </a:cubicBezTo>
                  <a:cubicBezTo>
                    <a:pt x="1196" y="1063"/>
                    <a:pt x="1188" y="1050"/>
                    <a:pt x="1173" y="1040"/>
                  </a:cubicBezTo>
                  <a:cubicBezTo>
                    <a:pt x="1138" y="1017"/>
                    <a:pt x="1104" y="992"/>
                    <a:pt x="1071" y="966"/>
                  </a:cubicBezTo>
                  <a:cubicBezTo>
                    <a:pt x="1050" y="948"/>
                    <a:pt x="1026" y="928"/>
                    <a:pt x="998" y="916"/>
                  </a:cubicBezTo>
                  <a:cubicBezTo>
                    <a:pt x="984" y="912"/>
                    <a:pt x="969" y="908"/>
                    <a:pt x="954" y="902"/>
                  </a:cubicBezTo>
                  <a:cubicBezTo>
                    <a:pt x="924" y="890"/>
                    <a:pt x="900" y="867"/>
                    <a:pt x="886" y="839"/>
                  </a:cubicBezTo>
                  <a:cubicBezTo>
                    <a:pt x="873" y="813"/>
                    <a:pt x="840" y="798"/>
                    <a:pt x="821" y="776"/>
                  </a:cubicBezTo>
                  <a:cubicBezTo>
                    <a:pt x="806" y="762"/>
                    <a:pt x="791" y="745"/>
                    <a:pt x="774" y="734"/>
                  </a:cubicBezTo>
                  <a:cubicBezTo>
                    <a:pt x="758" y="722"/>
                    <a:pt x="741" y="712"/>
                    <a:pt x="725" y="701"/>
                  </a:cubicBezTo>
                  <a:cubicBezTo>
                    <a:pt x="699" y="679"/>
                    <a:pt x="681" y="645"/>
                    <a:pt x="648" y="636"/>
                  </a:cubicBezTo>
                  <a:cubicBezTo>
                    <a:pt x="631" y="633"/>
                    <a:pt x="611" y="635"/>
                    <a:pt x="600" y="623"/>
                  </a:cubicBezTo>
                  <a:cubicBezTo>
                    <a:pt x="588" y="613"/>
                    <a:pt x="587" y="595"/>
                    <a:pt x="577" y="584"/>
                  </a:cubicBezTo>
                  <a:cubicBezTo>
                    <a:pt x="560" y="564"/>
                    <a:pt x="529" y="569"/>
                    <a:pt x="509" y="552"/>
                  </a:cubicBezTo>
                  <a:cubicBezTo>
                    <a:pt x="486" y="533"/>
                    <a:pt x="491" y="493"/>
                    <a:pt x="470" y="473"/>
                  </a:cubicBezTo>
                  <a:cubicBezTo>
                    <a:pt x="461" y="467"/>
                    <a:pt x="452" y="462"/>
                    <a:pt x="445" y="454"/>
                  </a:cubicBezTo>
                  <a:cubicBezTo>
                    <a:pt x="440" y="444"/>
                    <a:pt x="442" y="430"/>
                    <a:pt x="442" y="419"/>
                  </a:cubicBezTo>
                  <a:cubicBezTo>
                    <a:pt x="442" y="378"/>
                    <a:pt x="410" y="342"/>
                    <a:pt x="376" y="317"/>
                  </a:cubicBezTo>
                  <a:cubicBezTo>
                    <a:pt x="341" y="292"/>
                    <a:pt x="303" y="271"/>
                    <a:pt x="279" y="238"/>
                  </a:cubicBezTo>
                  <a:cubicBezTo>
                    <a:pt x="269" y="225"/>
                    <a:pt x="262" y="210"/>
                    <a:pt x="251" y="198"/>
                  </a:cubicBezTo>
                  <a:cubicBezTo>
                    <a:pt x="244" y="190"/>
                    <a:pt x="236" y="183"/>
                    <a:pt x="226" y="182"/>
                  </a:cubicBezTo>
                  <a:cubicBezTo>
                    <a:pt x="221" y="180"/>
                    <a:pt x="218" y="180"/>
                    <a:pt x="213" y="178"/>
                  </a:cubicBezTo>
                  <a:cubicBezTo>
                    <a:pt x="208" y="177"/>
                    <a:pt x="203" y="173"/>
                    <a:pt x="199" y="170"/>
                  </a:cubicBezTo>
                  <a:cubicBezTo>
                    <a:pt x="198" y="169"/>
                    <a:pt x="196" y="165"/>
                    <a:pt x="195" y="164"/>
                  </a:cubicBezTo>
                  <a:cubicBezTo>
                    <a:pt x="190" y="155"/>
                    <a:pt x="181" y="150"/>
                    <a:pt x="175" y="145"/>
                  </a:cubicBezTo>
                  <a:cubicBezTo>
                    <a:pt x="167" y="141"/>
                    <a:pt x="160" y="134"/>
                    <a:pt x="155" y="127"/>
                  </a:cubicBezTo>
                  <a:cubicBezTo>
                    <a:pt x="155" y="126"/>
                    <a:pt x="153" y="122"/>
                    <a:pt x="153" y="12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68" name="Freeform 104">
              <a:extLst>
                <a:ext uri="{FF2B5EF4-FFF2-40B4-BE49-F238E27FC236}">
                  <a16:creationId xmlns:a16="http://schemas.microsoft.com/office/drawing/2014/main" id="{CED558DE-ECBF-BC45-A0B2-556FCF2C39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9875" y="3829050"/>
              <a:ext cx="47625" cy="57150"/>
            </a:xfrm>
            <a:custGeom>
              <a:avLst/>
              <a:gdLst>
                <a:gd name="T0" fmla="*/ 116 w 132"/>
                <a:gd name="T1" fmla="*/ 46 h 157"/>
                <a:gd name="T2" fmla="*/ 98 w 132"/>
                <a:gd name="T3" fmla="*/ 18 h 157"/>
                <a:gd name="T4" fmla="*/ 75 w 132"/>
                <a:gd name="T5" fmla="*/ 10 h 157"/>
                <a:gd name="T6" fmla="*/ 33 w 132"/>
                <a:gd name="T7" fmla="*/ 0 h 157"/>
                <a:gd name="T8" fmla="*/ 24 w 132"/>
                <a:gd name="T9" fmla="*/ 0 h 157"/>
                <a:gd name="T10" fmla="*/ 14 w 132"/>
                <a:gd name="T11" fmla="*/ 8 h 157"/>
                <a:gd name="T12" fmla="*/ 4 w 132"/>
                <a:gd name="T13" fmla="*/ 44 h 157"/>
                <a:gd name="T14" fmla="*/ 2 w 132"/>
                <a:gd name="T15" fmla="*/ 120 h 157"/>
                <a:gd name="T16" fmla="*/ 2 w 132"/>
                <a:gd name="T17" fmla="*/ 128 h 157"/>
                <a:gd name="T18" fmla="*/ 12 w 132"/>
                <a:gd name="T19" fmla="*/ 132 h 157"/>
                <a:gd name="T20" fmla="*/ 42 w 132"/>
                <a:gd name="T21" fmla="*/ 115 h 157"/>
                <a:gd name="T22" fmla="*/ 50 w 132"/>
                <a:gd name="T23" fmla="*/ 110 h 157"/>
                <a:gd name="T24" fmla="*/ 52 w 132"/>
                <a:gd name="T25" fmla="*/ 113 h 157"/>
                <a:gd name="T26" fmla="*/ 68 w 132"/>
                <a:gd name="T27" fmla="*/ 138 h 157"/>
                <a:gd name="T28" fmla="*/ 119 w 132"/>
                <a:gd name="T29" fmla="*/ 132 h 157"/>
                <a:gd name="T30" fmla="*/ 116 w 132"/>
                <a:gd name="T31" fmla="*/ 4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2" h="157">
                  <a:moveTo>
                    <a:pt x="116" y="46"/>
                  </a:moveTo>
                  <a:cubicBezTo>
                    <a:pt x="111" y="36"/>
                    <a:pt x="106" y="25"/>
                    <a:pt x="98" y="18"/>
                  </a:cubicBezTo>
                  <a:cubicBezTo>
                    <a:pt x="91" y="13"/>
                    <a:pt x="83" y="11"/>
                    <a:pt x="75" y="10"/>
                  </a:cubicBezTo>
                  <a:cubicBezTo>
                    <a:pt x="61" y="5"/>
                    <a:pt x="48" y="3"/>
                    <a:pt x="33" y="0"/>
                  </a:cubicBezTo>
                  <a:cubicBezTo>
                    <a:pt x="30" y="0"/>
                    <a:pt x="27" y="0"/>
                    <a:pt x="24" y="0"/>
                  </a:cubicBezTo>
                  <a:cubicBezTo>
                    <a:pt x="19" y="1"/>
                    <a:pt x="15" y="5"/>
                    <a:pt x="14" y="8"/>
                  </a:cubicBezTo>
                  <a:cubicBezTo>
                    <a:pt x="5" y="18"/>
                    <a:pt x="5" y="31"/>
                    <a:pt x="4" y="44"/>
                  </a:cubicBezTo>
                  <a:cubicBezTo>
                    <a:pt x="4" y="69"/>
                    <a:pt x="2" y="95"/>
                    <a:pt x="2" y="120"/>
                  </a:cubicBezTo>
                  <a:cubicBezTo>
                    <a:pt x="0" y="123"/>
                    <a:pt x="0" y="125"/>
                    <a:pt x="2" y="128"/>
                  </a:cubicBezTo>
                  <a:cubicBezTo>
                    <a:pt x="5" y="130"/>
                    <a:pt x="9" y="132"/>
                    <a:pt x="12" y="132"/>
                  </a:cubicBezTo>
                  <a:cubicBezTo>
                    <a:pt x="24" y="130"/>
                    <a:pt x="35" y="125"/>
                    <a:pt x="42" y="115"/>
                  </a:cubicBezTo>
                  <a:cubicBezTo>
                    <a:pt x="43" y="112"/>
                    <a:pt x="47" y="109"/>
                    <a:pt x="50" y="110"/>
                  </a:cubicBezTo>
                  <a:cubicBezTo>
                    <a:pt x="50" y="112"/>
                    <a:pt x="52" y="112"/>
                    <a:pt x="52" y="113"/>
                  </a:cubicBezTo>
                  <a:cubicBezTo>
                    <a:pt x="56" y="122"/>
                    <a:pt x="61" y="130"/>
                    <a:pt x="68" y="138"/>
                  </a:cubicBezTo>
                  <a:cubicBezTo>
                    <a:pt x="85" y="156"/>
                    <a:pt x="111" y="155"/>
                    <a:pt x="119" y="132"/>
                  </a:cubicBezTo>
                  <a:cubicBezTo>
                    <a:pt x="131" y="100"/>
                    <a:pt x="129" y="74"/>
                    <a:pt x="116" y="4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69" name="Freeform 105">
              <a:extLst>
                <a:ext uri="{FF2B5EF4-FFF2-40B4-BE49-F238E27FC236}">
                  <a16:creationId xmlns:a16="http://schemas.microsoft.com/office/drawing/2014/main" id="{358A5199-D307-144C-83B8-32A1E9E628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6538" y="3857625"/>
              <a:ext cx="25400" cy="30163"/>
            </a:xfrm>
            <a:custGeom>
              <a:avLst/>
              <a:gdLst>
                <a:gd name="T0" fmla="*/ 59 w 72"/>
                <a:gd name="T1" fmla="*/ 51 h 85"/>
                <a:gd name="T2" fmla="*/ 69 w 72"/>
                <a:gd name="T3" fmla="*/ 29 h 85"/>
                <a:gd name="T4" fmla="*/ 61 w 72"/>
                <a:gd name="T5" fmla="*/ 4 h 85"/>
                <a:gd name="T6" fmla="*/ 48 w 72"/>
                <a:gd name="T7" fmla="*/ 1 h 85"/>
                <a:gd name="T8" fmla="*/ 44 w 72"/>
                <a:gd name="T9" fmla="*/ 11 h 85"/>
                <a:gd name="T10" fmla="*/ 35 w 72"/>
                <a:gd name="T11" fmla="*/ 31 h 85"/>
                <a:gd name="T12" fmla="*/ 20 w 72"/>
                <a:gd name="T13" fmla="*/ 44 h 85"/>
                <a:gd name="T14" fmla="*/ 18 w 72"/>
                <a:gd name="T15" fmla="*/ 47 h 85"/>
                <a:gd name="T16" fmla="*/ 16 w 72"/>
                <a:gd name="T17" fmla="*/ 51 h 85"/>
                <a:gd name="T18" fmla="*/ 5 w 72"/>
                <a:gd name="T19" fmla="*/ 59 h 85"/>
                <a:gd name="T20" fmla="*/ 0 w 72"/>
                <a:gd name="T21" fmla="*/ 69 h 85"/>
                <a:gd name="T22" fmla="*/ 5 w 72"/>
                <a:gd name="T23" fmla="*/ 79 h 85"/>
                <a:gd name="T24" fmla="*/ 10 w 72"/>
                <a:gd name="T25" fmla="*/ 84 h 85"/>
                <a:gd name="T26" fmla="*/ 20 w 72"/>
                <a:gd name="T27" fmla="*/ 82 h 85"/>
                <a:gd name="T28" fmla="*/ 43 w 72"/>
                <a:gd name="T29" fmla="*/ 60 h 85"/>
                <a:gd name="T30" fmla="*/ 54 w 72"/>
                <a:gd name="T31" fmla="*/ 59 h 85"/>
                <a:gd name="T32" fmla="*/ 56 w 72"/>
                <a:gd name="T33" fmla="*/ 56 h 85"/>
                <a:gd name="T34" fmla="*/ 59 w 72"/>
                <a:gd name="T35" fmla="*/ 5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85">
                  <a:moveTo>
                    <a:pt x="59" y="51"/>
                  </a:moveTo>
                  <a:cubicBezTo>
                    <a:pt x="64" y="44"/>
                    <a:pt x="69" y="39"/>
                    <a:pt x="69" y="29"/>
                  </a:cubicBezTo>
                  <a:cubicBezTo>
                    <a:pt x="71" y="21"/>
                    <a:pt x="67" y="9"/>
                    <a:pt x="61" y="4"/>
                  </a:cubicBezTo>
                  <a:cubicBezTo>
                    <a:pt x="58" y="1"/>
                    <a:pt x="53" y="0"/>
                    <a:pt x="48" y="1"/>
                  </a:cubicBezTo>
                  <a:cubicBezTo>
                    <a:pt x="46" y="3"/>
                    <a:pt x="44" y="8"/>
                    <a:pt x="44" y="11"/>
                  </a:cubicBezTo>
                  <a:cubicBezTo>
                    <a:pt x="43" y="19"/>
                    <a:pt x="39" y="24"/>
                    <a:pt x="35" y="31"/>
                  </a:cubicBezTo>
                  <a:cubicBezTo>
                    <a:pt x="30" y="34"/>
                    <a:pt x="21" y="37"/>
                    <a:pt x="20" y="44"/>
                  </a:cubicBezTo>
                  <a:cubicBezTo>
                    <a:pt x="20" y="46"/>
                    <a:pt x="19" y="46"/>
                    <a:pt x="18" y="47"/>
                  </a:cubicBezTo>
                  <a:cubicBezTo>
                    <a:pt x="17" y="49"/>
                    <a:pt x="16" y="49"/>
                    <a:pt x="16" y="51"/>
                  </a:cubicBezTo>
                  <a:cubicBezTo>
                    <a:pt x="13" y="52"/>
                    <a:pt x="8" y="56"/>
                    <a:pt x="5" y="59"/>
                  </a:cubicBezTo>
                  <a:cubicBezTo>
                    <a:pt x="3" y="62"/>
                    <a:pt x="0" y="64"/>
                    <a:pt x="0" y="69"/>
                  </a:cubicBezTo>
                  <a:cubicBezTo>
                    <a:pt x="0" y="72"/>
                    <a:pt x="2" y="75"/>
                    <a:pt x="5" y="79"/>
                  </a:cubicBezTo>
                  <a:cubicBezTo>
                    <a:pt x="7" y="80"/>
                    <a:pt x="8" y="82"/>
                    <a:pt x="10" y="84"/>
                  </a:cubicBezTo>
                  <a:cubicBezTo>
                    <a:pt x="13" y="84"/>
                    <a:pt x="16" y="82"/>
                    <a:pt x="20" y="82"/>
                  </a:cubicBezTo>
                  <a:cubicBezTo>
                    <a:pt x="20" y="70"/>
                    <a:pt x="31" y="60"/>
                    <a:pt x="43" y="60"/>
                  </a:cubicBezTo>
                  <a:cubicBezTo>
                    <a:pt x="46" y="60"/>
                    <a:pt x="51" y="62"/>
                    <a:pt x="54" y="59"/>
                  </a:cubicBezTo>
                  <a:cubicBezTo>
                    <a:pt x="54" y="59"/>
                    <a:pt x="56" y="57"/>
                    <a:pt x="56" y="56"/>
                  </a:cubicBezTo>
                  <a:cubicBezTo>
                    <a:pt x="58" y="54"/>
                    <a:pt x="58" y="52"/>
                    <a:pt x="59" y="5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70" name="Freeform 106">
              <a:extLst>
                <a:ext uri="{FF2B5EF4-FFF2-40B4-BE49-F238E27FC236}">
                  <a16:creationId xmlns:a16="http://schemas.microsoft.com/office/drawing/2014/main" id="{6B132748-2881-BE4F-80B6-320DA9B2B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1989138"/>
              <a:ext cx="112712" cy="103187"/>
            </a:xfrm>
            <a:custGeom>
              <a:avLst/>
              <a:gdLst>
                <a:gd name="T0" fmla="*/ 258 w 315"/>
                <a:gd name="T1" fmla="*/ 43 h 285"/>
                <a:gd name="T2" fmla="*/ 255 w 315"/>
                <a:gd name="T3" fmla="*/ 41 h 285"/>
                <a:gd name="T4" fmla="*/ 138 w 315"/>
                <a:gd name="T5" fmla="*/ 10 h 285"/>
                <a:gd name="T6" fmla="*/ 80 w 315"/>
                <a:gd name="T7" fmla="*/ 3 h 285"/>
                <a:gd name="T8" fmla="*/ 52 w 315"/>
                <a:gd name="T9" fmla="*/ 35 h 285"/>
                <a:gd name="T10" fmla="*/ 21 w 315"/>
                <a:gd name="T11" fmla="*/ 132 h 285"/>
                <a:gd name="T12" fmla="*/ 0 w 315"/>
                <a:gd name="T13" fmla="*/ 264 h 285"/>
                <a:gd name="T14" fmla="*/ 72 w 315"/>
                <a:gd name="T15" fmla="*/ 209 h 285"/>
                <a:gd name="T16" fmla="*/ 135 w 315"/>
                <a:gd name="T17" fmla="*/ 204 h 285"/>
                <a:gd name="T18" fmla="*/ 197 w 315"/>
                <a:gd name="T19" fmla="*/ 185 h 285"/>
                <a:gd name="T20" fmla="*/ 301 w 315"/>
                <a:gd name="T21" fmla="*/ 127 h 285"/>
                <a:gd name="T22" fmla="*/ 258 w 315"/>
                <a:gd name="T23" fmla="*/ 43 h 285"/>
                <a:gd name="T24" fmla="*/ 255 w 315"/>
                <a:gd name="T25" fmla="*/ 41 h 285"/>
                <a:gd name="T26" fmla="*/ 258 w 315"/>
                <a:gd name="T27" fmla="*/ 43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5" h="285">
                  <a:moveTo>
                    <a:pt x="258" y="43"/>
                  </a:moveTo>
                  <a:cubicBezTo>
                    <a:pt x="253" y="38"/>
                    <a:pt x="253" y="40"/>
                    <a:pt x="255" y="41"/>
                  </a:cubicBezTo>
                  <a:cubicBezTo>
                    <a:pt x="225" y="18"/>
                    <a:pt x="173" y="17"/>
                    <a:pt x="138" y="10"/>
                  </a:cubicBezTo>
                  <a:cubicBezTo>
                    <a:pt x="122" y="7"/>
                    <a:pt x="98" y="0"/>
                    <a:pt x="80" y="3"/>
                  </a:cubicBezTo>
                  <a:cubicBezTo>
                    <a:pt x="59" y="10"/>
                    <a:pt x="62" y="18"/>
                    <a:pt x="52" y="35"/>
                  </a:cubicBezTo>
                  <a:cubicBezTo>
                    <a:pt x="31" y="73"/>
                    <a:pt x="8" y="83"/>
                    <a:pt x="21" y="132"/>
                  </a:cubicBezTo>
                  <a:cubicBezTo>
                    <a:pt x="34" y="183"/>
                    <a:pt x="24" y="219"/>
                    <a:pt x="0" y="264"/>
                  </a:cubicBezTo>
                  <a:cubicBezTo>
                    <a:pt x="28" y="284"/>
                    <a:pt x="49" y="214"/>
                    <a:pt x="72" y="209"/>
                  </a:cubicBezTo>
                  <a:cubicBezTo>
                    <a:pt x="94" y="204"/>
                    <a:pt x="113" y="211"/>
                    <a:pt x="135" y="204"/>
                  </a:cubicBezTo>
                  <a:cubicBezTo>
                    <a:pt x="156" y="200"/>
                    <a:pt x="176" y="191"/>
                    <a:pt x="197" y="185"/>
                  </a:cubicBezTo>
                  <a:cubicBezTo>
                    <a:pt x="232" y="175"/>
                    <a:pt x="286" y="165"/>
                    <a:pt x="301" y="127"/>
                  </a:cubicBezTo>
                  <a:cubicBezTo>
                    <a:pt x="314" y="92"/>
                    <a:pt x="283" y="63"/>
                    <a:pt x="258" y="43"/>
                  </a:cubicBezTo>
                  <a:cubicBezTo>
                    <a:pt x="257" y="41"/>
                    <a:pt x="257" y="41"/>
                    <a:pt x="255" y="41"/>
                  </a:cubicBezTo>
                  <a:cubicBezTo>
                    <a:pt x="258" y="43"/>
                    <a:pt x="262" y="46"/>
                    <a:pt x="258" y="4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71" name="Freeform 107">
              <a:extLst>
                <a:ext uri="{FF2B5EF4-FFF2-40B4-BE49-F238E27FC236}">
                  <a16:creationId xmlns:a16="http://schemas.microsoft.com/office/drawing/2014/main" id="{112FF4FF-7657-0A48-A1D1-866BF4AE16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0850" y="1973263"/>
              <a:ext cx="49213" cy="58737"/>
            </a:xfrm>
            <a:custGeom>
              <a:avLst/>
              <a:gdLst>
                <a:gd name="T0" fmla="*/ 19 w 137"/>
                <a:gd name="T1" fmla="*/ 98 h 164"/>
                <a:gd name="T2" fmla="*/ 120 w 137"/>
                <a:gd name="T3" fmla="*/ 71 h 164"/>
                <a:gd name="T4" fmla="*/ 19 w 137"/>
                <a:gd name="T5" fmla="*/ 98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7" h="164">
                  <a:moveTo>
                    <a:pt x="19" y="98"/>
                  </a:moveTo>
                  <a:cubicBezTo>
                    <a:pt x="0" y="28"/>
                    <a:pt x="100" y="0"/>
                    <a:pt x="120" y="71"/>
                  </a:cubicBezTo>
                  <a:cubicBezTo>
                    <a:pt x="136" y="135"/>
                    <a:pt x="39" y="163"/>
                    <a:pt x="19" y="9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72" name="Freeform 108">
              <a:extLst>
                <a:ext uri="{FF2B5EF4-FFF2-40B4-BE49-F238E27FC236}">
                  <a16:creationId xmlns:a16="http://schemas.microsoft.com/office/drawing/2014/main" id="{2ED70333-1ED0-6545-B55D-E7FDEB8B95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8613" y="2079625"/>
              <a:ext cx="39687" cy="31750"/>
            </a:xfrm>
            <a:custGeom>
              <a:avLst/>
              <a:gdLst>
                <a:gd name="T0" fmla="*/ 59 w 112"/>
                <a:gd name="T1" fmla="*/ 10 h 88"/>
                <a:gd name="T2" fmla="*/ 33 w 112"/>
                <a:gd name="T3" fmla="*/ 2 h 88"/>
                <a:gd name="T4" fmla="*/ 12 w 112"/>
                <a:gd name="T5" fmla="*/ 2 h 88"/>
                <a:gd name="T6" fmla="*/ 3 w 112"/>
                <a:gd name="T7" fmla="*/ 18 h 88"/>
                <a:gd name="T8" fmla="*/ 23 w 112"/>
                <a:gd name="T9" fmla="*/ 31 h 88"/>
                <a:gd name="T10" fmla="*/ 92 w 112"/>
                <a:gd name="T11" fmla="*/ 71 h 88"/>
                <a:gd name="T12" fmla="*/ 59 w 112"/>
                <a:gd name="T13" fmla="*/ 1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88">
                  <a:moveTo>
                    <a:pt x="59" y="10"/>
                  </a:moveTo>
                  <a:cubicBezTo>
                    <a:pt x="51" y="5"/>
                    <a:pt x="41" y="3"/>
                    <a:pt x="33" y="2"/>
                  </a:cubicBezTo>
                  <a:cubicBezTo>
                    <a:pt x="27" y="0"/>
                    <a:pt x="18" y="0"/>
                    <a:pt x="12" y="2"/>
                  </a:cubicBezTo>
                  <a:cubicBezTo>
                    <a:pt x="7" y="5"/>
                    <a:pt x="0" y="11"/>
                    <a:pt x="3" y="18"/>
                  </a:cubicBezTo>
                  <a:cubicBezTo>
                    <a:pt x="12" y="20"/>
                    <a:pt x="18" y="26"/>
                    <a:pt x="23" y="31"/>
                  </a:cubicBezTo>
                  <a:cubicBezTo>
                    <a:pt x="35" y="43"/>
                    <a:pt x="73" y="87"/>
                    <a:pt x="92" y="71"/>
                  </a:cubicBezTo>
                  <a:cubicBezTo>
                    <a:pt x="111" y="56"/>
                    <a:pt x="71" y="16"/>
                    <a:pt x="59" y="10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73" name="Freeform 109">
              <a:extLst>
                <a:ext uri="{FF2B5EF4-FFF2-40B4-BE49-F238E27FC236}">
                  <a16:creationId xmlns:a16="http://schemas.microsoft.com/office/drawing/2014/main" id="{16ED53D7-F21C-9D40-B5DE-69F528639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84950" y="1908175"/>
              <a:ext cx="36513" cy="71438"/>
            </a:xfrm>
            <a:custGeom>
              <a:avLst/>
              <a:gdLst>
                <a:gd name="T0" fmla="*/ 31 w 101"/>
                <a:gd name="T1" fmla="*/ 112 h 197"/>
                <a:gd name="T2" fmla="*/ 92 w 101"/>
                <a:gd name="T3" fmla="*/ 133 h 197"/>
                <a:gd name="T4" fmla="*/ 54 w 101"/>
                <a:gd name="T5" fmla="*/ 29 h 197"/>
                <a:gd name="T6" fmla="*/ 0 w 101"/>
                <a:gd name="T7" fmla="*/ 34 h 197"/>
                <a:gd name="T8" fmla="*/ 31 w 101"/>
                <a:gd name="T9" fmla="*/ 112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97">
                  <a:moveTo>
                    <a:pt x="31" y="112"/>
                  </a:moveTo>
                  <a:cubicBezTo>
                    <a:pt x="46" y="142"/>
                    <a:pt x="77" y="196"/>
                    <a:pt x="92" y="133"/>
                  </a:cubicBezTo>
                  <a:cubicBezTo>
                    <a:pt x="100" y="102"/>
                    <a:pt x="77" y="53"/>
                    <a:pt x="54" y="29"/>
                  </a:cubicBezTo>
                  <a:cubicBezTo>
                    <a:pt x="34" y="10"/>
                    <a:pt x="0" y="0"/>
                    <a:pt x="0" y="34"/>
                  </a:cubicBezTo>
                  <a:cubicBezTo>
                    <a:pt x="0" y="61"/>
                    <a:pt x="19" y="89"/>
                    <a:pt x="31" y="11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74" name="Freeform 110">
              <a:extLst>
                <a:ext uri="{FF2B5EF4-FFF2-40B4-BE49-F238E27FC236}">
                  <a16:creationId xmlns:a16="http://schemas.microsoft.com/office/drawing/2014/main" id="{5303AE7E-5681-A745-965B-8E9CBA2406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3050" y="1778000"/>
              <a:ext cx="233363" cy="203200"/>
            </a:xfrm>
            <a:custGeom>
              <a:avLst/>
              <a:gdLst>
                <a:gd name="T0" fmla="*/ 384 w 647"/>
                <a:gd name="T1" fmla="*/ 448 h 564"/>
                <a:gd name="T2" fmla="*/ 343 w 647"/>
                <a:gd name="T3" fmla="*/ 471 h 564"/>
                <a:gd name="T4" fmla="*/ 346 w 647"/>
                <a:gd name="T5" fmla="*/ 544 h 564"/>
                <a:gd name="T6" fmla="*/ 277 w 647"/>
                <a:gd name="T7" fmla="*/ 559 h 564"/>
                <a:gd name="T8" fmla="*/ 233 w 647"/>
                <a:gd name="T9" fmla="*/ 559 h 564"/>
                <a:gd name="T10" fmla="*/ 195 w 647"/>
                <a:gd name="T11" fmla="*/ 531 h 564"/>
                <a:gd name="T12" fmla="*/ 76 w 647"/>
                <a:gd name="T13" fmla="*/ 465 h 564"/>
                <a:gd name="T14" fmla="*/ 81 w 647"/>
                <a:gd name="T15" fmla="*/ 404 h 564"/>
                <a:gd name="T16" fmla="*/ 30 w 647"/>
                <a:gd name="T17" fmla="*/ 336 h 564"/>
                <a:gd name="T18" fmla="*/ 30 w 647"/>
                <a:gd name="T19" fmla="*/ 305 h 564"/>
                <a:gd name="T20" fmla="*/ 9 w 647"/>
                <a:gd name="T21" fmla="*/ 285 h 564"/>
                <a:gd name="T22" fmla="*/ 17 w 647"/>
                <a:gd name="T23" fmla="*/ 227 h 564"/>
                <a:gd name="T24" fmla="*/ 38 w 647"/>
                <a:gd name="T25" fmla="*/ 198 h 564"/>
                <a:gd name="T26" fmla="*/ 38 w 647"/>
                <a:gd name="T27" fmla="*/ 161 h 564"/>
                <a:gd name="T28" fmla="*/ 94 w 647"/>
                <a:gd name="T29" fmla="*/ 157 h 564"/>
                <a:gd name="T30" fmla="*/ 162 w 647"/>
                <a:gd name="T31" fmla="*/ 166 h 564"/>
                <a:gd name="T32" fmla="*/ 188 w 647"/>
                <a:gd name="T33" fmla="*/ 193 h 564"/>
                <a:gd name="T34" fmla="*/ 214 w 647"/>
                <a:gd name="T35" fmla="*/ 180 h 564"/>
                <a:gd name="T36" fmla="*/ 261 w 647"/>
                <a:gd name="T37" fmla="*/ 214 h 564"/>
                <a:gd name="T38" fmla="*/ 285 w 647"/>
                <a:gd name="T39" fmla="*/ 170 h 564"/>
                <a:gd name="T40" fmla="*/ 259 w 647"/>
                <a:gd name="T41" fmla="*/ 150 h 564"/>
                <a:gd name="T42" fmla="*/ 251 w 647"/>
                <a:gd name="T43" fmla="*/ 130 h 564"/>
                <a:gd name="T44" fmla="*/ 219 w 647"/>
                <a:gd name="T45" fmla="*/ 84 h 564"/>
                <a:gd name="T46" fmla="*/ 328 w 647"/>
                <a:gd name="T47" fmla="*/ 58 h 564"/>
                <a:gd name="T48" fmla="*/ 453 w 647"/>
                <a:gd name="T49" fmla="*/ 10 h 564"/>
                <a:gd name="T50" fmla="*/ 546 w 647"/>
                <a:gd name="T51" fmla="*/ 2 h 564"/>
                <a:gd name="T52" fmla="*/ 593 w 647"/>
                <a:gd name="T53" fmla="*/ 7 h 564"/>
                <a:gd name="T54" fmla="*/ 602 w 647"/>
                <a:gd name="T55" fmla="*/ 25 h 564"/>
                <a:gd name="T56" fmla="*/ 592 w 647"/>
                <a:gd name="T57" fmla="*/ 51 h 564"/>
                <a:gd name="T58" fmla="*/ 610 w 647"/>
                <a:gd name="T59" fmla="*/ 82 h 564"/>
                <a:gd name="T60" fmla="*/ 644 w 647"/>
                <a:gd name="T61" fmla="*/ 142 h 564"/>
                <a:gd name="T62" fmla="*/ 626 w 647"/>
                <a:gd name="T63" fmla="*/ 194 h 564"/>
                <a:gd name="T64" fmla="*/ 539 w 647"/>
                <a:gd name="T65" fmla="*/ 236 h 564"/>
                <a:gd name="T66" fmla="*/ 443 w 647"/>
                <a:gd name="T67" fmla="*/ 163 h 564"/>
                <a:gd name="T68" fmla="*/ 427 w 647"/>
                <a:gd name="T69" fmla="*/ 89 h 564"/>
                <a:gd name="T70" fmla="*/ 371 w 647"/>
                <a:gd name="T71" fmla="*/ 120 h 564"/>
                <a:gd name="T72" fmla="*/ 415 w 647"/>
                <a:gd name="T73" fmla="*/ 191 h 564"/>
                <a:gd name="T74" fmla="*/ 493 w 647"/>
                <a:gd name="T75" fmla="*/ 247 h 564"/>
                <a:gd name="T76" fmla="*/ 588 w 647"/>
                <a:gd name="T77" fmla="*/ 242 h 564"/>
                <a:gd name="T78" fmla="*/ 603 w 647"/>
                <a:gd name="T79" fmla="*/ 280 h 564"/>
                <a:gd name="T80" fmla="*/ 574 w 647"/>
                <a:gd name="T81" fmla="*/ 305 h 564"/>
                <a:gd name="T82" fmla="*/ 542 w 647"/>
                <a:gd name="T83" fmla="*/ 343 h 564"/>
                <a:gd name="T84" fmla="*/ 493 w 647"/>
                <a:gd name="T85" fmla="*/ 336 h 564"/>
                <a:gd name="T86" fmla="*/ 384 w 647"/>
                <a:gd name="T87" fmla="*/ 448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47" h="564">
                  <a:moveTo>
                    <a:pt x="384" y="448"/>
                  </a:moveTo>
                  <a:cubicBezTo>
                    <a:pt x="363" y="451"/>
                    <a:pt x="340" y="433"/>
                    <a:pt x="343" y="471"/>
                  </a:cubicBezTo>
                  <a:cubicBezTo>
                    <a:pt x="346" y="499"/>
                    <a:pt x="383" y="521"/>
                    <a:pt x="346" y="544"/>
                  </a:cubicBezTo>
                  <a:cubicBezTo>
                    <a:pt x="328" y="555"/>
                    <a:pt x="297" y="555"/>
                    <a:pt x="277" y="559"/>
                  </a:cubicBezTo>
                  <a:cubicBezTo>
                    <a:pt x="262" y="560"/>
                    <a:pt x="246" y="563"/>
                    <a:pt x="233" y="559"/>
                  </a:cubicBezTo>
                  <a:cubicBezTo>
                    <a:pt x="214" y="554"/>
                    <a:pt x="210" y="539"/>
                    <a:pt x="195" y="531"/>
                  </a:cubicBezTo>
                  <a:cubicBezTo>
                    <a:pt x="165" y="516"/>
                    <a:pt x="70" y="517"/>
                    <a:pt x="76" y="465"/>
                  </a:cubicBezTo>
                  <a:cubicBezTo>
                    <a:pt x="79" y="435"/>
                    <a:pt x="106" y="433"/>
                    <a:pt x="81" y="404"/>
                  </a:cubicBezTo>
                  <a:cubicBezTo>
                    <a:pt x="61" y="379"/>
                    <a:pt x="35" y="374"/>
                    <a:pt x="30" y="336"/>
                  </a:cubicBezTo>
                  <a:cubicBezTo>
                    <a:pt x="30" y="328"/>
                    <a:pt x="35" y="313"/>
                    <a:pt x="30" y="305"/>
                  </a:cubicBezTo>
                  <a:cubicBezTo>
                    <a:pt x="27" y="295"/>
                    <a:pt x="13" y="293"/>
                    <a:pt x="9" y="285"/>
                  </a:cubicBezTo>
                  <a:cubicBezTo>
                    <a:pt x="0" y="269"/>
                    <a:pt x="9" y="244"/>
                    <a:pt x="17" y="227"/>
                  </a:cubicBezTo>
                  <a:cubicBezTo>
                    <a:pt x="23" y="218"/>
                    <a:pt x="33" y="209"/>
                    <a:pt x="38" y="198"/>
                  </a:cubicBezTo>
                  <a:cubicBezTo>
                    <a:pt x="43" y="186"/>
                    <a:pt x="37" y="175"/>
                    <a:pt x="38" y="161"/>
                  </a:cubicBezTo>
                  <a:cubicBezTo>
                    <a:pt x="45" y="119"/>
                    <a:pt x="70" y="150"/>
                    <a:pt x="94" y="157"/>
                  </a:cubicBezTo>
                  <a:cubicBezTo>
                    <a:pt x="117" y="163"/>
                    <a:pt x="142" y="152"/>
                    <a:pt x="162" y="166"/>
                  </a:cubicBezTo>
                  <a:cubicBezTo>
                    <a:pt x="172" y="173"/>
                    <a:pt x="175" y="189"/>
                    <a:pt x="188" y="193"/>
                  </a:cubicBezTo>
                  <a:cubicBezTo>
                    <a:pt x="206" y="196"/>
                    <a:pt x="201" y="181"/>
                    <a:pt x="214" y="180"/>
                  </a:cubicBezTo>
                  <a:cubicBezTo>
                    <a:pt x="244" y="176"/>
                    <a:pt x="238" y="206"/>
                    <a:pt x="261" y="214"/>
                  </a:cubicBezTo>
                  <a:cubicBezTo>
                    <a:pt x="289" y="224"/>
                    <a:pt x="295" y="188"/>
                    <a:pt x="285" y="170"/>
                  </a:cubicBezTo>
                  <a:cubicBezTo>
                    <a:pt x="280" y="161"/>
                    <a:pt x="266" y="157"/>
                    <a:pt x="259" y="150"/>
                  </a:cubicBezTo>
                  <a:cubicBezTo>
                    <a:pt x="256" y="145"/>
                    <a:pt x="256" y="135"/>
                    <a:pt x="251" y="130"/>
                  </a:cubicBezTo>
                  <a:cubicBezTo>
                    <a:pt x="238" y="114"/>
                    <a:pt x="221" y="109"/>
                    <a:pt x="219" y="84"/>
                  </a:cubicBezTo>
                  <a:cubicBezTo>
                    <a:pt x="218" y="8"/>
                    <a:pt x="294" y="51"/>
                    <a:pt x="328" y="58"/>
                  </a:cubicBezTo>
                  <a:cubicBezTo>
                    <a:pt x="384" y="68"/>
                    <a:pt x="406" y="23"/>
                    <a:pt x="453" y="10"/>
                  </a:cubicBezTo>
                  <a:cubicBezTo>
                    <a:pt x="481" y="2"/>
                    <a:pt x="516" y="2"/>
                    <a:pt x="546" y="2"/>
                  </a:cubicBezTo>
                  <a:cubicBezTo>
                    <a:pt x="557" y="3"/>
                    <a:pt x="585" y="0"/>
                    <a:pt x="593" y="7"/>
                  </a:cubicBezTo>
                  <a:cubicBezTo>
                    <a:pt x="608" y="15"/>
                    <a:pt x="603" y="10"/>
                    <a:pt x="602" y="25"/>
                  </a:cubicBezTo>
                  <a:cubicBezTo>
                    <a:pt x="602" y="33"/>
                    <a:pt x="592" y="41"/>
                    <a:pt x="592" y="51"/>
                  </a:cubicBezTo>
                  <a:cubicBezTo>
                    <a:pt x="592" y="66"/>
                    <a:pt x="600" y="73"/>
                    <a:pt x="610" y="82"/>
                  </a:cubicBezTo>
                  <a:cubicBezTo>
                    <a:pt x="631" y="104"/>
                    <a:pt x="641" y="110"/>
                    <a:pt x="644" y="142"/>
                  </a:cubicBezTo>
                  <a:cubicBezTo>
                    <a:pt x="646" y="170"/>
                    <a:pt x="646" y="178"/>
                    <a:pt x="626" y="194"/>
                  </a:cubicBezTo>
                  <a:cubicBezTo>
                    <a:pt x="600" y="216"/>
                    <a:pt x="575" y="237"/>
                    <a:pt x="539" y="236"/>
                  </a:cubicBezTo>
                  <a:cubicBezTo>
                    <a:pt x="498" y="236"/>
                    <a:pt x="445" y="206"/>
                    <a:pt x="443" y="163"/>
                  </a:cubicBezTo>
                  <a:cubicBezTo>
                    <a:pt x="442" y="143"/>
                    <a:pt x="453" y="101"/>
                    <a:pt x="427" y="89"/>
                  </a:cubicBezTo>
                  <a:cubicBezTo>
                    <a:pt x="411" y="82"/>
                    <a:pt x="378" y="107"/>
                    <a:pt x="371" y="120"/>
                  </a:cubicBezTo>
                  <a:cubicBezTo>
                    <a:pt x="356" y="155"/>
                    <a:pt x="391" y="175"/>
                    <a:pt x="415" y="191"/>
                  </a:cubicBezTo>
                  <a:cubicBezTo>
                    <a:pt x="442" y="208"/>
                    <a:pt x="465" y="232"/>
                    <a:pt x="493" y="247"/>
                  </a:cubicBezTo>
                  <a:cubicBezTo>
                    <a:pt x="534" y="270"/>
                    <a:pt x="551" y="241"/>
                    <a:pt x="588" y="242"/>
                  </a:cubicBezTo>
                  <a:cubicBezTo>
                    <a:pt x="621" y="244"/>
                    <a:pt x="620" y="264"/>
                    <a:pt x="603" y="280"/>
                  </a:cubicBezTo>
                  <a:cubicBezTo>
                    <a:pt x="593" y="290"/>
                    <a:pt x="584" y="295"/>
                    <a:pt x="574" y="305"/>
                  </a:cubicBezTo>
                  <a:cubicBezTo>
                    <a:pt x="565" y="316"/>
                    <a:pt x="557" y="339"/>
                    <a:pt x="542" y="343"/>
                  </a:cubicBezTo>
                  <a:cubicBezTo>
                    <a:pt x="518" y="349"/>
                    <a:pt x="516" y="318"/>
                    <a:pt x="493" y="336"/>
                  </a:cubicBezTo>
                  <a:cubicBezTo>
                    <a:pt x="452" y="367"/>
                    <a:pt x="439" y="437"/>
                    <a:pt x="384" y="44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75" name="Freeform 111">
              <a:extLst>
                <a:ext uri="{FF2B5EF4-FFF2-40B4-BE49-F238E27FC236}">
                  <a16:creationId xmlns:a16="http://schemas.microsoft.com/office/drawing/2014/main" id="{4B713EFA-1DD6-7242-B8FB-7393957D5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1175" y="1704975"/>
              <a:ext cx="155575" cy="92075"/>
            </a:xfrm>
            <a:custGeom>
              <a:avLst/>
              <a:gdLst>
                <a:gd name="T0" fmla="*/ 8 w 433"/>
                <a:gd name="T1" fmla="*/ 153 h 256"/>
                <a:gd name="T2" fmla="*/ 51 w 433"/>
                <a:gd name="T3" fmla="*/ 160 h 256"/>
                <a:gd name="T4" fmla="*/ 102 w 433"/>
                <a:gd name="T5" fmla="*/ 138 h 256"/>
                <a:gd name="T6" fmla="*/ 112 w 433"/>
                <a:gd name="T7" fmla="*/ 105 h 256"/>
                <a:gd name="T8" fmla="*/ 147 w 433"/>
                <a:gd name="T9" fmla="*/ 89 h 256"/>
                <a:gd name="T10" fmla="*/ 188 w 433"/>
                <a:gd name="T11" fmla="*/ 95 h 256"/>
                <a:gd name="T12" fmla="*/ 244 w 433"/>
                <a:gd name="T13" fmla="*/ 67 h 256"/>
                <a:gd name="T14" fmla="*/ 298 w 433"/>
                <a:gd name="T15" fmla="*/ 24 h 256"/>
                <a:gd name="T16" fmla="*/ 331 w 433"/>
                <a:gd name="T17" fmla="*/ 31 h 256"/>
                <a:gd name="T18" fmla="*/ 354 w 433"/>
                <a:gd name="T19" fmla="*/ 18 h 256"/>
                <a:gd name="T20" fmla="*/ 399 w 433"/>
                <a:gd name="T21" fmla="*/ 33 h 256"/>
                <a:gd name="T22" fmla="*/ 415 w 433"/>
                <a:gd name="T23" fmla="*/ 110 h 256"/>
                <a:gd name="T24" fmla="*/ 396 w 433"/>
                <a:gd name="T25" fmla="*/ 127 h 256"/>
                <a:gd name="T26" fmla="*/ 397 w 433"/>
                <a:gd name="T27" fmla="*/ 160 h 256"/>
                <a:gd name="T28" fmla="*/ 374 w 433"/>
                <a:gd name="T29" fmla="*/ 181 h 256"/>
                <a:gd name="T30" fmla="*/ 353 w 433"/>
                <a:gd name="T31" fmla="*/ 212 h 256"/>
                <a:gd name="T32" fmla="*/ 270 w 433"/>
                <a:gd name="T33" fmla="*/ 245 h 256"/>
                <a:gd name="T34" fmla="*/ 181 w 433"/>
                <a:gd name="T35" fmla="*/ 245 h 256"/>
                <a:gd name="T36" fmla="*/ 104 w 433"/>
                <a:gd name="T37" fmla="*/ 242 h 256"/>
                <a:gd name="T38" fmla="*/ 40 w 433"/>
                <a:gd name="T39" fmla="*/ 229 h 256"/>
                <a:gd name="T40" fmla="*/ 8 w 433"/>
                <a:gd name="T41" fmla="*/ 153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33" h="256">
                  <a:moveTo>
                    <a:pt x="8" y="153"/>
                  </a:moveTo>
                  <a:cubicBezTo>
                    <a:pt x="0" y="122"/>
                    <a:pt x="50" y="160"/>
                    <a:pt x="51" y="160"/>
                  </a:cubicBezTo>
                  <a:cubicBezTo>
                    <a:pt x="71" y="166"/>
                    <a:pt x="94" y="155"/>
                    <a:pt x="102" y="138"/>
                  </a:cubicBezTo>
                  <a:cubicBezTo>
                    <a:pt x="107" y="127"/>
                    <a:pt x="101" y="117"/>
                    <a:pt x="112" y="105"/>
                  </a:cubicBezTo>
                  <a:cubicBezTo>
                    <a:pt x="119" y="99"/>
                    <a:pt x="139" y="94"/>
                    <a:pt x="147" y="89"/>
                  </a:cubicBezTo>
                  <a:cubicBezTo>
                    <a:pt x="178" y="64"/>
                    <a:pt x="167" y="72"/>
                    <a:pt x="188" y="95"/>
                  </a:cubicBezTo>
                  <a:cubicBezTo>
                    <a:pt x="218" y="127"/>
                    <a:pt x="228" y="85"/>
                    <a:pt x="244" y="67"/>
                  </a:cubicBezTo>
                  <a:cubicBezTo>
                    <a:pt x="256" y="56"/>
                    <a:pt x="284" y="28"/>
                    <a:pt x="298" y="24"/>
                  </a:cubicBezTo>
                  <a:cubicBezTo>
                    <a:pt x="312" y="20"/>
                    <a:pt x="318" y="31"/>
                    <a:pt x="331" y="31"/>
                  </a:cubicBezTo>
                  <a:cubicBezTo>
                    <a:pt x="345" y="29"/>
                    <a:pt x="345" y="23"/>
                    <a:pt x="354" y="18"/>
                  </a:cubicBezTo>
                  <a:cubicBezTo>
                    <a:pt x="381" y="0"/>
                    <a:pt x="384" y="1"/>
                    <a:pt x="399" y="33"/>
                  </a:cubicBezTo>
                  <a:cubicBezTo>
                    <a:pt x="410" y="54"/>
                    <a:pt x="432" y="85"/>
                    <a:pt x="415" y="110"/>
                  </a:cubicBezTo>
                  <a:cubicBezTo>
                    <a:pt x="410" y="118"/>
                    <a:pt x="399" y="115"/>
                    <a:pt x="396" y="127"/>
                  </a:cubicBezTo>
                  <a:cubicBezTo>
                    <a:pt x="392" y="137"/>
                    <a:pt x="401" y="150"/>
                    <a:pt x="397" y="160"/>
                  </a:cubicBezTo>
                  <a:cubicBezTo>
                    <a:pt x="394" y="174"/>
                    <a:pt x="384" y="171"/>
                    <a:pt x="374" y="181"/>
                  </a:cubicBezTo>
                  <a:cubicBezTo>
                    <a:pt x="366" y="191"/>
                    <a:pt x="363" y="202"/>
                    <a:pt x="353" y="212"/>
                  </a:cubicBezTo>
                  <a:cubicBezTo>
                    <a:pt x="333" y="229"/>
                    <a:pt x="295" y="244"/>
                    <a:pt x="270" y="245"/>
                  </a:cubicBezTo>
                  <a:cubicBezTo>
                    <a:pt x="234" y="247"/>
                    <a:pt x="216" y="234"/>
                    <a:pt x="181" y="245"/>
                  </a:cubicBezTo>
                  <a:cubicBezTo>
                    <a:pt x="153" y="255"/>
                    <a:pt x="132" y="242"/>
                    <a:pt x="104" y="242"/>
                  </a:cubicBezTo>
                  <a:cubicBezTo>
                    <a:pt x="78" y="244"/>
                    <a:pt x="60" y="255"/>
                    <a:pt x="40" y="229"/>
                  </a:cubicBezTo>
                  <a:cubicBezTo>
                    <a:pt x="28" y="212"/>
                    <a:pt x="13" y="173"/>
                    <a:pt x="8" y="15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76" name="Freeform 112">
              <a:extLst>
                <a:ext uri="{FF2B5EF4-FFF2-40B4-BE49-F238E27FC236}">
                  <a16:creationId xmlns:a16="http://schemas.microsoft.com/office/drawing/2014/main" id="{F7CC9EAB-C8FA-E441-8761-57BE162A9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8313" y="1587500"/>
              <a:ext cx="22225" cy="47625"/>
            </a:xfrm>
            <a:custGeom>
              <a:avLst/>
              <a:gdLst>
                <a:gd name="T0" fmla="*/ 43 w 62"/>
                <a:gd name="T1" fmla="*/ 67 h 131"/>
                <a:gd name="T2" fmla="*/ 55 w 62"/>
                <a:gd name="T3" fmla="*/ 37 h 131"/>
                <a:gd name="T4" fmla="*/ 20 w 62"/>
                <a:gd name="T5" fmla="*/ 57 h 131"/>
                <a:gd name="T6" fmla="*/ 5 w 62"/>
                <a:gd name="T7" fmla="*/ 98 h 131"/>
                <a:gd name="T8" fmla="*/ 43 w 62"/>
                <a:gd name="T9" fmla="*/ 6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131">
                  <a:moveTo>
                    <a:pt x="43" y="67"/>
                  </a:moveTo>
                  <a:cubicBezTo>
                    <a:pt x="55" y="61"/>
                    <a:pt x="61" y="54"/>
                    <a:pt x="55" y="37"/>
                  </a:cubicBezTo>
                  <a:cubicBezTo>
                    <a:pt x="40" y="0"/>
                    <a:pt x="27" y="39"/>
                    <a:pt x="20" y="57"/>
                  </a:cubicBezTo>
                  <a:cubicBezTo>
                    <a:pt x="18" y="65"/>
                    <a:pt x="0" y="92"/>
                    <a:pt x="5" y="98"/>
                  </a:cubicBezTo>
                  <a:cubicBezTo>
                    <a:pt x="20" y="130"/>
                    <a:pt x="38" y="72"/>
                    <a:pt x="43" y="6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77" name="Freeform 113">
              <a:extLst>
                <a:ext uri="{FF2B5EF4-FFF2-40B4-BE49-F238E27FC236}">
                  <a16:creationId xmlns:a16="http://schemas.microsoft.com/office/drawing/2014/main" id="{407E4C19-2D07-7643-A2EB-9D0089A176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2100" y="1535113"/>
              <a:ext cx="30163" cy="23812"/>
            </a:xfrm>
            <a:custGeom>
              <a:avLst/>
              <a:gdLst>
                <a:gd name="T0" fmla="*/ 84 w 85"/>
                <a:gd name="T1" fmla="*/ 33 h 67"/>
                <a:gd name="T2" fmla="*/ 74 w 85"/>
                <a:gd name="T3" fmla="*/ 7 h 67"/>
                <a:gd name="T4" fmla="*/ 70 w 85"/>
                <a:gd name="T5" fmla="*/ 2 h 67"/>
                <a:gd name="T6" fmla="*/ 64 w 85"/>
                <a:gd name="T7" fmla="*/ 0 h 67"/>
                <a:gd name="T8" fmla="*/ 28 w 85"/>
                <a:gd name="T9" fmla="*/ 8 h 67"/>
                <a:gd name="T10" fmla="*/ 19 w 85"/>
                <a:gd name="T11" fmla="*/ 7 h 67"/>
                <a:gd name="T12" fmla="*/ 5 w 85"/>
                <a:gd name="T13" fmla="*/ 22 h 67"/>
                <a:gd name="T14" fmla="*/ 1 w 85"/>
                <a:gd name="T15" fmla="*/ 32 h 67"/>
                <a:gd name="T16" fmla="*/ 44 w 85"/>
                <a:gd name="T17" fmla="*/ 65 h 67"/>
                <a:gd name="T18" fmla="*/ 54 w 85"/>
                <a:gd name="T19" fmla="*/ 58 h 67"/>
                <a:gd name="T20" fmla="*/ 69 w 85"/>
                <a:gd name="T21" fmla="*/ 55 h 67"/>
                <a:gd name="T22" fmla="*/ 84 w 85"/>
                <a:gd name="T23" fmla="*/ 3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67">
                  <a:moveTo>
                    <a:pt x="84" y="33"/>
                  </a:moveTo>
                  <a:cubicBezTo>
                    <a:pt x="84" y="23"/>
                    <a:pt x="79" y="15"/>
                    <a:pt x="74" y="7"/>
                  </a:cubicBezTo>
                  <a:cubicBezTo>
                    <a:pt x="72" y="5"/>
                    <a:pt x="72" y="4"/>
                    <a:pt x="70" y="2"/>
                  </a:cubicBezTo>
                  <a:cubicBezTo>
                    <a:pt x="67" y="2"/>
                    <a:pt x="65" y="0"/>
                    <a:pt x="64" y="0"/>
                  </a:cubicBezTo>
                  <a:cubicBezTo>
                    <a:pt x="51" y="2"/>
                    <a:pt x="39" y="8"/>
                    <a:pt x="28" y="8"/>
                  </a:cubicBezTo>
                  <a:cubicBezTo>
                    <a:pt x="24" y="7"/>
                    <a:pt x="23" y="7"/>
                    <a:pt x="19" y="7"/>
                  </a:cubicBezTo>
                  <a:cubicBezTo>
                    <a:pt x="13" y="8"/>
                    <a:pt x="8" y="17"/>
                    <a:pt x="5" y="22"/>
                  </a:cubicBezTo>
                  <a:cubicBezTo>
                    <a:pt x="3" y="25"/>
                    <a:pt x="1" y="28"/>
                    <a:pt x="1" y="32"/>
                  </a:cubicBezTo>
                  <a:cubicBezTo>
                    <a:pt x="0" y="46"/>
                    <a:pt x="33" y="66"/>
                    <a:pt x="44" y="65"/>
                  </a:cubicBezTo>
                  <a:cubicBezTo>
                    <a:pt x="47" y="63"/>
                    <a:pt x="51" y="60"/>
                    <a:pt x="54" y="58"/>
                  </a:cubicBezTo>
                  <a:cubicBezTo>
                    <a:pt x="59" y="56"/>
                    <a:pt x="64" y="56"/>
                    <a:pt x="69" y="55"/>
                  </a:cubicBezTo>
                  <a:cubicBezTo>
                    <a:pt x="77" y="51"/>
                    <a:pt x="84" y="43"/>
                    <a:pt x="84" y="3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78" name="Freeform 114">
              <a:extLst>
                <a:ext uri="{FF2B5EF4-FFF2-40B4-BE49-F238E27FC236}">
                  <a16:creationId xmlns:a16="http://schemas.microsoft.com/office/drawing/2014/main" id="{20C4CC20-1686-E548-AC5B-7B50B8C6FA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6388" y="1531938"/>
              <a:ext cx="196850" cy="320675"/>
            </a:xfrm>
            <a:custGeom>
              <a:avLst/>
              <a:gdLst>
                <a:gd name="T0" fmla="*/ 288 w 548"/>
                <a:gd name="T1" fmla="*/ 2 h 892"/>
                <a:gd name="T2" fmla="*/ 221 w 548"/>
                <a:gd name="T3" fmla="*/ 71 h 892"/>
                <a:gd name="T4" fmla="*/ 143 w 548"/>
                <a:gd name="T5" fmla="*/ 102 h 892"/>
                <a:gd name="T6" fmla="*/ 109 w 548"/>
                <a:gd name="T7" fmla="*/ 157 h 892"/>
                <a:gd name="T8" fmla="*/ 112 w 548"/>
                <a:gd name="T9" fmla="*/ 213 h 892"/>
                <a:gd name="T10" fmla="*/ 49 w 548"/>
                <a:gd name="T11" fmla="*/ 308 h 892"/>
                <a:gd name="T12" fmla="*/ 44 w 548"/>
                <a:gd name="T13" fmla="*/ 361 h 892"/>
                <a:gd name="T14" fmla="*/ 76 w 548"/>
                <a:gd name="T15" fmla="*/ 358 h 892"/>
                <a:gd name="T16" fmla="*/ 82 w 548"/>
                <a:gd name="T17" fmla="*/ 392 h 892"/>
                <a:gd name="T18" fmla="*/ 89 w 548"/>
                <a:gd name="T19" fmla="*/ 448 h 892"/>
                <a:gd name="T20" fmla="*/ 21 w 548"/>
                <a:gd name="T21" fmla="*/ 453 h 892"/>
                <a:gd name="T22" fmla="*/ 26 w 548"/>
                <a:gd name="T23" fmla="*/ 539 h 892"/>
                <a:gd name="T24" fmla="*/ 85 w 548"/>
                <a:gd name="T25" fmla="*/ 570 h 892"/>
                <a:gd name="T26" fmla="*/ 145 w 548"/>
                <a:gd name="T27" fmla="*/ 474 h 892"/>
                <a:gd name="T28" fmla="*/ 155 w 548"/>
                <a:gd name="T29" fmla="*/ 458 h 892"/>
                <a:gd name="T30" fmla="*/ 194 w 548"/>
                <a:gd name="T31" fmla="*/ 437 h 892"/>
                <a:gd name="T32" fmla="*/ 216 w 548"/>
                <a:gd name="T33" fmla="*/ 435 h 892"/>
                <a:gd name="T34" fmla="*/ 212 w 548"/>
                <a:gd name="T35" fmla="*/ 450 h 892"/>
                <a:gd name="T36" fmla="*/ 196 w 548"/>
                <a:gd name="T37" fmla="*/ 479 h 892"/>
                <a:gd name="T38" fmla="*/ 186 w 548"/>
                <a:gd name="T39" fmla="*/ 506 h 892"/>
                <a:gd name="T40" fmla="*/ 178 w 548"/>
                <a:gd name="T41" fmla="*/ 545 h 892"/>
                <a:gd name="T42" fmla="*/ 148 w 548"/>
                <a:gd name="T43" fmla="*/ 580 h 892"/>
                <a:gd name="T44" fmla="*/ 120 w 548"/>
                <a:gd name="T45" fmla="*/ 641 h 892"/>
                <a:gd name="T46" fmla="*/ 141 w 548"/>
                <a:gd name="T47" fmla="*/ 636 h 892"/>
                <a:gd name="T48" fmla="*/ 151 w 548"/>
                <a:gd name="T49" fmla="*/ 636 h 892"/>
                <a:gd name="T50" fmla="*/ 217 w 548"/>
                <a:gd name="T51" fmla="*/ 797 h 892"/>
                <a:gd name="T52" fmla="*/ 250 w 548"/>
                <a:gd name="T53" fmla="*/ 797 h 892"/>
                <a:gd name="T54" fmla="*/ 308 w 548"/>
                <a:gd name="T55" fmla="*/ 819 h 892"/>
                <a:gd name="T56" fmla="*/ 474 w 548"/>
                <a:gd name="T57" fmla="*/ 883 h 892"/>
                <a:gd name="T58" fmla="*/ 534 w 548"/>
                <a:gd name="T59" fmla="*/ 824 h 892"/>
                <a:gd name="T60" fmla="*/ 507 w 548"/>
                <a:gd name="T61" fmla="*/ 722 h 892"/>
                <a:gd name="T62" fmla="*/ 535 w 548"/>
                <a:gd name="T63" fmla="*/ 636 h 892"/>
                <a:gd name="T64" fmla="*/ 504 w 548"/>
                <a:gd name="T65" fmla="*/ 460 h 892"/>
                <a:gd name="T66" fmla="*/ 448 w 548"/>
                <a:gd name="T67" fmla="*/ 483 h 892"/>
                <a:gd name="T68" fmla="*/ 417 w 548"/>
                <a:gd name="T69" fmla="*/ 539 h 892"/>
                <a:gd name="T70" fmla="*/ 394 w 548"/>
                <a:gd name="T71" fmla="*/ 563 h 892"/>
                <a:gd name="T72" fmla="*/ 364 w 548"/>
                <a:gd name="T73" fmla="*/ 575 h 892"/>
                <a:gd name="T74" fmla="*/ 370 w 548"/>
                <a:gd name="T75" fmla="*/ 550 h 892"/>
                <a:gd name="T76" fmla="*/ 395 w 548"/>
                <a:gd name="T77" fmla="*/ 532 h 892"/>
                <a:gd name="T78" fmla="*/ 413 w 548"/>
                <a:gd name="T79" fmla="*/ 445 h 892"/>
                <a:gd name="T80" fmla="*/ 319 w 548"/>
                <a:gd name="T81" fmla="*/ 432 h 892"/>
                <a:gd name="T82" fmla="*/ 283 w 548"/>
                <a:gd name="T83" fmla="*/ 405 h 892"/>
                <a:gd name="T84" fmla="*/ 354 w 548"/>
                <a:gd name="T85" fmla="*/ 353 h 892"/>
                <a:gd name="T86" fmla="*/ 356 w 548"/>
                <a:gd name="T87" fmla="*/ 245 h 892"/>
                <a:gd name="T88" fmla="*/ 389 w 548"/>
                <a:gd name="T89" fmla="*/ 160 h 892"/>
                <a:gd name="T90" fmla="*/ 331 w 548"/>
                <a:gd name="T91" fmla="*/ 73 h 892"/>
                <a:gd name="T92" fmla="*/ 301 w 548"/>
                <a:gd name="T93" fmla="*/ 20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48" h="892">
                  <a:moveTo>
                    <a:pt x="301" y="20"/>
                  </a:moveTo>
                  <a:cubicBezTo>
                    <a:pt x="300" y="13"/>
                    <a:pt x="296" y="3"/>
                    <a:pt x="288" y="2"/>
                  </a:cubicBezTo>
                  <a:cubicBezTo>
                    <a:pt x="282" y="0"/>
                    <a:pt x="275" y="5"/>
                    <a:pt x="272" y="10"/>
                  </a:cubicBezTo>
                  <a:cubicBezTo>
                    <a:pt x="252" y="28"/>
                    <a:pt x="244" y="58"/>
                    <a:pt x="221" y="71"/>
                  </a:cubicBezTo>
                  <a:cubicBezTo>
                    <a:pt x="212" y="74"/>
                    <a:pt x="204" y="77"/>
                    <a:pt x="196" y="79"/>
                  </a:cubicBezTo>
                  <a:cubicBezTo>
                    <a:pt x="178" y="86"/>
                    <a:pt x="161" y="94"/>
                    <a:pt x="143" y="102"/>
                  </a:cubicBezTo>
                  <a:cubicBezTo>
                    <a:pt x="133" y="107"/>
                    <a:pt x="120" y="114"/>
                    <a:pt x="115" y="125"/>
                  </a:cubicBezTo>
                  <a:cubicBezTo>
                    <a:pt x="112" y="135"/>
                    <a:pt x="112" y="147"/>
                    <a:pt x="109" y="157"/>
                  </a:cubicBezTo>
                  <a:cubicBezTo>
                    <a:pt x="105" y="165"/>
                    <a:pt x="99" y="171"/>
                    <a:pt x="99" y="181"/>
                  </a:cubicBezTo>
                  <a:cubicBezTo>
                    <a:pt x="99" y="193"/>
                    <a:pt x="109" y="201"/>
                    <a:pt x="112" y="213"/>
                  </a:cubicBezTo>
                  <a:cubicBezTo>
                    <a:pt x="118" y="231"/>
                    <a:pt x="104" y="250"/>
                    <a:pt x="90" y="265"/>
                  </a:cubicBezTo>
                  <a:cubicBezTo>
                    <a:pt x="77" y="280"/>
                    <a:pt x="64" y="293"/>
                    <a:pt x="49" y="308"/>
                  </a:cubicBezTo>
                  <a:cubicBezTo>
                    <a:pt x="43" y="316"/>
                    <a:pt x="36" y="325"/>
                    <a:pt x="33" y="334"/>
                  </a:cubicBezTo>
                  <a:cubicBezTo>
                    <a:pt x="29" y="344"/>
                    <a:pt x="34" y="358"/>
                    <a:pt x="44" y="361"/>
                  </a:cubicBezTo>
                  <a:cubicBezTo>
                    <a:pt x="51" y="362"/>
                    <a:pt x="59" y="361"/>
                    <a:pt x="66" y="358"/>
                  </a:cubicBezTo>
                  <a:cubicBezTo>
                    <a:pt x="69" y="356"/>
                    <a:pt x="72" y="354"/>
                    <a:pt x="76" y="358"/>
                  </a:cubicBezTo>
                  <a:cubicBezTo>
                    <a:pt x="77" y="358"/>
                    <a:pt x="79" y="359"/>
                    <a:pt x="79" y="361"/>
                  </a:cubicBezTo>
                  <a:cubicBezTo>
                    <a:pt x="84" y="371"/>
                    <a:pt x="82" y="382"/>
                    <a:pt x="82" y="392"/>
                  </a:cubicBezTo>
                  <a:cubicBezTo>
                    <a:pt x="82" y="410"/>
                    <a:pt x="94" y="420"/>
                    <a:pt x="100" y="435"/>
                  </a:cubicBezTo>
                  <a:cubicBezTo>
                    <a:pt x="102" y="440"/>
                    <a:pt x="95" y="448"/>
                    <a:pt x="89" y="448"/>
                  </a:cubicBezTo>
                  <a:cubicBezTo>
                    <a:pt x="82" y="450"/>
                    <a:pt x="76" y="446"/>
                    <a:pt x="69" y="446"/>
                  </a:cubicBezTo>
                  <a:cubicBezTo>
                    <a:pt x="53" y="442"/>
                    <a:pt x="34" y="445"/>
                    <a:pt x="21" y="453"/>
                  </a:cubicBezTo>
                  <a:cubicBezTo>
                    <a:pt x="8" y="461"/>
                    <a:pt x="1" y="474"/>
                    <a:pt x="0" y="489"/>
                  </a:cubicBezTo>
                  <a:cubicBezTo>
                    <a:pt x="0" y="507"/>
                    <a:pt x="15" y="527"/>
                    <a:pt x="26" y="539"/>
                  </a:cubicBezTo>
                  <a:cubicBezTo>
                    <a:pt x="41" y="552"/>
                    <a:pt x="64" y="550"/>
                    <a:pt x="77" y="563"/>
                  </a:cubicBezTo>
                  <a:cubicBezTo>
                    <a:pt x="81" y="565"/>
                    <a:pt x="82" y="568"/>
                    <a:pt x="85" y="570"/>
                  </a:cubicBezTo>
                  <a:cubicBezTo>
                    <a:pt x="92" y="572"/>
                    <a:pt x="99" y="567"/>
                    <a:pt x="102" y="563"/>
                  </a:cubicBezTo>
                  <a:cubicBezTo>
                    <a:pt x="128" y="542"/>
                    <a:pt x="143" y="509"/>
                    <a:pt x="145" y="474"/>
                  </a:cubicBezTo>
                  <a:cubicBezTo>
                    <a:pt x="145" y="471"/>
                    <a:pt x="143" y="466"/>
                    <a:pt x="146" y="465"/>
                  </a:cubicBezTo>
                  <a:cubicBezTo>
                    <a:pt x="148" y="461"/>
                    <a:pt x="151" y="460"/>
                    <a:pt x="155" y="458"/>
                  </a:cubicBezTo>
                  <a:cubicBezTo>
                    <a:pt x="156" y="456"/>
                    <a:pt x="158" y="455"/>
                    <a:pt x="160" y="453"/>
                  </a:cubicBezTo>
                  <a:cubicBezTo>
                    <a:pt x="170" y="445"/>
                    <a:pt x="183" y="443"/>
                    <a:pt x="194" y="437"/>
                  </a:cubicBezTo>
                  <a:cubicBezTo>
                    <a:pt x="198" y="433"/>
                    <a:pt x="201" y="432"/>
                    <a:pt x="204" y="432"/>
                  </a:cubicBezTo>
                  <a:cubicBezTo>
                    <a:pt x="209" y="430"/>
                    <a:pt x="213" y="432"/>
                    <a:pt x="216" y="435"/>
                  </a:cubicBezTo>
                  <a:cubicBezTo>
                    <a:pt x="218" y="438"/>
                    <a:pt x="219" y="443"/>
                    <a:pt x="217" y="446"/>
                  </a:cubicBezTo>
                  <a:cubicBezTo>
                    <a:pt x="216" y="446"/>
                    <a:pt x="214" y="448"/>
                    <a:pt x="212" y="450"/>
                  </a:cubicBezTo>
                  <a:cubicBezTo>
                    <a:pt x="209" y="453"/>
                    <a:pt x="206" y="458"/>
                    <a:pt x="204" y="461"/>
                  </a:cubicBezTo>
                  <a:cubicBezTo>
                    <a:pt x="201" y="468"/>
                    <a:pt x="198" y="473"/>
                    <a:pt x="196" y="479"/>
                  </a:cubicBezTo>
                  <a:cubicBezTo>
                    <a:pt x="193" y="484"/>
                    <a:pt x="189" y="489"/>
                    <a:pt x="188" y="496"/>
                  </a:cubicBezTo>
                  <a:cubicBezTo>
                    <a:pt x="188" y="499"/>
                    <a:pt x="188" y="502"/>
                    <a:pt x="186" y="506"/>
                  </a:cubicBezTo>
                  <a:cubicBezTo>
                    <a:pt x="184" y="514"/>
                    <a:pt x="184" y="524"/>
                    <a:pt x="183" y="532"/>
                  </a:cubicBezTo>
                  <a:cubicBezTo>
                    <a:pt x="181" y="537"/>
                    <a:pt x="181" y="540"/>
                    <a:pt x="178" y="545"/>
                  </a:cubicBezTo>
                  <a:cubicBezTo>
                    <a:pt x="174" y="549"/>
                    <a:pt x="173" y="554"/>
                    <a:pt x="170" y="557"/>
                  </a:cubicBezTo>
                  <a:cubicBezTo>
                    <a:pt x="163" y="565"/>
                    <a:pt x="156" y="573"/>
                    <a:pt x="148" y="580"/>
                  </a:cubicBezTo>
                  <a:cubicBezTo>
                    <a:pt x="138" y="588"/>
                    <a:pt x="127" y="594"/>
                    <a:pt x="120" y="605"/>
                  </a:cubicBezTo>
                  <a:cubicBezTo>
                    <a:pt x="113" y="615"/>
                    <a:pt x="110" y="631"/>
                    <a:pt x="120" y="641"/>
                  </a:cubicBezTo>
                  <a:cubicBezTo>
                    <a:pt x="123" y="643"/>
                    <a:pt x="128" y="644"/>
                    <a:pt x="133" y="643"/>
                  </a:cubicBezTo>
                  <a:cubicBezTo>
                    <a:pt x="137" y="643"/>
                    <a:pt x="138" y="638"/>
                    <a:pt x="141" y="636"/>
                  </a:cubicBezTo>
                  <a:cubicBezTo>
                    <a:pt x="143" y="634"/>
                    <a:pt x="145" y="635"/>
                    <a:pt x="146" y="636"/>
                  </a:cubicBezTo>
                  <a:cubicBezTo>
                    <a:pt x="148" y="637"/>
                    <a:pt x="150" y="636"/>
                    <a:pt x="151" y="636"/>
                  </a:cubicBezTo>
                  <a:cubicBezTo>
                    <a:pt x="155" y="641"/>
                    <a:pt x="156" y="649"/>
                    <a:pt x="156" y="654"/>
                  </a:cubicBezTo>
                  <a:cubicBezTo>
                    <a:pt x="161" y="707"/>
                    <a:pt x="183" y="758"/>
                    <a:pt x="217" y="797"/>
                  </a:cubicBezTo>
                  <a:cubicBezTo>
                    <a:pt x="221" y="799"/>
                    <a:pt x="222" y="802"/>
                    <a:pt x="227" y="804"/>
                  </a:cubicBezTo>
                  <a:cubicBezTo>
                    <a:pt x="234" y="806"/>
                    <a:pt x="242" y="799"/>
                    <a:pt x="250" y="797"/>
                  </a:cubicBezTo>
                  <a:cubicBezTo>
                    <a:pt x="265" y="796"/>
                    <a:pt x="275" y="817"/>
                    <a:pt x="290" y="819"/>
                  </a:cubicBezTo>
                  <a:cubicBezTo>
                    <a:pt x="296" y="820"/>
                    <a:pt x="303" y="819"/>
                    <a:pt x="308" y="819"/>
                  </a:cubicBezTo>
                  <a:cubicBezTo>
                    <a:pt x="336" y="819"/>
                    <a:pt x="349" y="852"/>
                    <a:pt x="370" y="868"/>
                  </a:cubicBezTo>
                  <a:cubicBezTo>
                    <a:pt x="398" y="891"/>
                    <a:pt x="440" y="888"/>
                    <a:pt x="474" y="883"/>
                  </a:cubicBezTo>
                  <a:cubicBezTo>
                    <a:pt x="486" y="881"/>
                    <a:pt x="497" y="878"/>
                    <a:pt x="506" y="873"/>
                  </a:cubicBezTo>
                  <a:cubicBezTo>
                    <a:pt x="524" y="865"/>
                    <a:pt x="534" y="843"/>
                    <a:pt x="534" y="824"/>
                  </a:cubicBezTo>
                  <a:cubicBezTo>
                    <a:pt x="535" y="804"/>
                    <a:pt x="529" y="786"/>
                    <a:pt x="519" y="768"/>
                  </a:cubicBezTo>
                  <a:cubicBezTo>
                    <a:pt x="512" y="753"/>
                    <a:pt x="502" y="736"/>
                    <a:pt x="507" y="722"/>
                  </a:cubicBezTo>
                  <a:cubicBezTo>
                    <a:pt x="509" y="717"/>
                    <a:pt x="514" y="712"/>
                    <a:pt x="517" y="707"/>
                  </a:cubicBezTo>
                  <a:cubicBezTo>
                    <a:pt x="530" y="687"/>
                    <a:pt x="532" y="661"/>
                    <a:pt x="535" y="636"/>
                  </a:cubicBezTo>
                  <a:cubicBezTo>
                    <a:pt x="540" y="605"/>
                    <a:pt x="547" y="573"/>
                    <a:pt x="545" y="542"/>
                  </a:cubicBezTo>
                  <a:cubicBezTo>
                    <a:pt x="542" y="511"/>
                    <a:pt x="530" y="478"/>
                    <a:pt x="504" y="460"/>
                  </a:cubicBezTo>
                  <a:cubicBezTo>
                    <a:pt x="489" y="451"/>
                    <a:pt x="469" y="446"/>
                    <a:pt x="458" y="460"/>
                  </a:cubicBezTo>
                  <a:cubicBezTo>
                    <a:pt x="453" y="466"/>
                    <a:pt x="451" y="474"/>
                    <a:pt x="448" y="483"/>
                  </a:cubicBezTo>
                  <a:cubicBezTo>
                    <a:pt x="445" y="498"/>
                    <a:pt x="438" y="512"/>
                    <a:pt x="430" y="524"/>
                  </a:cubicBezTo>
                  <a:cubicBezTo>
                    <a:pt x="425" y="529"/>
                    <a:pt x="420" y="534"/>
                    <a:pt x="417" y="539"/>
                  </a:cubicBezTo>
                  <a:cubicBezTo>
                    <a:pt x="413" y="544"/>
                    <a:pt x="410" y="549"/>
                    <a:pt x="407" y="554"/>
                  </a:cubicBezTo>
                  <a:cubicBezTo>
                    <a:pt x="402" y="557"/>
                    <a:pt x="397" y="560"/>
                    <a:pt x="394" y="563"/>
                  </a:cubicBezTo>
                  <a:cubicBezTo>
                    <a:pt x="389" y="567"/>
                    <a:pt x="385" y="572"/>
                    <a:pt x="380" y="575"/>
                  </a:cubicBezTo>
                  <a:cubicBezTo>
                    <a:pt x="375" y="578"/>
                    <a:pt x="367" y="580"/>
                    <a:pt x="364" y="575"/>
                  </a:cubicBezTo>
                  <a:cubicBezTo>
                    <a:pt x="362" y="572"/>
                    <a:pt x="362" y="568"/>
                    <a:pt x="362" y="565"/>
                  </a:cubicBezTo>
                  <a:cubicBezTo>
                    <a:pt x="362" y="560"/>
                    <a:pt x="366" y="555"/>
                    <a:pt x="370" y="550"/>
                  </a:cubicBezTo>
                  <a:cubicBezTo>
                    <a:pt x="374" y="547"/>
                    <a:pt x="379" y="545"/>
                    <a:pt x="384" y="544"/>
                  </a:cubicBezTo>
                  <a:cubicBezTo>
                    <a:pt x="387" y="540"/>
                    <a:pt x="392" y="537"/>
                    <a:pt x="395" y="532"/>
                  </a:cubicBezTo>
                  <a:cubicBezTo>
                    <a:pt x="402" y="526"/>
                    <a:pt x="408" y="516"/>
                    <a:pt x="412" y="506"/>
                  </a:cubicBezTo>
                  <a:cubicBezTo>
                    <a:pt x="420" y="486"/>
                    <a:pt x="422" y="465"/>
                    <a:pt x="413" y="445"/>
                  </a:cubicBezTo>
                  <a:cubicBezTo>
                    <a:pt x="402" y="417"/>
                    <a:pt x="369" y="397"/>
                    <a:pt x="344" y="412"/>
                  </a:cubicBezTo>
                  <a:cubicBezTo>
                    <a:pt x="336" y="417"/>
                    <a:pt x="329" y="427"/>
                    <a:pt x="319" y="432"/>
                  </a:cubicBezTo>
                  <a:cubicBezTo>
                    <a:pt x="305" y="442"/>
                    <a:pt x="285" y="437"/>
                    <a:pt x="268" y="432"/>
                  </a:cubicBezTo>
                  <a:cubicBezTo>
                    <a:pt x="260" y="422"/>
                    <a:pt x="271" y="409"/>
                    <a:pt x="283" y="405"/>
                  </a:cubicBezTo>
                  <a:cubicBezTo>
                    <a:pt x="296" y="402"/>
                    <a:pt x="310" y="405"/>
                    <a:pt x="321" y="402"/>
                  </a:cubicBezTo>
                  <a:cubicBezTo>
                    <a:pt x="341" y="395"/>
                    <a:pt x="349" y="372"/>
                    <a:pt x="354" y="353"/>
                  </a:cubicBezTo>
                  <a:cubicBezTo>
                    <a:pt x="357" y="343"/>
                    <a:pt x="361" y="331"/>
                    <a:pt x="361" y="320"/>
                  </a:cubicBezTo>
                  <a:cubicBezTo>
                    <a:pt x="359" y="295"/>
                    <a:pt x="339" y="265"/>
                    <a:pt x="356" y="245"/>
                  </a:cubicBezTo>
                  <a:cubicBezTo>
                    <a:pt x="367" y="232"/>
                    <a:pt x="390" y="232"/>
                    <a:pt x="402" y="219"/>
                  </a:cubicBezTo>
                  <a:cubicBezTo>
                    <a:pt x="417" y="203"/>
                    <a:pt x="405" y="175"/>
                    <a:pt x="389" y="160"/>
                  </a:cubicBezTo>
                  <a:cubicBezTo>
                    <a:pt x="372" y="145"/>
                    <a:pt x="351" y="133"/>
                    <a:pt x="341" y="112"/>
                  </a:cubicBezTo>
                  <a:cubicBezTo>
                    <a:pt x="336" y="101"/>
                    <a:pt x="336" y="86"/>
                    <a:pt x="331" y="73"/>
                  </a:cubicBezTo>
                  <a:cubicBezTo>
                    <a:pt x="329" y="61"/>
                    <a:pt x="323" y="54"/>
                    <a:pt x="314" y="46"/>
                  </a:cubicBezTo>
                  <a:cubicBezTo>
                    <a:pt x="303" y="38"/>
                    <a:pt x="303" y="36"/>
                    <a:pt x="301" y="20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79" name="Freeform 115">
              <a:extLst>
                <a:ext uri="{FF2B5EF4-FFF2-40B4-BE49-F238E27FC236}">
                  <a16:creationId xmlns:a16="http://schemas.microsoft.com/office/drawing/2014/main" id="{57954653-45E9-DC4C-891F-69DE51EB72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8950" y="1766888"/>
              <a:ext cx="157163" cy="188912"/>
            </a:xfrm>
            <a:custGeom>
              <a:avLst/>
              <a:gdLst>
                <a:gd name="T0" fmla="*/ 1 w 435"/>
                <a:gd name="T1" fmla="*/ 496 h 526"/>
                <a:gd name="T2" fmla="*/ 8 w 435"/>
                <a:gd name="T3" fmla="*/ 463 h 526"/>
                <a:gd name="T4" fmla="*/ 21 w 435"/>
                <a:gd name="T5" fmla="*/ 431 h 526"/>
                <a:gd name="T6" fmla="*/ 28 w 435"/>
                <a:gd name="T7" fmla="*/ 407 h 526"/>
                <a:gd name="T8" fmla="*/ 37 w 435"/>
                <a:gd name="T9" fmla="*/ 393 h 526"/>
                <a:gd name="T10" fmla="*/ 51 w 435"/>
                <a:gd name="T11" fmla="*/ 296 h 526"/>
                <a:gd name="T12" fmla="*/ 88 w 435"/>
                <a:gd name="T13" fmla="*/ 219 h 526"/>
                <a:gd name="T14" fmla="*/ 87 w 435"/>
                <a:gd name="T15" fmla="*/ 179 h 526"/>
                <a:gd name="T16" fmla="*/ 103 w 435"/>
                <a:gd name="T17" fmla="*/ 146 h 526"/>
                <a:gd name="T18" fmla="*/ 98 w 435"/>
                <a:gd name="T19" fmla="*/ 107 h 526"/>
                <a:gd name="T20" fmla="*/ 116 w 435"/>
                <a:gd name="T21" fmla="*/ 69 h 526"/>
                <a:gd name="T22" fmla="*/ 148 w 435"/>
                <a:gd name="T23" fmla="*/ 38 h 526"/>
                <a:gd name="T24" fmla="*/ 181 w 435"/>
                <a:gd name="T25" fmla="*/ 6 h 526"/>
                <a:gd name="T26" fmla="*/ 227 w 435"/>
                <a:gd name="T27" fmla="*/ 44 h 526"/>
                <a:gd name="T28" fmla="*/ 210 w 435"/>
                <a:gd name="T29" fmla="*/ 108 h 526"/>
                <a:gd name="T30" fmla="*/ 204 w 435"/>
                <a:gd name="T31" fmla="*/ 173 h 526"/>
                <a:gd name="T32" fmla="*/ 205 w 435"/>
                <a:gd name="T33" fmla="*/ 178 h 526"/>
                <a:gd name="T34" fmla="*/ 217 w 435"/>
                <a:gd name="T35" fmla="*/ 174 h 526"/>
                <a:gd name="T36" fmla="*/ 232 w 435"/>
                <a:gd name="T37" fmla="*/ 128 h 526"/>
                <a:gd name="T38" fmla="*/ 245 w 435"/>
                <a:gd name="T39" fmla="*/ 113 h 526"/>
                <a:gd name="T40" fmla="*/ 271 w 435"/>
                <a:gd name="T41" fmla="*/ 95 h 526"/>
                <a:gd name="T42" fmla="*/ 299 w 435"/>
                <a:gd name="T43" fmla="*/ 102 h 526"/>
                <a:gd name="T44" fmla="*/ 309 w 435"/>
                <a:gd name="T45" fmla="*/ 125 h 526"/>
                <a:gd name="T46" fmla="*/ 322 w 435"/>
                <a:gd name="T47" fmla="*/ 135 h 526"/>
                <a:gd name="T48" fmla="*/ 355 w 435"/>
                <a:gd name="T49" fmla="*/ 179 h 526"/>
                <a:gd name="T50" fmla="*/ 364 w 435"/>
                <a:gd name="T51" fmla="*/ 189 h 526"/>
                <a:gd name="T52" fmla="*/ 378 w 435"/>
                <a:gd name="T53" fmla="*/ 194 h 526"/>
                <a:gd name="T54" fmla="*/ 421 w 435"/>
                <a:gd name="T55" fmla="*/ 250 h 526"/>
                <a:gd name="T56" fmla="*/ 423 w 435"/>
                <a:gd name="T57" fmla="*/ 308 h 526"/>
                <a:gd name="T58" fmla="*/ 403 w 435"/>
                <a:gd name="T59" fmla="*/ 329 h 526"/>
                <a:gd name="T60" fmla="*/ 390 w 435"/>
                <a:gd name="T61" fmla="*/ 356 h 526"/>
                <a:gd name="T62" fmla="*/ 365 w 435"/>
                <a:gd name="T63" fmla="*/ 356 h 526"/>
                <a:gd name="T64" fmla="*/ 341 w 435"/>
                <a:gd name="T65" fmla="*/ 377 h 526"/>
                <a:gd name="T66" fmla="*/ 301 w 435"/>
                <a:gd name="T67" fmla="*/ 395 h 526"/>
                <a:gd name="T68" fmla="*/ 243 w 435"/>
                <a:gd name="T69" fmla="*/ 430 h 526"/>
                <a:gd name="T70" fmla="*/ 227 w 435"/>
                <a:gd name="T71" fmla="*/ 435 h 526"/>
                <a:gd name="T72" fmla="*/ 214 w 435"/>
                <a:gd name="T73" fmla="*/ 430 h 526"/>
                <a:gd name="T74" fmla="*/ 154 w 435"/>
                <a:gd name="T75" fmla="*/ 431 h 526"/>
                <a:gd name="T76" fmla="*/ 108 w 435"/>
                <a:gd name="T77" fmla="*/ 471 h 526"/>
                <a:gd name="T78" fmla="*/ 72 w 435"/>
                <a:gd name="T79" fmla="*/ 505 h 526"/>
                <a:gd name="T80" fmla="*/ 1 w 435"/>
                <a:gd name="T81" fmla="*/ 496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35" h="526">
                  <a:moveTo>
                    <a:pt x="1" y="496"/>
                  </a:moveTo>
                  <a:cubicBezTo>
                    <a:pt x="0" y="484"/>
                    <a:pt x="3" y="473"/>
                    <a:pt x="8" y="463"/>
                  </a:cubicBezTo>
                  <a:cubicBezTo>
                    <a:pt x="13" y="453"/>
                    <a:pt x="18" y="443"/>
                    <a:pt x="21" y="431"/>
                  </a:cubicBezTo>
                  <a:cubicBezTo>
                    <a:pt x="23" y="423"/>
                    <a:pt x="24" y="415"/>
                    <a:pt x="28" y="407"/>
                  </a:cubicBezTo>
                  <a:cubicBezTo>
                    <a:pt x="31" y="402"/>
                    <a:pt x="34" y="397"/>
                    <a:pt x="37" y="393"/>
                  </a:cubicBezTo>
                  <a:cubicBezTo>
                    <a:pt x="56" y="365"/>
                    <a:pt x="41" y="328"/>
                    <a:pt x="51" y="296"/>
                  </a:cubicBezTo>
                  <a:cubicBezTo>
                    <a:pt x="60" y="268"/>
                    <a:pt x="87" y="247"/>
                    <a:pt x="88" y="219"/>
                  </a:cubicBezTo>
                  <a:cubicBezTo>
                    <a:pt x="88" y="206"/>
                    <a:pt x="82" y="191"/>
                    <a:pt x="87" y="179"/>
                  </a:cubicBezTo>
                  <a:cubicBezTo>
                    <a:pt x="90" y="168"/>
                    <a:pt x="100" y="158"/>
                    <a:pt x="103" y="146"/>
                  </a:cubicBezTo>
                  <a:cubicBezTo>
                    <a:pt x="107" y="133"/>
                    <a:pt x="98" y="120"/>
                    <a:pt x="98" y="107"/>
                  </a:cubicBezTo>
                  <a:cubicBezTo>
                    <a:pt x="98" y="92"/>
                    <a:pt x="107" y="79"/>
                    <a:pt x="116" y="69"/>
                  </a:cubicBezTo>
                  <a:cubicBezTo>
                    <a:pt x="126" y="57"/>
                    <a:pt x="138" y="49"/>
                    <a:pt x="148" y="38"/>
                  </a:cubicBezTo>
                  <a:cubicBezTo>
                    <a:pt x="158" y="26"/>
                    <a:pt x="166" y="11"/>
                    <a:pt x="181" y="6"/>
                  </a:cubicBezTo>
                  <a:cubicBezTo>
                    <a:pt x="202" y="0"/>
                    <a:pt x="224" y="22"/>
                    <a:pt x="227" y="44"/>
                  </a:cubicBezTo>
                  <a:cubicBezTo>
                    <a:pt x="229" y="66"/>
                    <a:pt x="219" y="87"/>
                    <a:pt x="210" y="108"/>
                  </a:cubicBezTo>
                  <a:cubicBezTo>
                    <a:pt x="202" y="128"/>
                    <a:pt x="196" y="153"/>
                    <a:pt x="204" y="173"/>
                  </a:cubicBezTo>
                  <a:cubicBezTo>
                    <a:pt x="204" y="174"/>
                    <a:pt x="205" y="178"/>
                    <a:pt x="205" y="178"/>
                  </a:cubicBezTo>
                  <a:cubicBezTo>
                    <a:pt x="210" y="181"/>
                    <a:pt x="215" y="178"/>
                    <a:pt x="217" y="174"/>
                  </a:cubicBezTo>
                  <a:cubicBezTo>
                    <a:pt x="229" y="163"/>
                    <a:pt x="225" y="143"/>
                    <a:pt x="232" y="128"/>
                  </a:cubicBezTo>
                  <a:cubicBezTo>
                    <a:pt x="235" y="123"/>
                    <a:pt x="240" y="118"/>
                    <a:pt x="245" y="113"/>
                  </a:cubicBezTo>
                  <a:cubicBezTo>
                    <a:pt x="253" y="107"/>
                    <a:pt x="261" y="99"/>
                    <a:pt x="271" y="95"/>
                  </a:cubicBezTo>
                  <a:cubicBezTo>
                    <a:pt x="281" y="92"/>
                    <a:pt x="294" y="94"/>
                    <a:pt x="299" y="102"/>
                  </a:cubicBezTo>
                  <a:cubicBezTo>
                    <a:pt x="304" y="108"/>
                    <a:pt x="304" y="118"/>
                    <a:pt x="309" y="125"/>
                  </a:cubicBezTo>
                  <a:cubicBezTo>
                    <a:pt x="313" y="130"/>
                    <a:pt x="317" y="132"/>
                    <a:pt x="322" y="135"/>
                  </a:cubicBezTo>
                  <a:cubicBezTo>
                    <a:pt x="339" y="145"/>
                    <a:pt x="345" y="163"/>
                    <a:pt x="355" y="179"/>
                  </a:cubicBezTo>
                  <a:cubicBezTo>
                    <a:pt x="357" y="183"/>
                    <a:pt x="360" y="186"/>
                    <a:pt x="364" y="189"/>
                  </a:cubicBezTo>
                  <a:cubicBezTo>
                    <a:pt x="369" y="192"/>
                    <a:pt x="373" y="192"/>
                    <a:pt x="378" y="194"/>
                  </a:cubicBezTo>
                  <a:cubicBezTo>
                    <a:pt x="400" y="204"/>
                    <a:pt x="411" y="229"/>
                    <a:pt x="421" y="250"/>
                  </a:cubicBezTo>
                  <a:cubicBezTo>
                    <a:pt x="428" y="270"/>
                    <a:pt x="434" y="291"/>
                    <a:pt x="423" y="308"/>
                  </a:cubicBezTo>
                  <a:cubicBezTo>
                    <a:pt x="418" y="316"/>
                    <a:pt x="408" y="319"/>
                    <a:pt x="403" y="329"/>
                  </a:cubicBezTo>
                  <a:cubicBezTo>
                    <a:pt x="398" y="337"/>
                    <a:pt x="400" y="351"/>
                    <a:pt x="390" y="356"/>
                  </a:cubicBezTo>
                  <a:cubicBezTo>
                    <a:pt x="383" y="359"/>
                    <a:pt x="373" y="354"/>
                    <a:pt x="365" y="356"/>
                  </a:cubicBezTo>
                  <a:cubicBezTo>
                    <a:pt x="355" y="357"/>
                    <a:pt x="349" y="369"/>
                    <a:pt x="341" y="377"/>
                  </a:cubicBezTo>
                  <a:cubicBezTo>
                    <a:pt x="331" y="387"/>
                    <a:pt x="314" y="390"/>
                    <a:pt x="301" y="395"/>
                  </a:cubicBezTo>
                  <a:cubicBezTo>
                    <a:pt x="280" y="403"/>
                    <a:pt x="263" y="420"/>
                    <a:pt x="243" y="430"/>
                  </a:cubicBezTo>
                  <a:cubicBezTo>
                    <a:pt x="238" y="433"/>
                    <a:pt x="232" y="435"/>
                    <a:pt x="227" y="435"/>
                  </a:cubicBezTo>
                  <a:cubicBezTo>
                    <a:pt x="222" y="433"/>
                    <a:pt x="219" y="431"/>
                    <a:pt x="214" y="430"/>
                  </a:cubicBezTo>
                  <a:cubicBezTo>
                    <a:pt x="196" y="420"/>
                    <a:pt x="174" y="423"/>
                    <a:pt x="154" y="431"/>
                  </a:cubicBezTo>
                  <a:cubicBezTo>
                    <a:pt x="136" y="441"/>
                    <a:pt x="121" y="456"/>
                    <a:pt x="108" y="471"/>
                  </a:cubicBezTo>
                  <a:cubicBezTo>
                    <a:pt x="97" y="484"/>
                    <a:pt x="85" y="496"/>
                    <a:pt x="72" y="505"/>
                  </a:cubicBezTo>
                  <a:cubicBezTo>
                    <a:pt x="54" y="517"/>
                    <a:pt x="8" y="525"/>
                    <a:pt x="1" y="49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80" name="Freeform 116">
              <a:extLst>
                <a:ext uri="{FF2B5EF4-FFF2-40B4-BE49-F238E27FC236}">
                  <a16:creationId xmlns:a16="http://schemas.microsoft.com/office/drawing/2014/main" id="{B424913C-A981-B14A-B324-236A2038FF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2463" y="1890713"/>
              <a:ext cx="49212" cy="38100"/>
            </a:xfrm>
            <a:custGeom>
              <a:avLst/>
              <a:gdLst>
                <a:gd name="T0" fmla="*/ 119 w 138"/>
                <a:gd name="T1" fmla="*/ 45 h 108"/>
                <a:gd name="T2" fmla="*/ 96 w 138"/>
                <a:gd name="T3" fmla="*/ 38 h 108"/>
                <a:gd name="T4" fmla="*/ 81 w 138"/>
                <a:gd name="T5" fmla="*/ 58 h 108"/>
                <a:gd name="T6" fmla="*/ 74 w 138"/>
                <a:gd name="T7" fmla="*/ 66 h 108"/>
                <a:gd name="T8" fmla="*/ 61 w 138"/>
                <a:gd name="T9" fmla="*/ 66 h 108"/>
                <a:gd name="T10" fmla="*/ 35 w 138"/>
                <a:gd name="T11" fmla="*/ 55 h 108"/>
                <a:gd name="T12" fmla="*/ 48 w 138"/>
                <a:gd name="T13" fmla="*/ 25 h 108"/>
                <a:gd name="T14" fmla="*/ 51 w 138"/>
                <a:gd name="T15" fmla="*/ 20 h 108"/>
                <a:gd name="T16" fmla="*/ 50 w 138"/>
                <a:gd name="T17" fmla="*/ 15 h 108"/>
                <a:gd name="T18" fmla="*/ 33 w 138"/>
                <a:gd name="T19" fmla="*/ 2 h 108"/>
                <a:gd name="T20" fmla="*/ 15 w 138"/>
                <a:gd name="T21" fmla="*/ 14 h 108"/>
                <a:gd name="T22" fmla="*/ 3 w 138"/>
                <a:gd name="T23" fmla="*/ 40 h 108"/>
                <a:gd name="T24" fmla="*/ 3 w 138"/>
                <a:gd name="T25" fmla="*/ 50 h 108"/>
                <a:gd name="T26" fmla="*/ 12 w 138"/>
                <a:gd name="T27" fmla="*/ 55 h 108"/>
                <a:gd name="T28" fmla="*/ 25 w 138"/>
                <a:gd name="T29" fmla="*/ 63 h 108"/>
                <a:gd name="T30" fmla="*/ 46 w 138"/>
                <a:gd name="T31" fmla="*/ 84 h 108"/>
                <a:gd name="T32" fmla="*/ 63 w 138"/>
                <a:gd name="T33" fmla="*/ 93 h 108"/>
                <a:gd name="T34" fmla="*/ 84 w 138"/>
                <a:gd name="T35" fmla="*/ 102 h 108"/>
                <a:gd name="T36" fmla="*/ 106 w 138"/>
                <a:gd name="T37" fmla="*/ 98 h 108"/>
                <a:gd name="T38" fmla="*/ 134 w 138"/>
                <a:gd name="T39" fmla="*/ 76 h 108"/>
                <a:gd name="T40" fmla="*/ 119 w 138"/>
                <a:gd name="T41" fmla="*/ 4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8" h="108">
                  <a:moveTo>
                    <a:pt x="119" y="45"/>
                  </a:moveTo>
                  <a:cubicBezTo>
                    <a:pt x="114" y="38"/>
                    <a:pt x="104" y="37"/>
                    <a:pt x="96" y="38"/>
                  </a:cubicBezTo>
                  <a:cubicBezTo>
                    <a:pt x="91" y="45"/>
                    <a:pt x="86" y="51"/>
                    <a:pt x="81" y="58"/>
                  </a:cubicBezTo>
                  <a:cubicBezTo>
                    <a:pt x="79" y="61"/>
                    <a:pt x="76" y="65"/>
                    <a:pt x="74" y="66"/>
                  </a:cubicBezTo>
                  <a:cubicBezTo>
                    <a:pt x="69" y="68"/>
                    <a:pt x="66" y="66"/>
                    <a:pt x="61" y="66"/>
                  </a:cubicBezTo>
                  <a:cubicBezTo>
                    <a:pt x="51" y="65"/>
                    <a:pt x="40" y="63"/>
                    <a:pt x="35" y="55"/>
                  </a:cubicBezTo>
                  <a:cubicBezTo>
                    <a:pt x="32" y="43"/>
                    <a:pt x="38" y="32"/>
                    <a:pt x="48" y="25"/>
                  </a:cubicBezTo>
                  <a:cubicBezTo>
                    <a:pt x="50" y="23"/>
                    <a:pt x="51" y="23"/>
                    <a:pt x="51" y="20"/>
                  </a:cubicBezTo>
                  <a:cubicBezTo>
                    <a:pt x="53" y="18"/>
                    <a:pt x="51" y="17"/>
                    <a:pt x="50" y="15"/>
                  </a:cubicBezTo>
                  <a:cubicBezTo>
                    <a:pt x="45" y="9"/>
                    <a:pt x="40" y="2"/>
                    <a:pt x="33" y="2"/>
                  </a:cubicBezTo>
                  <a:cubicBezTo>
                    <a:pt x="25" y="0"/>
                    <a:pt x="18" y="7"/>
                    <a:pt x="15" y="14"/>
                  </a:cubicBezTo>
                  <a:cubicBezTo>
                    <a:pt x="8" y="22"/>
                    <a:pt x="7" y="30"/>
                    <a:pt x="3" y="40"/>
                  </a:cubicBezTo>
                  <a:cubicBezTo>
                    <a:pt x="2" y="43"/>
                    <a:pt x="0" y="46"/>
                    <a:pt x="3" y="50"/>
                  </a:cubicBezTo>
                  <a:cubicBezTo>
                    <a:pt x="5" y="53"/>
                    <a:pt x="8" y="53"/>
                    <a:pt x="12" y="55"/>
                  </a:cubicBezTo>
                  <a:cubicBezTo>
                    <a:pt x="17" y="58"/>
                    <a:pt x="20" y="61"/>
                    <a:pt x="25" y="63"/>
                  </a:cubicBezTo>
                  <a:cubicBezTo>
                    <a:pt x="33" y="70"/>
                    <a:pt x="40" y="76"/>
                    <a:pt x="46" y="84"/>
                  </a:cubicBezTo>
                  <a:cubicBezTo>
                    <a:pt x="53" y="91"/>
                    <a:pt x="55" y="90"/>
                    <a:pt x="63" y="93"/>
                  </a:cubicBezTo>
                  <a:cubicBezTo>
                    <a:pt x="70" y="95"/>
                    <a:pt x="78" y="99"/>
                    <a:pt x="84" y="102"/>
                  </a:cubicBezTo>
                  <a:cubicBezTo>
                    <a:pt x="96" y="107"/>
                    <a:pt x="97" y="106"/>
                    <a:pt x="106" y="98"/>
                  </a:cubicBezTo>
                  <a:cubicBezTo>
                    <a:pt x="111" y="93"/>
                    <a:pt x="130" y="81"/>
                    <a:pt x="134" y="76"/>
                  </a:cubicBezTo>
                  <a:cubicBezTo>
                    <a:pt x="137" y="68"/>
                    <a:pt x="125" y="51"/>
                    <a:pt x="119" y="45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81" name="Freeform 117">
              <a:extLst>
                <a:ext uri="{FF2B5EF4-FFF2-40B4-BE49-F238E27FC236}">
                  <a16:creationId xmlns:a16="http://schemas.microsoft.com/office/drawing/2014/main" id="{D39F9665-B266-6D43-9C50-B979BC575F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83263" y="2009775"/>
              <a:ext cx="15875" cy="15875"/>
            </a:xfrm>
            <a:custGeom>
              <a:avLst/>
              <a:gdLst>
                <a:gd name="T0" fmla="*/ 33 w 42"/>
                <a:gd name="T1" fmla="*/ 26 h 42"/>
                <a:gd name="T2" fmla="*/ 34 w 42"/>
                <a:gd name="T3" fmla="*/ 5 h 42"/>
                <a:gd name="T4" fmla="*/ 24 w 42"/>
                <a:gd name="T5" fmla="*/ 1 h 42"/>
                <a:gd name="T6" fmla="*/ 9 w 42"/>
                <a:gd name="T7" fmla="*/ 0 h 42"/>
                <a:gd name="T8" fmla="*/ 1 w 42"/>
                <a:gd name="T9" fmla="*/ 1 h 42"/>
                <a:gd name="T10" fmla="*/ 0 w 42"/>
                <a:gd name="T11" fmla="*/ 8 h 42"/>
                <a:gd name="T12" fmla="*/ 1 w 42"/>
                <a:gd name="T13" fmla="*/ 31 h 42"/>
                <a:gd name="T14" fmla="*/ 18 w 42"/>
                <a:gd name="T15" fmla="*/ 39 h 42"/>
                <a:gd name="T16" fmla="*/ 26 w 42"/>
                <a:gd name="T17" fmla="*/ 38 h 42"/>
                <a:gd name="T18" fmla="*/ 33 w 42"/>
                <a:gd name="T19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2">
                  <a:moveTo>
                    <a:pt x="33" y="26"/>
                  </a:moveTo>
                  <a:cubicBezTo>
                    <a:pt x="36" y="20"/>
                    <a:pt x="41" y="10"/>
                    <a:pt x="34" y="5"/>
                  </a:cubicBezTo>
                  <a:cubicBezTo>
                    <a:pt x="33" y="3"/>
                    <a:pt x="28" y="1"/>
                    <a:pt x="24" y="1"/>
                  </a:cubicBezTo>
                  <a:cubicBezTo>
                    <a:pt x="19" y="1"/>
                    <a:pt x="14" y="1"/>
                    <a:pt x="9" y="0"/>
                  </a:cubicBezTo>
                  <a:cubicBezTo>
                    <a:pt x="6" y="0"/>
                    <a:pt x="3" y="0"/>
                    <a:pt x="1" y="1"/>
                  </a:cubicBezTo>
                  <a:cubicBezTo>
                    <a:pt x="0" y="3"/>
                    <a:pt x="0" y="6"/>
                    <a:pt x="0" y="8"/>
                  </a:cubicBezTo>
                  <a:cubicBezTo>
                    <a:pt x="0" y="16"/>
                    <a:pt x="0" y="23"/>
                    <a:pt x="1" y="31"/>
                  </a:cubicBezTo>
                  <a:cubicBezTo>
                    <a:pt x="5" y="38"/>
                    <a:pt x="9" y="39"/>
                    <a:pt x="18" y="39"/>
                  </a:cubicBezTo>
                  <a:cubicBezTo>
                    <a:pt x="21" y="41"/>
                    <a:pt x="23" y="39"/>
                    <a:pt x="26" y="38"/>
                  </a:cubicBezTo>
                  <a:cubicBezTo>
                    <a:pt x="29" y="34"/>
                    <a:pt x="31" y="29"/>
                    <a:pt x="33" y="2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82" name="Freeform 118">
              <a:extLst>
                <a:ext uri="{FF2B5EF4-FFF2-40B4-BE49-F238E27FC236}">
                  <a16:creationId xmlns:a16="http://schemas.microsoft.com/office/drawing/2014/main" id="{94AF7AC2-C307-004B-AF21-A53253B78D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7413" y="2312988"/>
              <a:ext cx="57150" cy="50800"/>
            </a:xfrm>
            <a:custGeom>
              <a:avLst/>
              <a:gdLst>
                <a:gd name="T0" fmla="*/ 117 w 159"/>
                <a:gd name="T1" fmla="*/ 127 h 143"/>
                <a:gd name="T2" fmla="*/ 115 w 159"/>
                <a:gd name="T3" fmla="*/ 135 h 143"/>
                <a:gd name="T4" fmla="*/ 110 w 159"/>
                <a:gd name="T5" fmla="*/ 137 h 143"/>
                <a:gd name="T6" fmla="*/ 71 w 159"/>
                <a:gd name="T7" fmla="*/ 129 h 143"/>
                <a:gd name="T8" fmla="*/ 59 w 159"/>
                <a:gd name="T9" fmla="*/ 119 h 143"/>
                <a:gd name="T10" fmla="*/ 35 w 159"/>
                <a:gd name="T11" fmla="*/ 114 h 143"/>
                <a:gd name="T12" fmla="*/ 10 w 159"/>
                <a:gd name="T13" fmla="*/ 106 h 143"/>
                <a:gd name="T14" fmla="*/ 5 w 159"/>
                <a:gd name="T15" fmla="*/ 84 h 143"/>
                <a:gd name="T16" fmla="*/ 21 w 159"/>
                <a:gd name="T17" fmla="*/ 71 h 143"/>
                <a:gd name="T18" fmla="*/ 18 w 159"/>
                <a:gd name="T19" fmla="*/ 30 h 143"/>
                <a:gd name="T20" fmla="*/ 28 w 159"/>
                <a:gd name="T21" fmla="*/ 22 h 143"/>
                <a:gd name="T22" fmla="*/ 44 w 159"/>
                <a:gd name="T23" fmla="*/ 10 h 143"/>
                <a:gd name="T24" fmla="*/ 72 w 159"/>
                <a:gd name="T25" fmla="*/ 5 h 143"/>
                <a:gd name="T26" fmla="*/ 82 w 159"/>
                <a:gd name="T27" fmla="*/ 13 h 143"/>
                <a:gd name="T28" fmla="*/ 112 w 159"/>
                <a:gd name="T29" fmla="*/ 10 h 143"/>
                <a:gd name="T30" fmla="*/ 140 w 159"/>
                <a:gd name="T31" fmla="*/ 9 h 143"/>
                <a:gd name="T32" fmla="*/ 143 w 159"/>
                <a:gd name="T33" fmla="*/ 17 h 143"/>
                <a:gd name="T34" fmla="*/ 158 w 159"/>
                <a:gd name="T35" fmla="*/ 68 h 143"/>
                <a:gd name="T36" fmla="*/ 151 w 159"/>
                <a:gd name="T37" fmla="*/ 94 h 143"/>
                <a:gd name="T38" fmla="*/ 117 w 159"/>
                <a:gd name="T39" fmla="*/ 12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9" h="143">
                  <a:moveTo>
                    <a:pt x="117" y="127"/>
                  </a:moveTo>
                  <a:cubicBezTo>
                    <a:pt x="117" y="130"/>
                    <a:pt x="117" y="134"/>
                    <a:pt x="115" y="135"/>
                  </a:cubicBezTo>
                  <a:cubicBezTo>
                    <a:pt x="114" y="137"/>
                    <a:pt x="112" y="137"/>
                    <a:pt x="110" y="137"/>
                  </a:cubicBezTo>
                  <a:cubicBezTo>
                    <a:pt x="97" y="142"/>
                    <a:pt x="82" y="139"/>
                    <a:pt x="71" y="129"/>
                  </a:cubicBezTo>
                  <a:cubicBezTo>
                    <a:pt x="67" y="126"/>
                    <a:pt x="63" y="122"/>
                    <a:pt x="59" y="119"/>
                  </a:cubicBezTo>
                  <a:cubicBezTo>
                    <a:pt x="53" y="114"/>
                    <a:pt x="43" y="115"/>
                    <a:pt x="35" y="114"/>
                  </a:cubicBezTo>
                  <a:cubicBezTo>
                    <a:pt x="26" y="113"/>
                    <a:pt x="16" y="112"/>
                    <a:pt x="10" y="106"/>
                  </a:cubicBezTo>
                  <a:cubicBezTo>
                    <a:pt x="3" y="100"/>
                    <a:pt x="0" y="91"/>
                    <a:pt x="5" y="84"/>
                  </a:cubicBezTo>
                  <a:cubicBezTo>
                    <a:pt x="8" y="78"/>
                    <a:pt x="18" y="78"/>
                    <a:pt x="21" y="71"/>
                  </a:cubicBezTo>
                  <a:cubicBezTo>
                    <a:pt x="30" y="60"/>
                    <a:pt x="11" y="43"/>
                    <a:pt x="18" y="30"/>
                  </a:cubicBezTo>
                  <a:cubicBezTo>
                    <a:pt x="20" y="27"/>
                    <a:pt x="25" y="23"/>
                    <a:pt x="28" y="22"/>
                  </a:cubicBezTo>
                  <a:cubicBezTo>
                    <a:pt x="35" y="18"/>
                    <a:pt x="39" y="13"/>
                    <a:pt x="44" y="10"/>
                  </a:cubicBezTo>
                  <a:cubicBezTo>
                    <a:pt x="53" y="5"/>
                    <a:pt x="63" y="0"/>
                    <a:pt x="72" y="5"/>
                  </a:cubicBezTo>
                  <a:cubicBezTo>
                    <a:pt x="76" y="7"/>
                    <a:pt x="79" y="12"/>
                    <a:pt x="82" y="13"/>
                  </a:cubicBezTo>
                  <a:cubicBezTo>
                    <a:pt x="92" y="18"/>
                    <a:pt x="103" y="14"/>
                    <a:pt x="112" y="10"/>
                  </a:cubicBezTo>
                  <a:cubicBezTo>
                    <a:pt x="121" y="6"/>
                    <a:pt x="132" y="2"/>
                    <a:pt x="140" y="9"/>
                  </a:cubicBezTo>
                  <a:cubicBezTo>
                    <a:pt x="142" y="12"/>
                    <a:pt x="143" y="13"/>
                    <a:pt x="143" y="17"/>
                  </a:cubicBezTo>
                  <a:cubicBezTo>
                    <a:pt x="151" y="32"/>
                    <a:pt x="156" y="50"/>
                    <a:pt x="158" y="68"/>
                  </a:cubicBezTo>
                  <a:cubicBezTo>
                    <a:pt x="158" y="76"/>
                    <a:pt x="158" y="88"/>
                    <a:pt x="151" y="94"/>
                  </a:cubicBezTo>
                  <a:cubicBezTo>
                    <a:pt x="143" y="102"/>
                    <a:pt x="119" y="114"/>
                    <a:pt x="117" y="12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83" name="Freeform 119">
              <a:extLst>
                <a:ext uri="{FF2B5EF4-FFF2-40B4-BE49-F238E27FC236}">
                  <a16:creationId xmlns:a16="http://schemas.microsoft.com/office/drawing/2014/main" id="{3B531A4B-2682-3245-BC8F-AD846ABF7A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0525" y="2151063"/>
              <a:ext cx="39688" cy="23812"/>
            </a:xfrm>
            <a:custGeom>
              <a:avLst/>
              <a:gdLst>
                <a:gd name="T0" fmla="*/ 96 w 110"/>
                <a:gd name="T1" fmla="*/ 35 h 68"/>
                <a:gd name="T2" fmla="*/ 103 w 110"/>
                <a:gd name="T3" fmla="*/ 33 h 68"/>
                <a:gd name="T4" fmla="*/ 106 w 110"/>
                <a:gd name="T5" fmla="*/ 10 h 68"/>
                <a:gd name="T6" fmla="*/ 83 w 110"/>
                <a:gd name="T7" fmla="*/ 7 h 68"/>
                <a:gd name="T8" fmla="*/ 61 w 110"/>
                <a:gd name="T9" fmla="*/ 20 h 68"/>
                <a:gd name="T10" fmla="*/ 40 w 110"/>
                <a:gd name="T11" fmla="*/ 5 h 68"/>
                <a:gd name="T12" fmla="*/ 33 w 110"/>
                <a:gd name="T13" fmla="*/ 2 h 68"/>
                <a:gd name="T14" fmla="*/ 14 w 110"/>
                <a:gd name="T15" fmla="*/ 8 h 68"/>
                <a:gd name="T16" fmla="*/ 2 w 110"/>
                <a:gd name="T17" fmla="*/ 30 h 68"/>
                <a:gd name="T18" fmla="*/ 0 w 110"/>
                <a:gd name="T19" fmla="*/ 36 h 68"/>
                <a:gd name="T20" fmla="*/ 12 w 110"/>
                <a:gd name="T21" fmla="*/ 56 h 68"/>
                <a:gd name="T22" fmla="*/ 58 w 110"/>
                <a:gd name="T23" fmla="*/ 59 h 68"/>
                <a:gd name="T24" fmla="*/ 96 w 110"/>
                <a:gd name="T25" fmla="*/ 3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" h="68">
                  <a:moveTo>
                    <a:pt x="96" y="35"/>
                  </a:moveTo>
                  <a:cubicBezTo>
                    <a:pt x="98" y="35"/>
                    <a:pt x="101" y="35"/>
                    <a:pt x="103" y="33"/>
                  </a:cubicBezTo>
                  <a:cubicBezTo>
                    <a:pt x="109" y="30"/>
                    <a:pt x="104" y="18"/>
                    <a:pt x="106" y="10"/>
                  </a:cubicBezTo>
                  <a:cubicBezTo>
                    <a:pt x="99" y="5"/>
                    <a:pt x="90" y="5"/>
                    <a:pt x="83" y="7"/>
                  </a:cubicBezTo>
                  <a:cubicBezTo>
                    <a:pt x="75" y="8"/>
                    <a:pt x="68" y="13"/>
                    <a:pt x="61" y="20"/>
                  </a:cubicBezTo>
                  <a:cubicBezTo>
                    <a:pt x="55" y="15"/>
                    <a:pt x="47" y="10"/>
                    <a:pt x="40" y="5"/>
                  </a:cubicBezTo>
                  <a:cubicBezTo>
                    <a:pt x="38" y="5"/>
                    <a:pt x="35" y="3"/>
                    <a:pt x="33" y="2"/>
                  </a:cubicBezTo>
                  <a:cubicBezTo>
                    <a:pt x="27" y="0"/>
                    <a:pt x="19" y="3"/>
                    <a:pt x="14" y="8"/>
                  </a:cubicBezTo>
                  <a:cubicBezTo>
                    <a:pt x="7" y="15"/>
                    <a:pt x="5" y="21"/>
                    <a:pt x="2" y="30"/>
                  </a:cubicBezTo>
                  <a:cubicBezTo>
                    <a:pt x="2" y="31"/>
                    <a:pt x="0" y="35"/>
                    <a:pt x="0" y="36"/>
                  </a:cubicBezTo>
                  <a:cubicBezTo>
                    <a:pt x="2" y="44"/>
                    <a:pt x="14" y="48"/>
                    <a:pt x="12" y="56"/>
                  </a:cubicBezTo>
                  <a:cubicBezTo>
                    <a:pt x="27" y="63"/>
                    <a:pt x="45" y="67"/>
                    <a:pt x="58" y="59"/>
                  </a:cubicBezTo>
                  <a:cubicBezTo>
                    <a:pt x="71" y="51"/>
                    <a:pt x="79" y="39"/>
                    <a:pt x="96" y="35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84" name="Freeform 120">
              <a:extLst>
                <a:ext uri="{FF2B5EF4-FFF2-40B4-BE49-F238E27FC236}">
                  <a16:creationId xmlns:a16="http://schemas.microsoft.com/office/drawing/2014/main" id="{2CE0C1CC-6A3A-0B43-A1A5-E0757918CB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8938" y="2043113"/>
              <a:ext cx="31750" cy="28575"/>
            </a:xfrm>
            <a:custGeom>
              <a:avLst/>
              <a:gdLst>
                <a:gd name="T0" fmla="*/ 20 w 90"/>
                <a:gd name="T1" fmla="*/ 73 h 81"/>
                <a:gd name="T2" fmla="*/ 15 w 90"/>
                <a:gd name="T3" fmla="*/ 73 h 81"/>
                <a:gd name="T4" fmla="*/ 10 w 90"/>
                <a:gd name="T5" fmla="*/ 68 h 81"/>
                <a:gd name="T6" fmla="*/ 33 w 90"/>
                <a:gd name="T7" fmla="*/ 28 h 81"/>
                <a:gd name="T8" fmla="*/ 42 w 90"/>
                <a:gd name="T9" fmla="*/ 20 h 81"/>
                <a:gd name="T10" fmla="*/ 58 w 90"/>
                <a:gd name="T11" fmla="*/ 15 h 81"/>
                <a:gd name="T12" fmla="*/ 68 w 90"/>
                <a:gd name="T13" fmla="*/ 7 h 81"/>
                <a:gd name="T14" fmla="*/ 81 w 90"/>
                <a:gd name="T15" fmla="*/ 2 h 81"/>
                <a:gd name="T16" fmla="*/ 83 w 90"/>
                <a:gd name="T17" fmla="*/ 2 h 81"/>
                <a:gd name="T18" fmla="*/ 84 w 90"/>
                <a:gd name="T19" fmla="*/ 5 h 81"/>
                <a:gd name="T20" fmla="*/ 86 w 90"/>
                <a:gd name="T21" fmla="*/ 7 h 81"/>
                <a:gd name="T22" fmla="*/ 86 w 90"/>
                <a:gd name="T23" fmla="*/ 12 h 81"/>
                <a:gd name="T24" fmla="*/ 88 w 90"/>
                <a:gd name="T25" fmla="*/ 35 h 81"/>
                <a:gd name="T26" fmla="*/ 86 w 90"/>
                <a:gd name="T27" fmla="*/ 43 h 81"/>
                <a:gd name="T28" fmla="*/ 73 w 90"/>
                <a:gd name="T29" fmla="*/ 55 h 81"/>
                <a:gd name="T30" fmla="*/ 58 w 90"/>
                <a:gd name="T31" fmla="*/ 70 h 81"/>
                <a:gd name="T32" fmla="*/ 20 w 90"/>
                <a:gd name="T33" fmla="*/ 7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81">
                  <a:moveTo>
                    <a:pt x="20" y="73"/>
                  </a:moveTo>
                  <a:cubicBezTo>
                    <a:pt x="19" y="73"/>
                    <a:pt x="17" y="73"/>
                    <a:pt x="15" y="73"/>
                  </a:cubicBezTo>
                  <a:cubicBezTo>
                    <a:pt x="14" y="71"/>
                    <a:pt x="12" y="70"/>
                    <a:pt x="10" y="68"/>
                  </a:cubicBezTo>
                  <a:cubicBezTo>
                    <a:pt x="0" y="48"/>
                    <a:pt x="25" y="40"/>
                    <a:pt x="33" y="28"/>
                  </a:cubicBezTo>
                  <a:cubicBezTo>
                    <a:pt x="37" y="25"/>
                    <a:pt x="38" y="22"/>
                    <a:pt x="42" y="20"/>
                  </a:cubicBezTo>
                  <a:cubicBezTo>
                    <a:pt x="47" y="17"/>
                    <a:pt x="53" y="17"/>
                    <a:pt x="58" y="15"/>
                  </a:cubicBezTo>
                  <a:cubicBezTo>
                    <a:pt x="61" y="14"/>
                    <a:pt x="65" y="10"/>
                    <a:pt x="68" y="7"/>
                  </a:cubicBezTo>
                  <a:cubicBezTo>
                    <a:pt x="71" y="4"/>
                    <a:pt x="76" y="0"/>
                    <a:pt x="81" y="2"/>
                  </a:cubicBezTo>
                  <a:lnTo>
                    <a:pt x="83" y="2"/>
                  </a:lnTo>
                  <a:cubicBezTo>
                    <a:pt x="83" y="4"/>
                    <a:pt x="83" y="4"/>
                    <a:pt x="84" y="5"/>
                  </a:cubicBezTo>
                  <a:lnTo>
                    <a:pt x="86" y="7"/>
                  </a:lnTo>
                  <a:cubicBezTo>
                    <a:pt x="88" y="9"/>
                    <a:pt x="86" y="10"/>
                    <a:pt x="86" y="12"/>
                  </a:cubicBezTo>
                  <a:cubicBezTo>
                    <a:pt x="84" y="20"/>
                    <a:pt x="89" y="27"/>
                    <a:pt x="88" y="35"/>
                  </a:cubicBezTo>
                  <a:cubicBezTo>
                    <a:pt x="88" y="38"/>
                    <a:pt x="86" y="42"/>
                    <a:pt x="86" y="43"/>
                  </a:cubicBezTo>
                  <a:cubicBezTo>
                    <a:pt x="83" y="50"/>
                    <a:pt x="76" y="50"/>
                    <a:pt x="73" y="55"/>
                  </a:cubicBezTo>
                  <a:cubicBezTo>
                    <a:pt x="68" y="60"/>
                    <a:pt x="63" y="66"/>
                    <a:pt x="58" y="70"/>
                  </a:cubicBezTo>
                  <a:cubicBezTo>
                    <a:pt x="47" y="80"/>
                    <a:pt x="35" y="75"/>
                    <a:pt x="20" y="7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85" name="Freeform 121">
              <a:extLst>
                <a:ext uri="{FF2B5EF4-FFF2-40B4-BE49-F238E27FC236}">
                  <a16:creationId xmlns:a16="http://schemas.microsoft.com/office/drawing/2014/main" id="{66801EED-CBC6-6946-A8FF-2B695F78E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9888" y="2105025"/>
              <a:ext cx="14287" cy="11113"/>
            </a:xfrm>
            <a:custGeom>
              <a:avLst/>
              <a:gdLst>
                <a:gd name="T0" fmla="*/ 7 w 41"/>
                <a:gd name="T1" fmla="*/ 28 h 33"/>
                <a:gd name="T2" fmla="*/ 20 w 41"/>
                <a:gd name="T3" fmla="*/ 32 h 33"/>
                <a:gd name="T4" fmla="*/ 23 w 41"/>
                <a:gd name="T5" fmla="*/ 30 h 33"/>
                <a:gd name="T6" fmla="*/ 38 w 41"/>
                <a:gd name="T7" fmla="*/ 15 h 33"/>
                <a:gd name="T8" fmla="*/ 35 w 41"/>
                <a:gd name="T9" fmla="*/ 9 h 33"/>
                <a:gd name="T10" fmla="*/ 10 w 41"/>
                <a:gd name="T11" fmla="*/ 5 h 33"/>
                <a:gd name="T12" fmla="*/ 7 w 41"/>
                <a:gd name="T13" fmla="*/ 2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33">
                  <a:moveTo>
                    <a:pt x="7" y="28"/>
                  </a:moveTo>
                  <a:cubicBezTo>
                    <a:pt x="10" y="30"/>
                    <a:pt x="17" y="32"/>
                    <a:pt x="20" y="32"/>
                  </a:cubicBezTo>
                  <a:cubicBezTo>
                    <a:pt x="22" y="32"/>
                    <a:pt x="22" y="30"/>
                    <a:pt x="23" y="30"/>
                  </a:cubicBezTo>
                  <a:cubicBezTo>
                    <a:pt x="30" y="28"/>
                    <a:pt x="40" y="23"/>
                    <a:pt x="38" y="15"/>
                  </a:cubicBezTo>
                  <a:cubicBezTo>
                    <a:pt x="38" y="14"/>
                    <a:pt x="37" y="10"/>
                    <a:pt x="35" y="9"/>
                  </a:cubicBezTo>
                  <a:cubicBezTo>
                    <a:pt x="28" y="2"/>
                    <a:pt x="19" y="0"/>
                    <a:pt x="10" y="5"/>
                  </a:cubicBezTo>
                  <a:cubicBezTo>
                    <a:pt x="4" y="10"/>
                    <a:pt x="0" y="22"/>
                    <a:pt x="7" y="2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86" name="Freeform 122">
              <a:extLst>
                <a:ext uri="{FF2B5EF4-FFF2-40B4-BE49-F238E27FC236}">
                  <a16:creationId xmlns:a16="http://schemas.microsoft.com/office/drawing/2014/main" id="{6C127E90-34D5-2C45-8587-32DFD1BCC6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4313" y="2017713"/>
              <a:ext cx="23812" cy="26987"/>
            </a:xfrm>
            <a:custGeom>
              <a:avLst/>
              <a:gdLst>
                <a:gd name="T0" fmla="*/ 23 w 64"/>
                <a:gd name="T1" fmla="*/ 51 h 75"/>
                <a:gd name="T2" fmla="*/ 28 w 64"/>
                <a:gd name="T3" fmla="*/ 38 h 75"/>
                <a:gd name="T4" fmla="*/ 35 w 64"/>
                <a:gd name="T5" fmla="*/ 36 h 75"/>
                <a:gd name="T6" fmla="*/ 50 w 64"/>
                <a:gd name="T7" fmla="*/ 35 h 75"/>
                <a:gd name="T8" fmla="*/ 56 w 64"/>
                <a:gd name="T9" fmla="*/ 32 h 75"/>
                <a:gd name="T10" fmla="*/ 61 w 64"/>
                <a:gd name="T11" fmla="*/ 17 h 75"/>
                <a:gd name="T12" fmla="*/ 50 w 64"/>
                <a:gd name="T13" fmla="*/ 5 h 75"/>
                <a:gd name="T14" fmla="*/ 40 w 64"/>
                <a:gd name="T15" fmla="*/ 0 h 75"/>
                <a:gd name="T16" fmla="*/ 22 w 64"/>
                <a:gd name="T17" fmla="*/ 10 h 75"/>
                <a:gd name="T18" fmla="*/ 8 w 64"/>
                <a:gd name="T19" fmla="*/ 28 h 75"/>
                <a:gd name="T20" fmla="*/ 5 w 64"/>
                <a:gd name="T21" fmla="*/ 38 h 75"/>
                <a:gd name="T22" fmla="*/ 2 w 64"/>
                <a:gd name="T23" fmla="*/ 51 h 75"/>
                <a:gd name="T24" fmla="*/ 0 w 64"/>
                <a:gd name="T25" fmla="*/ 58 h 75"/>
                <a:gd name="T26" fmla="*/ 23 w 64"/>
                <a:gd name="T27" fmla="*/ 5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75">
                  <a:moveTo>
                    <a:pt x="23" y="51"/>
                  </a:moveTo>
                  <a:cubicBezTo>
                    <a:pt x="25" y="46"/>
                    <a:pt x="25" y="41"/>
                    <a:pt x="28" y="38"/>
                  </a:cubicBezTo>
                  <a:cubicBezTo>
                    <a:pt x="30" y="38"/>
                    <a:pt x="33" y="36"/>
                    <a:pt x="35" y="36"/>
                  </a:cubicBezTo>
                  <a:cubicBezTo>
                    <a:pt x="40" y="36"/>
                    <a:pt x="45" y="35"/>
                    <a:pt x="50" y="35"/>
                  </a:cubicBezTo>
                  <a:cubicBezTo>
                    <a:pt x="51" y="35"/>
                    <a:pt x="54" y="33"/>
                    <a:pt x="56" y="32"/>
                  </a:cubicBezTo>
                  <a:cubicBezTo>
                    <a:pt x="61" y="30"/>
                    <a:pt x="63" y="23"/>
                    <a:pt x="61" y="17"/>
                  </a:cubicBezTo>
                  <a:cubicBezTo>
                    <a:pt x="59" y="12"/>
                    <a:pt x="54" y="7"/>
                    <a:pt x="50" y="5"/>
                  </a:cubicBezTo>
                  <a:cubicBezTo>
                    <a:pt x="46" y="2"/>
                    <a:pt x="43" y="0"/>
                    <a:pt x="40" y="0"/>
                  </a:cubicBezTo>
                  <a:cubicBezTo>
                    <a:pt x="33" y="0"/>
                    <a:pt x="26" y="5"/>
                    <a:pt x="22" y="10"/>
                  </a:cubicBezTo>
                  <a:cubicBezTo>
                    <a:pt x="17" y="15"/>
                    <a:pt x="12" y="22"/>
                    <a:pt x="8" y="28"/>
                  </a:cubicBezTo>
                  <a:cubicBezTo>
                    <a:pt x="7" y="32"/>
                    <a:pt x="5" y="35"/>
                    <a:pt x="5" y="38"/>
                  </a:cubicBezTo>
                  <a:cubicBezTo>
                    <a:pt x="3" y="41"/>
                    <a:pt x="2" y="46"/>
                    <a:pt x="2" y="51"/>
                  </a:cubicBezTo>
                  <a:cubicBezTo>
                    <a:pt x="0" y="53"/>
                    <a:pt x="0" y="56"/>
                    <a:pt x="0" y="58"/>
                  </a:cubicBezTo>
                  <a:cubicBezTo>
                    <a:pt x="5" y="74"/>
                    <a:pt x="22" y="61"/>
                    <a:pt x="23" y="51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87" name="Freeform 123">
              <a:extLst>
                <a:ext uri="{FF2B5EF4-FFF2-40B4-BE49-F238E27FC236}">
                  <a16:creationId xmlns:a16="http://schemas.microsoft.com/office/drawing/2014/main" id="{03951E0C-CDB6-B94E-A3CB-C2B5907023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0100" y="2311400"/>
              <a:ext cx="63500" cy="58738"/>
            </a:xfrm>
            <a:custGeom>
              <a:avLst/>
              <a:gdLst>
                <a:gd name="T0" fmla="*/ 10 w 176"/>
                <a:gd name="T1" fmla="*/ 112 h 163"/>
                <a:gd name="T2" fmla="*/ 147 w 176"/>
                <a:gd name="T3" fmla="*/ 153 h 163"/>
                <a:gd name="T4" fmla="*/ 171 w 176"/>
                <a:gd name="T5" fmla="*/ 122 h 163"/>
                <a:gd name="T6" fmla="*/ 157 w 176"/>
                <a:gd name="T7" fmla="*/ 107 h 163"/>
                <a:gd name="T8" fmla="*/ 142 w 176"/>
                <a:gd name="T9" fmla="*/ 74 h 163"/>
                <a:gd name="T10" fmla="*/ 142 w 176"/>
                <a:gd name="T11" fmla="*/ 28 h 163"/>
                <a:gd name="T12" fmla="*/ 74 w 176"/>
                <a:gd name="T13" fmla="*/ 8 h 163"/>
                <a:gd name="T14" fmla="*/ 36 w 176"/>
                <a:gd name="T15" fmla="*/ 63 h 163"/>
                <a:gd name="T16" fmla="*/ 10 w 176"/>
                <a:gd name="T17" fmla="*/ 11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6" h="163">
                  <a:moveTo>
                    <a:pt x="10" y="112"/>
                  </a:moveTo>
                  <a:cubicBezTo>
                    <a:pt x="0" y="162"/>
                    <a:pt x="120" y="162"/>
                    <a:pt x="147" y="153"/>
                  </a:cubicBezTo>
                  <a:cubicBezTo>
                    <a:pt x="160" y="148"/>
                    <a:pt x="175" y="137"/>
                    <a:pt x="171" y="122"/>
                  </a:cubicBezTo>
                  <a:cubicBezTo>
                    <a:pt x="168" y="102"/>
                    <a:pt x="170" y="115"/>
                    <a:pt x="157" y="107"/>
                  </a:cubicBezTo>
                  <a:cubicBezTo>
                    <a:pt x="140" y="96"/>
                    <a:pt x="125" y="101"/>
                    <a:pt x="142" y="74"/>
                  </a:cubicBezTo>
                  <a:cubicBezTo>
                    <a:pt x="153" y="54"/>
                    <a:pt x="166" y="53"/>
                    <a:pt x="142" y="28"/>
                  </a:cubicBezTo>
                  <a:cubicBezTo>
                    <a:pt x="125" y="10"/>
                    <a:pt x="99" y="0"/>
                    <a:pt x="74" y="8"/>
                  </a:cubicBezTo>
                  <a:cubicBezTo>
                    <a:pt x="46" y="18"/>
                    <a:pt x="44" y="38"/>
                    <a:pt x="36" y="63"/>
                  </a:cubicBezTo>
                  <a:cubicBezTo>
                    <a:pt x="30" y="79"/>
                    <a:pt x="13" y="96"/>
                    <a:pt x="10" y="11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88" name="Freeform 124">
              <a:extLst>
                <a:ext uri="{FF2B5EF4-FFF2-40B4-BE49-F238E27FC236}">
                  <a16:creationId xmlns:a16="http://schemas.microsoft.com/office/drawing/2014/main" id="{CFDB6292-777F-DA49-A45B-E858F7A430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1075" y="2366963"/>
              <a:ext cx="49213" cy="23812"/>
            </a:xfrm>
            <a:custGeom>
              <a:avLst/>
              <a:gdLst>
                <a:gd name="T0" fmla="*/ 15 w 136"/>
                <a:gd name="T1" fmla="*/ 15 h 65"/>
                <a:gd name="T2" fmla="*/ 36 w 136"/>
                <a:gd name="T3" fmla="*/ 5 h 65"/>
                <a:gd name="T4" fmla="*/ 79 w 136"/>
                <a:gd name="T5" fmla="*/ 0 h 65"/>
                <a:gd name="T6" fmla="*/ 84 w 136"/>
                <a:gd name="T7" fmla="*/ 0 h 65"/>
                <a:gd name="T8" fmla="*/ 91 w 136"/>
                <a:gd name="T9" fmla="*/ 5 h 65"/>
                <a:gd name="T10" fmla="*/ 109 w 136"/>
                <a:gd name="T11" fmla="*/ 26 h 65"/>
                <a:gd name="T12" fmla="*/ 117 w 136"/>
                <a:gd name="T13" fmla="*/ 33 h 65"/>
                <a:gd name="T14" fmla="*/ 125 w 136"/>
                <a:gd name="T15" fmla="*/ 39 h 65"/>
                <a:gd name="T16" fmla="*/ 130 w 136"/>
                <a:gd name="T17" fmla="*/ 59 h 65"/>
                <a:gd name="T18" fmla="*/ 117 w 136"/>
                <a:gd name="T19" fmla="*/ 63 h 65"/>
                <a:gd name="T20" fmla="*/ 112 w 136"/>
                <a:gd name="T21" fmla="*/ 56 h 65"/>
                <a:gd name="T22" fmla="*/ 76 w 136"/>
                <a:gd name="T23" fmla="*/ 36 h 65"/>
                <a:gd name="T24" fmla="*/ 61 w 136"/>
                <a:gd name="T25" fmla="*/ 36 h 65"/>
                <a:gd name="T26" fmla="*/ 58 w 136"/>
                <a:gd name="T27" fmla="*/ 44 h 65"/>
                <a:gd name="T28" fmla="*/ 36 w 136"/>
                <a:gd name="T29" fmla="*/ 51 h 65"/>
                <a:gd name="T30" fmla="*/ 15 w 136"/>
                <a:gd name="T31" fmla="*/ 1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65">
                  <a:moveTo>
                    <a:pt x="15" y="15"/>
                  </a:moveTo>
                  <a:cubicBezTo>
                    <a:pt x="20" y="8"/>
                    <a:pt x="28" y="7"/>
                    <a:pt x="36" y="5"/>
                  </a:cubicBezTo>
                  <a:cubicBezTo>
                    <a:pt x="51" y="3"/>
                    <a:pt x="64" y="2"/>
                    <a:pt x="79" y="0"/>
                  </a:cubicBezTo>
                  <a:cubicBezTo>
                    <a:pt x="81" y="0"/>
                    <a:pt x="82" y="0"/>
                    <a:pt x="84" y="0"/>
                  </a:cubicBezTo>
                  <a:cubicBezTo>
                    <a:pt x="87" y="0"/>
                    <a:pt x="89" y="2"/>
                    <a:pt x="91" y="5"/>
                  </a:cubicBezTo>
                  <a:cubicBezTo>
                    <a:pt x="96" y="11"/>
                    <a:pt x="102" y="18"/>
                    <a:pt x="109" y="26"/>
                  </a:cubicBezTo>
                  <a:cubicBezTo>
                    <a:pt x="110" y="28"/>
                    <a:pt x="114" y="31"/>
                    <a:pt x="117" y="33"/>
                  </a:cubicBezTo>
                  <a:cubicBezTo>
                    <a:pt x="119" y="36"/>
                    <a:pt x="124" y="36"/>
                    <a:pt x="125" y="39"/>
                  </a:cubicBezTo>
                  <a:cubicBezTo>
                    <a:pt x="132" y="43"/>
                    <a:pt x="135" y="53"/>
                    <a:pt x="130" y="59"/>
                  </a:cubicBezTo>
                  <a:cubicBezTo>
                    <a:pt x="129" y="64"/>
                    <a:pt x="120" y="64"/>
                    <a:pt x="117" y="63"/>
                  </a:cubicBezTo>
                  <a:cubicBezTo>
                    <a:pt x="115" y="61"/>
                    <a:pt x="114" y="59"/>
                    <a:pt x="112" y="56"/>
                  </a:cubicBezTo>
                  <a:cubicBezTo>
                    <a:pt x="104" y="44"/>
                    <a:pt x="89" y="39"/>
                    <a:pt x="76" y="36"/>
                  </a:cubicBezTo>
                  <a:cubicBezTo>
                    <a:pt x="71" y="35"/>
                    <a:pt x="64" y="33"/>
                    <a:pt x="61" y="36"/>
                  </a:cubicBezTo>
                  <a:cubicBezTo>
                    <a:pt x="59" y="39"/>
                    <a:pt x="59" y="41"/>
                    <a:pt x="58" y="44"/>
                  </a:cubicBezTo>
                  <a:cubicBezTo>
                    <a:pt x="53" y="51"/>
                    <a:pt x="45" y="51"/>
                    <a:pt x="36" y="51"/>
                  </a:cubicBezTo>
                  <a:cubicBezTo>
                    <a:pt x="12" y="49"/>
                    <a:pt x="0" y="39"/>
                    <a:pt x="15" y="15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89" name="Freeform 125">
              <a:extLst>
                <a:ext uri="{FF2B5EF4-FFF2-40B4-BE49-F238E27FC236}">
                  <a16:creationId xmlns:a16="http://schemas.microsoft.com/office/drawing/2014/main" id="{899F4B72-3A48-6744-86E4-460CD5DDC8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4738" y="2454275"/>
              <a:ext cx="30162" cy="49213"/>
            </a:xfrm>
            <a:custGeom>
              <a:avLst/>
              <a:gdLst>
                <a:gd name="T0" fmla="*/ 64 w 85"/>
                <a:gd name="T1" fmla="*/ 6 h 136"/>
                <a:gd name="T2" fmla="*/ 31 w 85"/>
                <a:gd name="T3" fmla="*/ 11 h 136"/>
                <a:gd name="T4" fmla="*/ 8 w 85"/>
                <a:gd name="T5" fmla="*/ 48 h 136"/>
                <a:gd name="T6" fmla="*/ 1 w 85"/>
                <a:gd name="T7" fmla="*/ 52 h 136"/>
                <a:gd name="T8" fmla="*/ 1 w 85"/>
                <a:gd name="T9" fmla="*/ 62 h 136"/>
                <a:gd name="T10" fmla="*/ 20 w 85"/>
                <a:gd name="T11" fmla="*/ 99 h 136"/>
                <a:gd name="T12" fmla="*/ 46 w 85"/>
                <a:gd name="T13" fmla="*/ 128 h 136"/>
                <a:gd name="T14" fmla="*/ 80 w 85"/>
                <a:gd name="T15" fmla="*/ 118 h 136"/>
                <a:gd name="T16" fmla="*/ 76 w 85"/>
                <a:gd name="T17" fmla="*/ 62 h 136"/>
                <a:gd name="T18" fmla="*/ 64 w 85"/>
                <a:gd name="T19" fmla="*/ 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36">
                  <a:moveTo>
                    <a:pt x="64" y="6"/>
                  </a:moveTo>
                  <a:cubicBezTo>
                    <a:pt x="52" y="0"/>
                    <a:pt x="39" y="1"/>
                    <a:pt x="31" y="11"/>
                  </a:cubicBezTo>
                  <a:cubicBezTo>
                    <a:pt x="21" y="21"/>
                    <a:pt x="20" y="39"/>
                    <a:pt x="8" y="48"/>
                  </a:cubicBezTo>
                  <a:cubicBezTo>
                    <a:pt x="5" y="49"/>
                    <a:pt x="3" y="51"/>
                    <a:pt x="1" y="52"/>
                  </a:cubicBezTo>
                  <a:cubicBezTo>
                    <a:pt x="0" y="54"/>
                    <a:pt x="0" y="59"/>
                    <a:pt x="1" y="62"/>
                  </a:cubicBezTo>
                  <a:cubicBezTo>
                    <a:pt x="5" y="76"/>
                    <a:pt x="11" y="87"/>
                    <a:pt x="20" y="99"/>
                  </a:cubicBezTo>
                  <a:cubicBezTo>
                    <a:pt x="26" y="110"/>
                    <a:pt x="34" y="123"/>
                    <a:pt x="46" y="128"/>
                  </a:cubicBezTo>
                  <a:cubicBezTo>
                    <a:pt x="57" y="135"/>
                    <a:pt x="76" y="130"/>
                    <a:pt x="80" y="118"/>
                  </a:cubicBezTo>
                  <a:cubicBezTo>
                    <a:pt x="84" y="104"/>
                    <a:pt x="76" y="77"/>
                    <a:pt x="76" y="62"/>
                  </a:cubicBezTo>
                  <a:cubicBezTo>
                    <a:pt x="74" y="46"/>
                    <a:pt x="74" y="20"/>
                    <a:pt x="64" y="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90" name="Freeform 126">
              <a:extLst>
                <a:ext uri="{FF2B5EF4-FFF2-40B4-BE49-F238E27FC236}">
                  <a16:creationId xmlns:a16="http://schemas.microsoft.com/office/drawing/2014/main" id="{B381B9A4-515C-454C-9A87-F13A796C99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0275" y="2400300"/>
              <a:ext cx="31750" cy="31750"/>
            </a:xfrm>
            <a:custGeom>
              <a:avLst/>
              <a:gdLst>
                <a:gd name="T0" fmla="*/ 78 w 90"/>
                <a:gd name="T1" fmla="*/ 39 h 88"/>
                <a:gd name="T2" fmla="*/ 68 w 90"/>
                <a:gd name="T3" fmla="*/ 20 h 88"/>
                <a:gd name="T4" fmla="*/ 56 w 90"/>
                <a:gd name="T5" fmla="*/ 5 h 88"/>
                <a:gd name="T6" fmla="*/ 30 w 90"/>
                <a:gd name="T7" fmla="*/ 5 h 88"/>
                <a:gd name="T8" fmla="*/ 12 w 90"/>
                <a:gd name="T9" fmla="*/ 20 h 88"/>
                <a:gd name="T10" fmla="*/ 0 w 90"/>
                <a:gd name="T11" fmla="*/ 29 h 88"/>
                <a:gd name="T12" fmla="*/ 5 w 90"/>
                <a:gd name="T13" fmla="*/ 41 h 88"/>
                <a:gd name="T14" fmla="*/ 22 w 90"/>
                <a:gd name="T15" fmla="*/ 64 h 88"/>
                <a:gd name="T16" fmla="*/ 28 w 90"/>
                <a:gd name="T17" fmla="*/ 74 h 88"/>
                <a:gd name="T18" fmla="*/ 33 w 90"/>
                <a:gd name="T19" fmla="*/ 85 h 88"/>
                <a:gd name="T20" fmla="*/ 41 w 90"/>
                <a:gd name="T21" fmla="*/ 85 h 88"/>
                <a:gd name="T22" fmla="*/ 48 w 90"/>
                <a:gd name="T23" fmla="*/ 79 h 88"/>
                <a:gd name="T24" fmla="*/ 50 w 90"/>
                <a:gd name="T25" fmla="*/ 72 h 88"/>
                <a:gd name="T26" fmla="*/ 78 w 90"/>
                <a:gd name="T27" fmla="*/ 3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88">
                  <a:moveTo>
                    <a:pt x="78" y="39"/>
                  </a:moveTo>
                  <a:cubicBezTo>
                    <a:pt x="74" y="33"/>
                    <a:pt x="71" y="26"/>
                    <a:pt x="68" y="20"/>
                  </a:cubicBezTo>
                  <a:cubicBezTo>
                    <a:pt x="64" y="15"/>
                    <a:pt x="61" y="8"/>
                    <a:pt x="56" y="5"/>
                  </a:cubicBezTo>
                  <a:cubicBezTo>
                    <a:pt x="48" y="0"/>
                    <a:pt x="38" y="1"/>
                    <a:pt x="30" y="5"/>
                  </a:cubicBezTo>
                  <a:cubicBezTo>
                    <a:pt x="22" y="8"/>
                    <a:pt x="18" y="16"/>
                    <a:pt x="12" y="20"/>
                  </a:cubicBezTo>
                  <a:cubicBezTo>
                    <a:pt x="8" y="23"/>
                    <a:pt x="2" y="25"/>
                    <a:pt x="0" y="29"/>
                  </a:cubicBezTo>
                  <a:cubicBezTo>
                    <a:pt x="0" y="33"/>
                    <a:pt x="2" y="38"/>
                    <a:pt x="5" y="41"/>
                  </a:cubicBezTo>
                  <a:cubicBezTo>
                    <a:pt x="10" y="48"/>
                    <a:pt x="17" y="56"/>
                    <a:pt x="22" y="64"/>
                  </a:cubicBezTo>
                  <a:cubicBezTo>
                    <a:pt x="25" y="67"/>
                    <a:pt x="26" y="69"/>
                    <a:pt x="28" y="74"/>
                  </a:cubicBezTo>
                  <a:cubicBezTo>
                    <a:pt x="30" y="77"/>
                    <a:pt x="30" y="82"/>
                    <a:pt x="33" y="85"/>
                  </a:cubicBezTo>
                  <a:cubicBezTo>
                    <a:pt x="35" y="87"/>
                    <a:pt x="40" y="87"/>
                    <a:pt x="41" y="85"/>
                  </a:cubicBezTo>
                  <a:cubicBezTo>
                    <a:pt x="45" y="84"/>
                    <a:pt x="46" y="81"/>
                    <a:pt x="48" y="79"/>
                  </a:cubicBezTo>
                  <a:cubicBezTo>
                    <a:pt x="48" y="76"/>
                    <a:pt x="48" y="74"/>
                    <a:pt x="50" y="72"/>
                  </a:cubicBezTo>
                  <a:cubicBezTo>
                    <a:pt x="53" y="54"/>
                    <a:pt x="89" y="61"/>
                    <a:pt x="78" y="39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91" name="Freeform 127">
              <a:extLst>
                <a:ext uri="{FF2B5EF4-FFF2-40B4-BE49-F238E27FC236}">
                  <a16:creationId xmlns:a16="http://schemas.microsoft.com/office/drawing/2014/main" id="{5A7C7150-2394-E340-8E33-FF057C29A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0900" y="2066925"/>
              <a:ext cx="19050" cy="23813"/>
            </a:xfrm>
            <a:custGeom>
              <a:avLst/>
              <a:gdLst>
                <a:gd name="T0" fmla="*/ 33 w 51"/>
                <a:gd name="T1" fmla="*/ 13 h 67"/>
                <a:gd name="T2" fmla="*/ 20 w 51"/>
                <a:gd name="T3" fmla="*/ 0 h 67"/>
                <a:gd name="T4" fmla="*/ 7 w 51"/>
                <a:gd name="T5" fmla="*/ 8 h 67"/>
                <a:gd name="T6" fmla="*/ 2 w 51"/>
                <a:gd name="T7" fmla="*/ 21 h 67"/>
                <a:gd name="T8" fmla="*/ 2 w 51"/>
                <a:gd name="T9" fmla="*/ 36 h 67"/>
                <a:gd name="T10" fmla="*/ 37 w 51"/>
                <a:gd name="T11" fmla="*/ 58 h 67"/>
                <a:gd name="T12" fmla="*/ 33 w 51"/>
                <a:gd name="T13" fmla="*/ 1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67">
                  <a:moveTo>
                    <a:pt x="33" y="13"/>
                  </a:moveTo>
                  <a:cubicBezTo>
                    <a:pt x="30" y="8"/>
                    <a:pt x="27" y="2"/>
                    <a:pt x="20" y="0"/>
                  </a:cubicBezTo>
                  <a:cubicBezTo>
                    <a:pt x="15" y="0"/>
                    <a:pt x="10" y="3"/>
                    <a:pt x="7" y="8"/>
                  </a:cubicBezTo>
                  <a:cubicBezTo>
                    <a:pt x="5" y="12"/>
                    <a:pt x="4" y="16"/>
                    <a:pt x="2" y="21"/>
                  </a:cubicBezTo>
                  <a:cubicBezTo>
                    <a:pt x="2" y="26"/>
                    <a:pt x="0" y="31"/>
                    <a:pt x="2" y="36"/>
                  </a:cubicBezTo>
                  <a:cubicBezTo>
                    <a:pt x="5" y="46"/>
                    <a:pt x="25" y="66"/>
                    <a:pt x="37" y="58"/>
                  </a:cubicBezTo>
                  <a:cubicBezTo>
                    <a:pt x="50" y="48"/>
                    <a:pt x="38" y="23"/>
                    <a:pt x="33" y="1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92" name="Freeform 128">
              <a:extLst>
                <a:ext uri="{FF2B5EF4-FFF2-40B4-BE49-F238E27FC236}">
                  <a16:creationId xmlns:a16="http://schemas.microsoft.com/office/drawing/2014/main" id="{E5174C18-435A-9D48-81EF-E269A82BB1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1913" y="2300288"/>
              <a:ext cx="11112" cy="9525"/>
            </a:xfrm>
            <a:custGeom>
              <a:avLst/>
              <a:gdLst>
                <a:gd name="T0" fmla="*/ 7 w 33"/>
                <a:gd name="T1" fmla="*/ 23 h 27"/>
                <a:gd name="T2" fmla="*/ 23 w 33"/>
                <a:gd name="T3" fmla="*/ 23 h 27"/>
                <a:gd name="T4" fmla="*/ 30 w 33"/>
                <a:gd name="T5" fmla="*/ 8 h 27"/>
                <a:gd name="T6" fmla="*/ 2 w 33"/>
                <a:gd name="T7" fmla="*/ 11 h 27"/>
                <a:gd name="T8" fmla="*/ 7 w 33"/>
                <a:gd name="T9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7">
                  <a:moveTo>
                    <a:pt x="7" y="23"/>
                  </a:moveTo>
                  <a:cubicBezTo>
                    <a:pt x="12" y="26"/>
                    <a:pt x="20" y="26"/>
                    <a:pt x="23" y="23"/>
                  </a:cubicBezTo>
                  <a:cubicBezTo>
                    <a:pt x="28" y="20"/>
                    <a:pt x="32" y="13"/>
                    <a:pt x="30" y="8"/>
                  </a:cubicBezTo>
                  <a:cubicBezTo>
                    <a:pt x="23" y="0"/>
                    <a:pt x="7" y="1"/>
                    <a:pt x="2" y="11"/>
                  </a:cubicBezTo>
                  <a:cubicBezTo>
                    <a:pt x="0" y="16"/>
                    <a:pt x="2" y="23"/>
                    <a:pt x="7" y="2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93" name="Freeform 129">
              <a:extLst>
                <a:ext uri="{FF2B5EF4-FFF2-40B4-BE49-F238E27FC236}">
                  <a16:creationId xmlns:a16="http://schemas.microsoft.com/office/drawing/2014/main" id="{53D51908-1615-A34D-BB3F-7765FF4C82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1750" y="2332038"/>
              <a:ext cx="15875" cy="11112"/>
            </a:xfrm>
            <a:custGeom>
              <a:avLst/>
              <a:gdLst>
                <a:gd name="T0" fmla="*/ 23 w 42"/>
                <a:gd name="T1" fmla="*/ 25 h 29"/>
                <a:gd name="T2" fmla="*/ 33 w 42"/>
                <a:gd name="T3" fmla="*/ 20 h 29"/>
                <a:gd name="T4" fmla="*/ 41 w 42"/>
                <a:gd name="T5" fmla="*/ 12 h 29"/>
                <a:gd name="T6" fmla="*/ 41 w 42"/>
                <a:gd name="T7" fmla="*/ 10 h 29"/>
                <a:gd name="T8" fmla="*/ 39 w 42"/>
                <a:gd name="T9" fmla="*/ 8 h 29"/>
                <a:gd name="T10" fmla="*/ 24 w 42"/>
                <a:gd name="T11" fmla="*/ 0 h 29"/>
                <a:gd name="T12" fmla="*/ 18 w 42"/>
                <a:gd name="T13" fmla="*/ 0 h 29"/>
                <a:gd name="T14" fmla="*/ 13 w 42"/>
                <a:gd name="T15" fmla="*/ 2 h 29"/>
                <a:gd name="T16" fmla="*/ 6 w 42"/>
                <a:gd name="T17" fmla="*/ 2 h 29"/>
                <a:gd name="T18" fmla="*/ 3 w 42"/>
                <a:gd name="T19" fmla="*/ 5 h 29"/>
                <a:gd name="T20" fmla="*/ 1 w 42"/>
                <a:gd name="T21" fmla="*/ 8 h 29"/>
                <a:gd name="T22" fmla="*/ 0 w 42"/>
                <a:gd name="T23" fmla="*/ 15 h 29"/>
                <a:gd name="T24" fmla="*/ 3 w 42"/>
                <a:gd name="T25" fmla="*/ 20 h 29"/>
                <a:gd name="T26" fmla="*/ 11 w 42"/>
                <a:gd name="T27" fmla="*/ 26 h 29"/>
                <a:gd name="T28" fmla="*/ 13 w 42"/>
                <a:gd name="T29" fmla="*/ 26 h 29"/>
                <a:gd name="T30" fmla="*/ 16 w 42"/>
                <a:gd name="T31" fmla="*/ 26 h 29"/>
                <a:gd name="T32" fmla="*/ 19 w 42"/>
                <a:gd name="T33" fmla="*/ 26 h 29"/>
                <a:gd name="T34" fmla="*/ 23 w 42"/>
                <a:gd name="T35" fmla="*/ 2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29">
                  <a:moveTo>
                    <a:pt x="23" y="25"/>
                  </a:moveTo>
                  <a:cubicBezTo>
                    <a:pt x="26" y="23"/>
                    <a:pt x="31" y="23"/>
                    <a:pt x="33" y="20"/>
                  </a:cubicBezTo>
                  <a:cubicBezTo>
                    <a:pt x="36" y="18"/>
                    <a:pt x="39" y="15"/>
                    <a:pt x="41" y="12"/>
                  </a:cubicBezTo>
                  <a:lnTo>
                    <a:pt x="41" y="10"/>
                  </a:lnTo>
                  <a:cubicBezTo>
                    <a:pt x="41" y="8"/>
                    <a:pt x="39" y="8"/>
                    <a:pt x="39" y="8"/>
                  </a:cubicBezTo>
                  <a:cubicBezTo>
                    <a:pt x="34" y="3"/>
                    <a:pt x="29" y="0"/>
                    <a:pt x="24" y="0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6" y="0"/>
                    <a:pt x="15" y="2"/>
                    <a:pt x="13" y="2"/>
                  </a:cubicBezTo>
                  <a:cubicBezTo>
                    <a:pt x="10" y="2"/>
                    <a:pt x="8" y="2"/>
                    <a:pt x="6" y="2"/>
                  </a:cubicBezTo>
                  <a:cubicBezTo>
                    <a:pt x="5" y="3"/>
                    <a:pt x="3" y="3"/>
                    <a:pt x="3" y="5"/>
                  </a:cubicBezTo>
                  <a:cubicBezTo>
                    <a:pt x="1" y="5"/>
                    <a:pt x="1" y="7"/>
                    <a:pt x="1" y="8"/>
                  </a:cubicBezTo>
                  <a:cubicBezTo>
                    <a:pt x="1" y="10"/>
                    <a:pt x="0" y="13"/>
                    <a:pt x="0" y="15"/>
                  </a:cubicBezTo>
                  <a:cubicBezTo>
                    <a:pt x="0" y="16"/>
                    <a:pt x="1" y="18"/>
                    <a:pt x="3" y="20"/>
                  </a:cubicBezTo>
                  <a:cubicBezTo>
                    <a:pt x="6" y="21"/>
                    <a:pt x="8" y="25"/>
                    <a:pt x="11" y="26"/>
                  </a:cubicBezTo>
                  <a:lnTo>
                    <a:pt x="13" y="26"/>
                  </a:lnTo>
                  <a:cubicBezTo>
                    <a:pt x="15" y="28"/>
                    <a:pt x="16" y="26"/>
                    <a:pt x="16" y="26"/>
                  </a:cubicBezTo>
                  <a:lnTo>
                    <a:pt x="19" y="26"/>
                  </a:lnTo>
                  <a:cubicBezTo>
                    <a:pt x="21" y="25"/>
                    <a:pt x="21" y="25"/>
                    <a:pt x="23" y="25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94" name="Freeform 130">
              <a:extLst>
                <a:ext uri="{FF2B5EF4-FFF2-40B4-BE49-F238E27FC236}">
                  <a16:creationId xmlns:a16="http://schemas.microsoft.com/office/drawing/2014/main" id="{677F0E23-5A7A-3E4A-B853-0D31D217D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1913" y="2297113"/>
              <a:ext cx="12700" cy="9525"/>
            </a:xfrm>
            <a:custGeom>
              <a:avLst/>
              <a:gdLst>
                <a:gd name="T0" fmla="*/ 17 w 34"/>
                <a:gd name="T1" fmla="*/ 26 h 27"/>
                <a:gd name="T2" fmla="*/ 22 w 34"/>
                <a:gd name="T3" fmla="*/ 25 h 27"/>
                <a:gd name="T4" fmla="*/ 28 w 34"/>
                <a:gd name="T5" fmla="*/ 23 h 27"/>
                <a:gd name="T6" fmla="*/ 33 w 34"/>
                <a:gd name="T7" fmla="*/ 20 h 27"/>
                <a:gd name="T8" fmla="*/ 28 w 34"/>
                <a:gd name="T9" fmla="*/ 11 h 27"/>
                <a:gd name="T10" fmla="*/ 28 w 34"/>
                <a:gd name="T11" fmla="*/ 3 h 27"/>
                <a:gd name="T12" fmla="*/ 26 w 34"/>
                <a:gd name="T13" fmla="*/ 1 h 27"/>
                <a:gd name="T14" fmla="*/ 12 w 34"/>
                <a:gd name="T15" fmla="*/ 5 h 27"/>
                <a:gd name="T16" fmla="*/ 3 w 34"/>
                <a:gd name="T17" fmla="*/ 13 h 27"/>
                <a:gd name="T18" fmla="*/ 2 w 34"/>
                <a:gd name="T19" fmla="*/ 16 h 27"/>
                <a:gd name="T20" fmla="*/ 2 w 34"/>
                <a:gd name="T21" fmla="*/ 18 h 27"/>
                <a:gd name="T22" fmla="*/ 10 w 34"/>
                <a:gd name="T23" fmla="*/ 23 h 27"/>
                <a:gd name="T24" fmla="*/ 17 w 34"/>
                <a:gd name="T25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27">
                  <a:moveTo>
                    <a:pt x="17" y="26"/>
                  </a:moveTo>
                  <a:cubicBezTo>
                    <a:pt x="18" y="26"/>
                    <a:pt x="20" y="26"/>
                    <a:pt x="22" y="25"/>
                  </a:cubicBezTo>
                  <a:cubicBezTo>
                    <a:pt x="23" y="25"/>
                    <a:pt x="26" y="25"/>
                    <a:pt x="28" y="23"/>
                  </a:cubicBezTo>
                  <a:cubicBezTo>
                    <a:pt x="30" y="23"/>
                    <a:pt x="33" y="21"/>
                    <a:pt x="33" y="20"/>
                  </a:cubicBezTo>
                  <a:cubicBezTo>
                    <a:pt x="33" y="16"/>
                    <a:pt x="30" y="15"/>
                    <a:pt x="28" y="11"/>
                  </a:cubicBezTo>
                  <a:cubicBezTo>
                    <a:pt x="28" y="8"/>
                    <a:pt x="30" y="6"/>
                    <a:pt x="28" y="3"/>
                  </a:cubicBezTo>
                  <a:lnTo>
                    <a:pt x="26" y="1"/>
                  </a:lnTo>
                  <a:cubicBezTo>
                    <a:pt x="22" y="0"/>
                    <a:pt x="15" y="0"/>
                    <a:pt x="12" y="5"/>
                  </a:cubicBezTo>
                  <a:cubicBezTo>
                    <a:pt x="8" y="6"/>
                    <a:pt x="7" y="11"/>
                    <a:pt x="3" y="13"/>
                  </a:cubicBezTo>
                  <a:cubicBezTo>
                    <a:pt x="2" y="15"/>
                    <a:pt x="2" y="15"/>
                    <a:pt x="2" y="16"/>
                  </a:cubicBezTo>
                  <a:cubicBezTo>
                    <a:pt x="0" y="16"/>
                    <a:pt x="2" y="18"/>
                    <a:pt x="2" y="18"/>
                  </a:cubicBezTo>
                  <a:cubicBezTo>
                    <a:pt x="5" y="20"/>
                    <a:pt x="7" y="21"/>
                    <a:pt x="10" y="23"/>
                  </a:cubicBezTo>
                  <a:cubicBezTo>
                    <a:pt x="12" y="23"/>
                    <a:pt x="13" y="26"/>
                    <a:pt x="17" y="2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95" name="Freeform 131">
              <a:extLst>
                <a:ext uri="{FF2B5EF4-FFF2-40B4-BE49-F238E27FC236}">
                  <a16:creationId xmlns:a16="http://schemas.microsoft.com/office/drawing/2014/main" id="{C55A5FF4-89B7-8D4B-B2D6-039230A1AB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313" y="2359025"/>
              <a:ext cx="20637" cy="9525"/>
            </a:xfrm>
            <a:custGeom>
              <a:avLst/>
              <a:gdLst>
                <a:gd name="T0" fmla="*/ 31 w 57"/>
                <a:gd name="T1" fmla="*/ 18 h 27"/>
                <a:gd name="T2" fmla="*/ 25 w 57"/>
                <a:gd name="T3" fmla="*/ 16 h 27"/>
                <a:gd name="T4" fmla="*/ 20 w 57"/>
                <a:gd name="T5" fmla="*/ 18 h 27"/>
                <a:gd name="T6" fmla="*/ 0 w 57"/>
                <a:gd name="T7" fmla="*/ 14 h 27"/>
                <a:gd name="T8" fmla="*/ 3 w 57"/>
                <a:gd name="T9" fmla="*/ 8 h 27"/>
                <a:gd name="T10" fmla="*/ 10 w 57"/>
                <a:gd name="T11" fmla="*/ 4 h 27"/>
                <a:gd name="T12" fmla="*/ 28 w 57"/>
                <a:gd name="T13" fmla="*/ 1 h 27"/>
                <a:gd name="T14" fmla="*/ 45 w 57"/>
                <a:gd name="T15" fmla="*/ 13 h 27"/>
                <a:gd name="T16" fmla="*/ 31 w 57"/>
                <a:gd name="T17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27">
                  <a:moveTo>
                    <a:pt x="31" y="18"/>
                  </a:moveTo>
                  <a:cubicBezTo>
                    <a:pt x="30" y="16"/>
                    <a:pt x="28" y="16"/>
                    <a:pt x="25" y="16"/>
                  </a:cubicBezTo>
                  <a:cubicBezTo>
                    <a:pt x="23" y="16"/>
                    <a:pt x="21" y="18"/>
                    <a:pt x="20" y="18"/>
                  </a:cubicBezTo>
                  <a:cubicBezTo>
                    <a:pt x="13" y="19"/>
                    <a:pt x="7" y="18"/>
                    <a:pt x="0" y="14"/>
                  </a:cubicBezTo>
                  <a:cubicBezTo>
                    <a:pt x="0" y="13"/>
                    <a:pt x="0" y="9"/>
                    <a:pt x="3" y="8"/>
                  </a:cubicBezTo>
                  <a:cubicBezTo>
                    <a:pt x="5" y="6"/>
                    <a:pt x="7" y="4"/>
                    <a:pt x="10" y="4"/>
                  </a:cubicBezTo>
                  <a:cubicBezTo>
                    <a:pt x="17" y="3"/>
                    <a:pt x="23" y="0"/>
                    <a:pt x="28" y="1"/>
                  </a:cubicBezTo>
                  <a:cubicBezTo>
                    <a:pt x="35" y="3"/>
                    <a:pt x="40" y="8"/>
                    <a:pt x="45" y="13"/>
                  </a:cubicBezTo>
                  <a:cubicBezTo>
                    <a:pt x="56" y="26"/>
                    <a:pt x="36" y="21"/>
                    <a:pt x="31" y="1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96" name="Freeform 132">
              <a:extLst>
                <a:ext uri="{FF2B5EF4-FFF2-40B4-BE49-F238E27FC236}">
                  <a16:creationId xmlns:a16="http://schemas.microsoft.com/office/drawing/2014/main" id="{AD5E9F39-B752-1448-BB77-66169AFA2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2700" y="2381250"/>
              <a:ext cx="9525" cy="11113"/>
            </a:xfrm>
            <a:custGeom>
              <a:avLst/>
              <a:gdLst>
                <a:gd name="T0" fmla="*/ 24 w 27"/>
                <a:gd name="T1" fmla="*/ 10 h 31"/>
                <a:gd name="T2" fmla="*/ 11 w 27"/>
                <a:gd name="T3" fmla="*/ 0 h 31"/>
                <a:gd name="T4" fmla="*/ 8 w 27"/>
                <a:gd name="T5" fmla="*/ 0 h 31"/>
                <a:gd name="T6" fmla="*/ 6 w 27"/>
                <a:gd name="T7" fmla="*/ 4 h 31"/>
                <a:gd name="T8" fmla="*/ 13 w 27"/>
                <a:gd name="T9" fmla="*/ 27 h 31"/>
                <a:gd name="T10" fmla="*/ 24 w 27"/>
                <a:gd name="T11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1">
                  <a:moveTo>
                    <a:pt x="24" y="10"/>
                  </a:moveTo>
                  <a:cubicBezTo>
                    <a:pt x="23" y="5"/>
                    <a:pt x="18" y="0"/>
                    <a:pt x="11" y="0"/>
                  </a:cubicBezTo>
                  <a:cubicBezTo>
                    <a:pt x="11" y="0"/>
                    <a:pt x="10" y="0"/>
                    <a:pt x="8" y="0"/>
                  </a:cubicBezTo>
                  <a:cubicBezTo>
                    <a:pt x="8" y="2"/>
                    <a:pt x="6" y="2"/>
                    <a:pt x="6" y="4"/>
                  </a:cubicBezTo>
                  <a:cubicBezTo>
                    <a:pt x="1" y="12"/>
                    <a:pt x="0" y="24"/>
                    <a:pt x="13" y="27"/>
                  </a:cubicBezTo>
                  <a:cubicBezTo>
                    <a:pt x="21" y="30"/>
                    <a:pt x="26" y="19"/>
                    <a:pt x="24" y="10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97" name="Freeform 133">
              <a:extLst>
                <a:ext uri="{FF2B5EF4-FFF2-40B4-BE49-F238E27FC236}">
                  <a16:creationId xmlns:a16="http://schemas.microsoft.com/office/drawing/2014/main" id="{3E3A6067-92C1-CB48-8BB9-E17524F92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9063" y="2262188"/>
              <a:ext cx="23812" cy="31750"/>
            </a:xfrm>
            <a:custGeom>
              <a:avLst/>
              <a:gdLst>
                <a:gd name="T0" fmla="*/ 51 w 66"/>
                <a:gd name="T1" fmla="*/ 6 h 86"/>
                <a:gd name="T2" fmla="*/ 31 w 66"/>
                <a:gd name="T3" fmla="*/ 1 h 86"/>
                <a:gd name="T4" fmla="*/ 21 w 66"/>
                <a:gd name="T5" fmla="*/ 13 h 86"/>
                <a:gd name="T6" fmla="*/ 16 w 66"/>
                <a:gd name="T7" fmla="*/ 23 h 86"/>
                <a:gd name="T8" fmla="*/ 3 w 66"/>
                <a:gd name="T9" fmla="*/ 28 h 86"/>
                <a:gd name="T10" fmla="*/ 6 w 66"/>
                <a:gd name="T11" fmla="*/ 41 h 86"/>
                <a:gd name="T12" fmla="*/ 13 w 66"/>
                <a:gd name="T13" fmla="*/ 51 h 86"/>
                <a:gd name="T14" fmla="*/ 21 w 66"/>
                <a:gd name="T15" fmla="*/ 56 h 86"/>
                <a:gd name="T16" fmla="*/ 24 w 66"/>
                <a:gd name="T17" fmla="*/ 64 h 86"/>
                <a:gd name="T18" fmla="*/ 24 w 66"/>
                <a:gd name="T19" fmla="*/ 69 h 86"/>
                <a:gd name="T20" fmla="*/ 57 w 66"/>
                <a:gd name="T21" fmla="*/ 47 h 86"/>
                <a:gd name="T22" fmla="*/ 51 w 66"/>
                <a:gd name="T23" fmla="*/ 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86">
                  <a:moveTo>
                    <a:pt x="51" y="6"/>
                  </a:moveTo>
                  <a:cubicBezTo>
                    <a:pt x="46" y="3"/>
                    <a:pt x="37" y="0"/>
                    <a:pt x="31" y="1"/>
                  </a:cubicBezTo>
                  <a:cubicBezTo>
                    <a:pt x="26" y="3"/>
                    <a:pt x="23" y="8"/>
                    <a:pt x="21" y="13"/>
                  </a:cubicBezTo>
                  <a:cubicBezTo>
                    <a:pt x="19" y="16"/>
                    <a:pt x="19" y="19"/>
                    <a:pt x="16" y="23"/>
                  </a:cubicBezTo>
                  <a:cubicBezTo>
                    <a:pt x="13" y="24"/>
                    <a:pt x="6" y="24"/>
                    <a:pt x="3" y="28"/>
                  </a:cubicBezTo>
                  <a:cubicBezTo>
                    <a:pt x="0" y="31"/>
                    <a:pt x="3" y="38"/>
                    <a:pt x="6" y="41"/>
                  </a:cubicBezTo>
                  <a:cubicBezTo>
                    <a:pt x="8" y="44"/>
                    <a:pt x="11" y="47"/>
                    <a:pt x="13" y="51"/>
                  </a:cubicBezTo>
                  <a:cubicBezTo>
                    <a:pt x="16" y="52"/>
                    <a:pt x="19" y="54"/>
                    <a:pt x="21" y="56"/>
                  </a:cubicBezTo>
                  <a:cubicBezTo>
                    <a:pt x="23" y="57"/>
                    <a:pt x="24" y="61"/>
                    <a:pt x="24" y="64"/>
                  </a:cubicBezTo>
                  <a:cubicBezTo>
                    <a:pt x="24" y="66"/>
                    <a:pt x="24" y="67"/>
                    <a:pt x="24" y="69"/>
                  </a:cubicBezTo>
                  <a:cubicBezTo>
                    <a:pt x="28" y="85"/>
                    <a:pt x="56" y="51"/>
                    <a:pt x="57" y="47"/>
                  </a:cubicBezTo>
                  <a:cubicBezTo>
                    <a:pt x="65" y="36"/>
                    <a:pt x="64" y="14"/>
                    <a:pt x="51" y="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98" name="Freeform 134">
              <a:extLst>
                <a:ext uri="{FF2B5EF4-FFF2-40B4-BE49-F238E27FC236}">
                  <a16:creationId xmlns:a16="http://schemas.microsoft.com/office/drawing/2014/main" id="{B5876661-2610-C54C-9925-CFAFEE36AD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6200" y="2305050"/>
              <a:ext cx="28575" cy="28575"/>
            </a:xfrm>
            <a:custGeom>
              <a:avLst/>
              <a:gdLst>
                <a:gd name="T0" fmla="*/ 64 w 78"/>
                <a:gd name="T1" fmla="*/ 9 h 78"/>
                <a:gd name="T2" fmla="*/ 63 w 78"/>
                <a:gd name="T3" fmla="*/ 6 h 78"/>
                <a:gd name="T4" fmla="*/ 59 w 78"/>
                <a:gd name="T5" fmla="*/ 4 h 78"/>
                <a:gd name="T6" fmla="*/ 43 w 78"/>
                <a:gd name="T7" fmla="*/ 1 h 78"/>
                <a:gd name="T8" fmla="*/ 30 w 78"/>
                <a:gd name="T9" fmla="*/ 7 h 78"/>
                <a:gd name="T10" fmla="*/ 21 w 78"/>
                <a:gd name="T11" fmla="*/ 24 h 78"/>
                <a:gd name="T12" fmla="*/ 2 w 78"/>
                <a:gd name="T13" fmla="*/ 37 h 78"/>
                <a:gd name="T14" fmla="*/ 11 w 78"/>
                <a:gd name="T15" fmla="*/ 50 h 78"/>
                <a:gd name="T16" fmla="*/ 58 w 78"/>
                <a:gd name="T17" fmla="*/ 77 h 78"/>
                <a:gd name="T18" fmla="*/ 71 w 78"/>
                <a:gd name="T19" fmla="*/ 65 h 78"/>
                <a:gd name="T20" fmla="*/ 76 w 78"/>
                <a:gd name="T21" fmla="*/ 35 h 78"/>
                <a:gd name="T22" fmla="*/ 64 w 78"/>
                <a:gd name="T23" fmla="*/ 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78">
                  <a:moveTo>
                    <a:pt x="64" y="9"/>
                  </a:moveTo>
                  <a:cubicBezTo>
                    <a:pt x="63" y="7"/>
                    <a:pt x="63" y="6"/>
                    <a:pt x="63" y="6"/>
                  </a:cubicBezTo>
                  <a:cubicBezTo>
                    <a:pt x="61" y="4"/>
                    <a:pt x="61" y="4"/>
                    <a:pt x="59" y="4"/>
                  </a:cubicBezTo>
                  <a:cubicBezTo>
                    <a:pt x="54" y="1"/>
                    <a:pt x="49" y="0"/>
                    <a:pt x="43" y="1"/>
                  </a:cubicBezTo>
                  <a:cubicBezTo>
                    <a:pt x="37" y="2"/>
                    <a:pt x="31" y="3"/>
                    <a:pt x="30" y="7"/>
                  </a:cubicBezTo>
                  <a:cubicBezTo>
                    <a:pt x="25" y="12"/>
                    <a:pt x="25" y="21"/>
                    <a:pt x="21" y="24"/>
                  </a:cubicBezTo>
                  <a:cubicBezTo>
                    <a:pt x="15" y="31"/>
                    <a:pt x="3" y="29"/>
                    <a:pt x="2" y="37"/>
                  </a:cubicBezTo>
                  <a:cubicBezTo>
                    <a:pt x="0" y="42"/>
                    <a:pt x="7" y="47"/>
                    <a:pt x="11" y="50"/>
                  </a:cubicBezTo>
                  <a:cubicBezTo>
                    <a:pt x="25" y="60"/>
                    <a:pt x="39" y="77"/>
                    <a:pt x="58" y="77"/>
                  </a:cubicBezTo>
                  <a:cubicBezTo>
                    <a:pt x="67" y="77"/>
                    <a:pt x="69" y="73"/>
                    <a:pt x="71" y="65"/>
                  </a:cubicBezTo>
                  <a:cubicBezTo>
                    <a:pt x="72" y="55"/>
                    <a:pt x="77" y="45"/>
                    <a:pt x="76" y="35"/>
                  </a:cubicBezTo>
                  <a:cubicBezTo>
                    <a:pt x="74" y="27"/>
                    <a:pt x="67" y="17"/>
                    <a:pt x="64" y="9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99" name="Freeform 135">
              <a:extLst>
                <a:ext uri="{FF2B5EF4-FFF2-40B4-BE49-F238E27FC236}">
                  <a16:creationId xmlns:a16="http://schemas.microsoft.com/office/drawing/2014/main" id="{1FF9B132-14FF-9748-9B2D-9945B8FB0B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3488" y="2197100"/>
              <a:ext cx="26987" cy="38100"/>
            </a:xfrm>
            <a:custGeom>
              <a:avLst/>
              <a:gdLst>
                <a:gd name="T0" fmla="*/ 74 w 75"/>
                <a:gd name="T1" fmla="*/ 56 h 108"/>
                <a:gd name="T2" fmla="*/ 74 w 75"/>
                <a:gd name="T3" fmla="*/ 45 h 108"/>
                <a:gd name="T4" fmla="*/ 74 w 75"/>
                <a:gd name="T5" fmla="*/ 23 h 108"/>
                <a:gd name="T6" fmla="*/ 72 w 75"/>
                <a:gd name="T7" fmla="*/ 12 h 108"/>
                <a:gd name="T8" fmla="*/ 56 w 75"/>
                <a:gd name="T9" fmla="*/ 0 h 108"/>
                <a:gd name="T10" fmla="*/ 39 w 75"/>
                <a:gd name="T11" fmla="*/ 12 h 108"/>
                <a:gd name="T12" fmla="*/ 33 w 75"/>
                <a:gd name="T13" fmla="*/ 25 h 108"/>
                <a:gd name="T14" fmla="*/ 23 w 75"/>
                <a:gd name="T15" fmla="*/ 27 h 108"/>
                <a:gd name="T16" fmla="*/ 3 w 75"/>
                <a:gd name="T17" fmla="*/ 50 h 108"/>
                <a:gd name="T18" fmla="*/ 1 w 75"/>
                <a:gd name="T19" fmla="*/ 60 h 108"/>
                <a:gd name="T20" fmla="*/ 6 w 75"/>
                <a:gd name="T21" fmla="*/ 63 h 108"/>
                <a:gd name="T22" fmla="*/ 18 w 75"/>
                <a:gd name="T23" fmla="*/ 78 h 108"/>
                <a:gd name="T24" fmla="*/ 42 w 75"/>
                <a:gd name="T25" fmla="*/ 93 h 108"/>
                <a:gd name="T26" fmla="*/ 74 w 75"/>
                <a:gd name="T27" fmla="*/ 5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5" h="108">
                  <a:moveTo>
                    <a:pt x="74" y="56"/>
                  </a:moveTo>
                  <a:cubicBezTo>
                    <a:pt x="74" y="53"/>
                    <a:pt x="74" y="48"/>
                    <a:pt x="74" y="45"/>
                  </a:cubicBezTo>
                  <a:cubicBezTo>
                    <a:pt x="74" y="38"/>
                    <a:pt x="74" y="30"/>
                    <a:pt x="74" y="23"/>
                  </a:cubicBezTo>
                  <a:cubicBezTo>
                    <a:pt x="74" y="20"/>
                    <a:pt x="74" y="17"/>
                    <a:pt x="72" y="12"/>
                  </a:cubicBezTo>
                  <a:cubicBezTo>
                    <a:pt x="69" y="5"/>
                    <a:pt x="62" y="0"/>
                    <a:pt x="56" y="0"/>
                  </a:cubicBezTo>
                  <a:cubicBezTo>
                    <a:pt x="47" y="0"/>
                    <a:pt x="41" y="5"/>
                    <a:pt x="39" y="12"/>
                  </a:cubicBezTo>
                  <a:cubicBezTo>
                    <a:pt x="38" y="17"/>
                    <a:pt x="38" y="22"/>
                    <a:pt x="33" y="25"/>
                  </a:cubicBezTo>
                  <a:cubicBezTo>
                    <a:pt x="31" y="27"/>
                    <a:pt x="26" y="27"/>
                    <a:pt x="23" y="27"/>
                  </a:cubicBezTo>
                  <a:cubicBezTo>
                    <a:pt x="13" y="28"/>
                    <a:pt x="6" y="40"/>
                    <a:pt x="3" y="50"/>
                  </a:cubicBezTo>
                  <a:cubicBezTo>
                    <a:pt x="1" y="53"/>
                    <a:pt x="0" y="56"/>
                    <a:pt x="1" y="60"/>
                  </a:cubicBezTo>
                  <a:cubicBezTo>
                    <a:pt x="3" y="61"/>
                    <a:pt x="5" y="61"/>
                    <a:pt x="6" y="63"/>
                  </a:cubicBezTo>
                  <a:cubicBezTo>
                    <a:pt x="13" y="66"/>
                    <a:pt x="16" y="71"/>
                    <a:pt x="18" y="78"/>
                  </a:cubicBezTo>
                  <a:cubicBezTo>
                    <a:pt x="23" y="98"/>
                    <a:pt x="24" y="107"/>
                    <a:pt x="42" y="93"/>
                  </a:cubicBezTo>
                  <a:cubicBezTo>
                    <a:pt x="54" y="83"/>
                    <a:pt x="70" y="71"/>
                    <a:pt x="74" y="56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00" name="Freeform 136">
              <a:extLst>
                <a:ext uri="{FF2B5EF4-FFF2-40B4-BE49-F238E27FC236}">
                  <a16:creationId xmlns:a16="http://schemas.microsoft.com/office/drawing/2014/main" id="{4DA748C6-8A8A-544B-8F3F-F5D7EF580C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6350" y="2144713"/>
              <a:ext cx="28575" cy="26987"/>
            </a:xfrm>
            <a:custGeom>
              <a:avLst/>
              <a:gdLst>
                <a:gd name="T0" fmla="*/ 44 w 81"/>
                <a:gd name="T1" fmla="*/ 12 h 74"/>
                <a:gd name="T2" fmla="*/ 26 w 81"/>
                <a:gd name="T3" fmla="*/ 0 h 74"/>
                <a:gd name="T4" fmla="*/ 11 w 81"/>
                <a:gd name="T5" fmla="*/ 2 h 74"/>
                <a:gd name="T6" fmla="*/ 4 w 81"/>
                <a:gd name="T7" fmla="*/ 22 h 74"/>
                <a:gd name="T8" fmla="*/ 19 w 81"/>
                <a:gd name="T9" fmla="*/ 28 h 74"/>
                <a:gd name="T10" fmla="*/ 32 w 81"/>
                <a:gd name="T11" fmla="*/ 45 h 74"/>
                <a:gd name="T12" fmla="*/ 77 w 81"/>
                <a:gd name="T13" fmla="*/ 51 h 74"/>
                <a:gd name="T14" fmla="*/ 44 w 81"/>
                <a:gd name="T15" fmla="*/ 1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74">
                  <a:moveTo>
                    <a:pt x="44" y="12"/>
                  </a:moveTo>
                  <a:cubicBezTo>
                    <a:pt x="37" y="8"/>
                    <a:pt x="32" y="3"/>
                    <a:pt x="26" y="0"/>
                  </a:cubicBezTo>
                  <a:cubicBezTo>
                    <a:pt x="21" y="0"/>
                    <a:pt x="16" y="0"/>
                    <a:pt x="11" y="2"/>
                  </a:cubicBezTo>
                  <a:cubicBezTo>
                    <a:pt x="4" y="5"/>
                    <a:pt x="0" y="15"/>
                    <a:pt x="4" y="22"/>
                  </a:cubicBezTo>
                  <a:cubicBezTo>
                    <a:pt x="8" y="25"/>
                    <a:pt x="14" y="25"/>
                    <a:pt x="19" y="28"/>
                  </a:cubicBezTo>
                  <a:cubicBezTo>
                    <a:pt x="26" y="31"/>
                    <a:pt x="28" y="38"/>
                    <a:pt x="32" y="45"/>
                  </a:cubicBezTo>
                  <a:cubicBezTo>
                    <a:pt x="41" y="55"/>
                    <a:pt x="74" y="73"/>
                    <a:pt x="77" y="51"/>
                  </a:cubicBezTo>
                  <a:cubicBezTo>
                    <a:pt x="80" y="31"/>
                    <a:pt x="59" y="18"/>
                    <a:pt x="44" y="1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01" name="Freeform 137">
              <a:extLst>
                <a:ext uri="{FF2B5EF4-FFF2-40B4-BE49-F238E27FC236}">
                  <a16:creationId xmlns:a16="http://schemas.microsoft.com/office/drawing/2014/main" id="{BB33E37D-B253-BD42-ADDA-4209B3B76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1413" y="2278063"/>
              <a:ext cx="15875" cy="17462"/>
            </a:xfrm>
            <a:custGeom>
              <a:avLst/>
              <a:gdLst>
                <a:gd name="T0" fmla="*/ 41 w 45"/>
                <a:gd name="T1" fmla="*/ 22 h 48"/>
                <a:gd name="T2" fmla="*/ 38 w 45"/>
                <a:gd name="T3" fmla="*/ 9 h 48"/>
                <a:gd name="T4" fmla="*/ 23 w 45"/>
                <a:gd name="T5" fmla="*/ 0 h 48"/>
                <a:gd name="T6" fmla="*/ 13 w 45"/>
                <a:gd name="T7" fmla="*/ 5 h 48"/>
                <a:gd name="T8" fmla="*/ 3 w 45"/>
                <a:gd name="T9" fmla="*/ 15 h 48"/>
                <a:gd name="T10" fmla="*/ 8 w 45"/>
                <a:gd name="T11" fmla="*/ 32 h 48"/>
                <a:gd name="T12" fmla="*/ 26 w 45"/>
                <a:gd name="T13" fmla="*/ 42 h 48"/>
                <a:gd name="T14" fmla="*/ 41 w 45"/>
                <a:gd name="T15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48">
                  <a:moveTo>
                    <a:pt x="41" y="22"/>
                  </a:moveTo>
                  <a:cubicBezTo>
                    <a:pt x="41" y="17"/>
                    <a:pt x="41" y="14"/>
                    <a:pt x="38" y="9"/>
                  </a:cubicBezTo>
                  <a:cubicBezTo>
                    <a:pt x="35" y="5"/>
                    <a:pt x="30" y="0"/>
                    <a:pt x="23" y="0"/>
                  </a:cubicBezTo>
                  <a:cubicBezTo>
                    <a:pt x="20" y="2"/>
                    <a:pt x="16" y="4"/>
                    <a:pt x="13" y="5"/>
                  </a:cubicBezTo>
                  <a:cubicBezTo>
                    <a:pt x="10" y="9"/>
                    <a:pt x="5" y="12"/>
                    <a:pt x="3" y="15"/>
                  </a:cubicBezTo>
                  <a:cubicBezTo>
                    <a:pt x="0" y="22"/>
                    <a:pt x="2" y="28"/>
                    <a:pt x="8" y="32"/>
                  </a:cubicBezTo>
                  <a:cubicBezTo>
                    <a:pt x="15" y="35"/>
                    <a:pt x="18" y="47"/>
                    <a:pt x="26" y="42"/>
                  </a:cubicBezTo>
                  <a:cubicBezTo>
                    <a:pt x="33" y="37"/>
                    <a:pt x="44" y="30"/>
                    <a:pt x="41" y="22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02" name="Freeform 138">
              <a:extLst>
                <a:ext uri="{FF2B5EF4-FFF2-40B4-BE49-F238E27FC236}">
                  <a16:creationId xmlns:a16="http://schemas.microsoft.com/office/drawing/2014/main" id="{1221F7AB-FA0F-8C43-BD54-345FA1CAA5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6225" y="2443163"/>
              <a:ext cx="55563" cy="101600"/>
            </a:xfrm>
            <a:custGeom>
              <a:avLst/>
              <a:gdLst>
                <a:gd name="T0" fmla="*/ 144 w 156"/>
                <a:gd name="T1" fmla="*/ 247 h 282"/>
                <a:gd name="T2" fmla="*/ 94 w 156"/>
                <a:gd name="T3" fmla="*/ 277 h 282"/>
                <a:gd name="T4" fmla="*/ 66 w 156"/>
                <a:gd name="T5" fmla="*/ 265 h 282"/>
                <a:gd name="T6" fmla="*/ 45 w 156"/>
                <a:gd name="T7" fmla="*/ 244 h 282"/>
                <a:gd name="T8" fmla="*/ 46 w 156"/>
                <a:gd name="T9" fmla="*/ 197 h 282"/>
                <a:gd name="T10" fmla="*/ 9 w 156"/>
                <a:gd name="T11" fmla="*/ 155 h 282"/>
                <a:gd name="T12" fmla="*/ 2 w 156"/>
                <a:gd name="T13" fmla="*/ 104 h 282"/>
                <a:gd name="T14" fmla="*/ 7 w 156"/>
                <a:gd name="T15" fmla="*/ 54 h 282"/>
                <a:gd name="T16" fmla="*/ 9 w 156"/>
                <a:gd name="T17" fmla="*/ 44 h 282"/>
                <a:gd name="T18" fmla="*/ 33 w 156"/>
                <a:gd name="T19" fmla="*/ 36 h 282"/>
                <a:gd name="T20" fmla="*/ 65 w 156"/>
                <a:gd name="T21" fmla="*/ 13 h 282"/>
                <a:gd name="T22" fmla="*/ 99 w 156"/>
                <a:gd name="T23" fmla="*/ 5 h 282"/>
                <a:gd name="T24" fmla="*/ 114 w 156"/>
                <a:gd name="T25" fmla="*/ 39 h 282"/>
                <a:gd name="T26" fmla="*/ 117 w 156"/>
                <a:gd name="T27" fmla="*/ 90 h 282"/>
                <a:gd name="T28" fmla="*/ 119 w 156"/>
                <a:gd name="T29" fmla="*/ 105 h 282"/>
                <a:gd name="T30" fmla="*/ 140 w 156"/>
                <a:gd name="T31" fmla="*/ 132 h 282"/>
                <a:gd name="T32" fmla="*/ 147 w 156"/>
                <a:gd name="T33" fmla="*/ 188 h 282"/>
                <a:gd name="T34" fmla="*/ 155 w 156"/>
                <a:gd name="T35" fmla="*/ 202 h 282"/>
                <a:gd name="T36" fmla="*/ 149 w 156"/>
                <a:gd name="T37" fmla="*/ 216 h 282"/>
                <a:gd name="T38" fmla="*/ 144 w 156"/>
                <a:gd name="T39" fmla="*/ 24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6" h="282">
                  <a:moveTo>
                    <a:pt x="144" y="247"/>
                  </a:moveTo>
                  <a:cubicBezTo>
                    <a:pt x="137" y="268"/>
                    <a:pt x="116" y="281"/>
                    <a:pt x="94" y="277"/>
                  </a:cubicBezTo>
                  <a:cubicBezTo>
                    <a:pt x="84" y="275"/>
                    <a:pt x="76" y="270"/>
                    <a:pt x="66" y="265"/>
                  </a:cubicBezTo>
                  <a:cubicBezTo>
                    <a:pt x="58" y="258"/>
                    <a:pt x="50" y="253"/>
                    <a:pt x="45" y="244"/>
                  </a:cubicBezTo>
                  <a:cubicBezTo>
                    <a:pt x="40" y="229"/>
                    <a:pt x="50" y="212"/>
                    <a:pt x="46" y="197"/>
                  </a:cubicBezTo>
                  <a:cubicBezTo>
                    <a:pt x="42" y="179"/>
                    <a:pt x="20" y="171"/>
                    <a:pt x="9" y="155"/>
                  </a:cubicBezTo>
                  <a:cubicBezTo>
                    <a:pt x="0" y="140"/>
                    <a:pt x="0" y="122"/>
                    <a:pt x="2" y="104"/>
                  </a:cubicBezTo>
                  <a:cubicBezTo>
                    <a:pt x="4" y="87"/>
                    <a:pt x="5" y="71"/>
                    <a:pt x="7" y="54"/>
                  </a:cubicBezTo>
                  <a:cubicBezTo>
                    <a:pt x="7" y="51"/>
                    <a:pt x="7" y="48"/>
                    <a:pt x="9" y="44"/>
                  </a:cubicBezTo>
                  <a:cubicBezTo>
                    <a:pt x="14" y="36"/>
                    <a:pt x="23" y="38"/>
                    <a:pt x="33" y="36"/>
                  </a:cubicBezTo>
                  <a:cubicBezTo>
                    <a:pt x="45" y="33"/>
                    <a:pt x="55" y="21"/>
                    <a:pt x="65" y="13"/>
                  </a:cubicBezTo>
                  <a:cubicBezTo>
                    <a:pt x="74" y="6"/>
                    <a:pt x="88" y="0"/>
                    <a:pt x="99" y="5"/>
                  </a:cubicBezTo>
                  <a:cubicBezTo>
                    <a:pt x="111" y="11"/>
                    <a:pt x="112" y="26"/>
                    <a:pt x="114" y="39"/>
                  </a:cubicBezTo>
                  <a:cubicBezTo>
                    <a:pt x="114" y="57"/>
                    <a:pt x="116" y="74"/>
                    <a:pt x="117" y="90"/>
                  </a:cubicBezTo>
                  <a:cubicBezTo>
                    <a:pt x="117" y="95"/>
                    <a:pt x="117" y="102"/>
                    <a:pt x="119" y="105"/>
                  </a:cubicBezTo>
                  <a:cubicBezTo>
                    <a:pt x="124" y="117"/>
                    <a:pt x="135" y="122"/>
                    <a:pt x="140" y="132"/>
                  </a:cubicBezTo>
                  <a:cubicBezTo>
                    <a:pt x="150" y="148"/>
                    <a:pt x="139" y="169"/>
                    <a:pt x="147" y="188"/>
                  </a:cubicBezTo>
                  <a:cubicBezTo>
                    <a:pt x="149" y="191"/>
                    <a:pt x="155" y="197"/>
                    <a:pt x="155" y="202"/>
                  </a:cubicBezTo>
                  <a:cubicBezTo>
                    <a:pt x="155" y="206"/>
                    <a:pt x="150" y="212"/>
                    <a:pt x="149" y="216"/>
                  </a:cubicBezTo>
                  <a:cubicBezTo>
                    <a:pt x="147" y="225"/>
                    <a:pt x="147" y="237"/>
                    <a:pt x="144" y="24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03" name="Freeform 139">
              <a:extLst>
                <a:ext uri="{FF2B5EF4-FFF2-40B4-BE49-F238E27FC236}">
                  <a16:creationId xmlns:a16="http://schemas.microsoft.com/office/drawing/2014/main" id="{037F9581-1BF3-8A41-9750-052CD64610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463" y="2066925"/>
              <a:ext cx="261937" cy="327025"/>
            </a:xfrm>
            <a:custGeom>
              <a:avLst/>
              <a:gdLst>
                <a:gd name="T0" fmla="*/ 717 w 728"/>
                <a:gd name="T1" fmla="*/ 158 h 909"/>
                <a:gd name="T2" fmla="*/ 672 w 728"/>
                <a:gd name="T3" fmla="*/ 196 h 909"/>
                <a:gd name="T4" fmla="*/ 651 w 728"/>
                <a:gd name="T5" fmla="*/ 222 h 909"/>
                <a:gd name="T6" fmla="*/ 631 w 728"/>
                <a:gd name="T7" fmla="*/ 257 h 909"/>
                <a:gd name="T8" fmla="*/ 580 w 728"/>
                <a:gd name="T9" fmla="*/ 237 h 909"/>
                <a:gd name="T10" fmla="*/ 565 w 728"/>
                <a:gd name="T11" fmla="*/ 285 h 909"/>
                <a:gd name="T12" fmla="*/ 498 w 728"/>
                <a:gd name="T13" fmla="*/ 326 h 909"/>
                <a:gd name="T14" fmla="*/ 452 w 728"/>
                <a:gd name="T15" fmla="*/ 405 h 909"/>
                <a:gd name="T16" fmla="*/ 407 w 728"/>
                <a:gd name="T17" fmla="*/ 466 h 909"/>
                <a:gd name="T18" fmla="*/ 386 w 728"/>
                <a:gd name="T19" fmla="*/ 557 h 909"/>
                <a:gd name="T20" fmla="*/ 353 w 728"/>
                <a:gd name="T21" fmla="*/ 654 h 909"/>
                <a:gd name="T22" fmla="*/ 363 w 728"/>
                <a:gd name="T23" fmla="*/ 751 h 909"/>
                <a:gd name="T24" fmla="*/ 368 w 728"/>
                <a:gd name="T25" fmla="*/ 796 h 909"/>
                <a:gd name="T26" fmla="*/ 364 w 728"/>
                <a:gd name="T27" fmla="*/ 842 h 909"/>
                <a:gd name="T28" fmla="*/ 376 w 728"/>
                <a:gd name="T29" fmla="*/ 893 h 909"/>
                <a:gd name="T30" fmla="*/ 320 w 728"/>
                <a:gd name="T31" fmla="*/ 898 h 909"/>
                <a:gd name="T32" fmla="*/ 305 w 728"/>
                <a:gd name="T33" fmla="*/ 876 h 909"/>
                <a:gd name="T34" fmla="*/ 269 w 728"/>
                <a:gd name="T35" fmla="*/ 863 h 909"/>
                <a:gd name="T36" fmla="*/ 269 w 728"/>
                <a:gd name="T37" fmla="*/ 820 h 909"/>
                <a:gd name="T38" fmla="*/ 242 w 728"/>
                <a:gd name="T39" fmla="*/ 829 h 909"/>
                <a:gd name="T40" fmla="*/ 214 w 728"/>
                <a:gd name="T41" fmla="*/ 799 h 909"/>
                <a:gd name="T42" fmla="*/ 200 w 728"/>
                <a:gd name="T43" fmla="*/ 773 h 909"/>
                <a:gd name="T44" fmla="*/ 181 w 728"/>
                <a:gd name="T45" fmla="*/ 783 h 909"/>
                <a:gd name="T46" fmla="*/ 134 w 728"/>
                <a:gd name="T47" fmla="*/ 735 h 909"/>
                <a:gd name="T48" fmla="*/ 91 w 728"/>
                <a:gd name="T49" fmla="*/ 679 h 909"/>
                <a:gd name="T50" fmla="*/ 63 w 728"/>
                <a:gd name="T51" fmla="*/ 624 h 909"/>
                <a:gd name="T52" fmla="*/ 96 w 728"/>
                <a:gd name="T53" fmla="*/ 591 h 909"/>
                <a:gd name="T54" fmla="*/ 106 w 728"/>
                <a:gd name="T55" fmla="*/ 573 h 909"/>
                <a:gd name="T56" fmla="*/ 117 w 728"/>
                <a:gd name="T57" fmla="*/ 583 h 909"/>
                <a:gd name="T58" fmla="*/ 142 w 728"/>
                <a:gd name="T59" fmla="*/ 577 h 909"/>
                <a:gd name="T60" fmla="*/ 157 w 728"/>
                <a:gd name="T61" fmla="*/ 542 h 909"/>
                <a:gd name="T62" fmla="*/ 140 w 728"/>
                <a:gd name="T63" fmla="*/ 527 h 909"/>
                <a:gd name="T64" fmla="*/ 163 w 728"/>
                <a:gd name="T65" fmla="*/ 507 h 909"/>
                <a:gd name="T66" fmla="*/ 153 w 728"/>
                <a:gd name="T67" fmla="*/ 471 h 909"/>
                <a:gd name="T68" fmla="*/ 165 w 728"/>
                <a:gd name="T69" fmla="*/ 445 h 909"/>
                <a:gd name="T70" fmla="*/ 139 w 728"/>
                <a:gd name="T71" fmla="*/ 437 h 909"/>
                <a:gd name="T72" fmla="*/ 111 w 728"/>
                <a:gd name="T73" fmla="*/ 389 h 909"/>
                <a:gd name="T74" fmla="*/ 45 w 728"/>
                <a:gd name="T75" fmla="*/ 366 h 909"/>
                <a:gd name="T76" fmla="*/ 93 w 728"/>
                <a:gd name="T77" fmla="*/ 221 h 909"/>
                <a:gd name="T78" fmla="*/ 157 w 728"/>
                <a:gd name="T79" fmla="*/ 186 h 909"/>
                <a:gd name="T80" fmla="*/ 203 w 728"/>
                <a:gd name="T81" fmla="*/ 222 h 909"/>
                <a:gd name="T82" fmla="*/ 228 w 728"/>
                <a:gd name="T83" fmla="*/ 194 h 909"/>
                <a:gd name="T84" fmla="*/ 272 w 728"/>
                <a:gd name="T85" fmla="*/ 180 h 909"/>
                <a:gd name="T86" fmla="*/ 351 w 728"/>
                <a:gd name="T87" fmla="*/ 122 h 909"/>
                <a:gd name="T88" fmla="*/ 335 w 728"/>
                <a:gd name="T89" fmla="*/ 82 h 909"/>
                <a:gd name="T90" fmla="*/ 366 w 728"/>
                <a:gd name="T91" fmla="*/ 54 h 909"/>
                <a:gd name="T92" fmla="*/ 432 w 728"/>
                <a:gd name="T93" fmla="*/ 59 h 909"/>
                <a:gd name="T94" fmla="*/ 496 w 728"/>
                <a:gd name="T95" fmla="*/ 2 h 909"/>
                <a:gd name="T96" fmla="*/ 592 w 728"/>
                <a:gd name="T97" fmla="*/ 33 h 909"/>
                <a:gd name="T98" fmla="*/ 638 w 728"/>
                <a:gd name="T99" fmla="*/ 40 h 909"/>
                <a:gd name="T100" fmla="*/ 663 w 728"/>
                <a:gd name="T101" fmla="*/ 72 h 909"/>
                <a:gd name="T102" fmla="*/ 717 w 728"/>
                <a:gd name="T103" fmla="*/ 158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8" h="909">
                  <a:moveTo>
                    <a:pt x="717" y="158"/>
                  </a:moveTo>
                  <a:cubicBezTo>
                    <a:pt x="727" y="180"/>
                    <a:pt x="689" y="184"/>
                    <a:pt x="672" y="196"/>
                  </a:cubicBezTo>
                  <a:cubicBezTo>
                    <a:pt x="659" y="204"/>
                    <a:pt x="656" y="208"/>
                    <a:pt x="651" y="222"/>
                  </a:cubicBezTo>
                  <a:cubicBezTo>
                    <a:pt x="644" y="237"/>
                    <a:pt x="651" y="250"/>
                    <a:pt x="631" y="257"/>
                  </a:cubicBezTo>
                  <a:cubicBezTo>
                    <a:pt x="610" y="262"/>
                    <a:pt x="592" y="217"/>
                    <a:pt x="580" y="237"/>
                  </a:cubicBezTo>
                  <a:cubicBezTo>
                    <a:pt x="565" y="260"/>
                    <a:pt x="608" y="275"/>
                    <a:pt x="565" y="285"/>
                  </a:cubicBezTo>
                  <a:cubicBezTo>
                    <a:pt x="536" y="292"/>
                    <a:pt x="516" y="298"/>
                    <a:pt x="498" y="326"/>
                  </a:cubicBezTo>
                  <a:cubicBezTo>
                    <a:pt x="480" y="354"/>
                    <a:pt x="478" y="382"/>
                    <a:pt x="452" y="405"/>
                  </a:cubicBezTo>
                  <a:cubicBezTo>
                    <a:pt x="429" y="428"/>
                    <a:pt x="412" y="433"/>
                    <a:pt x="407" y="466"/>
                  </a:cubicBezTo>
                  <a:cubicBezTo>
                    <a:pt x="402" y="499"/>
                    <a:pt x="392" y="526"/>
                    <a:pt x="386" y="557"/>
                  </a:cubicBezTo>
                  <a:cubicBezTo>
                    <a:pt x="379" y="591"/>
                    <a:pt x="361" y="619"/>
                    <a:pt x="353" y="654"/>
                  </a:cubicBezTo>
                  <a:cubicBezTo>
                    <a:pt x="346" y="687"/>
                    <a:pt x="356" y="718"/>
                    <a:pt x="363" y="751"/>
                  </a:cubicBezTo>
                  <a:cubicBezTo>
                    <a:pt x="366" y="766"/>
                    <a:pt x="369" y="781"/>
                    <a:pt x="368" y="796"/>
                  </a:cubicBezTo>
                  <a:cubicBezTo>
                    <a:pt x="368" y="809"/>
                    <a:pt x="361" y="827"/>
                    <a:pt x="364" y="842"/>
                  </a:cubicBezTo>
                  <a:cubicBezTo>
                    <a:pt x="369" y="863"/>
                    <a:pt x="396" y="870"/>
                    <a:pt x="376" y="893"/>
                  </a:cubicBezTo>
                  <a:cubicBezTo>
                    <a:pt x="366" y="904"/>
                    <a:pt x="333" y="908"/>
                    <a:pt x="320" y="898"/>
                  </a:cubicBezTo>
                  <a:cubicBezTo>
                    <a:pt x="312" y="893"/>
                    <a:pt x="312" y="881"/>
                    <a:pt x="305" y="876"/>
                  </a:cubicBezTo>
                  <a:cubicBezTo>
                    <a:pt x="295" y="870"/>
                    <a:pt x="275" y="873"/>
                    <a:pt x="269" y="863"/>
                  </a:cubicBezTo>
                  <a:cubicBezTo>
                    <a:pt x="256" y="847"/>
                    <a:pt x="292" y="832"/>
                    <a:pt x="269" y="820"/>
                  </a:cubicBezTo>
                  <a:cubicBezTo>
                    <a:pt x="261" y="817"/>
                    <a:pt x="251" y="829"/>
                    <a:pt x="242" y="829"/>
                  </a:cubicBezTo>
                  <a:cubicBezTo>
                    <a:pt x="223" y="829"/>
                    <a:pt x="221" y="814"/>
                    <a:pt x="214" y="799"/>
                  </a:cubicBezTo>
                  <a:cubicBezTo>
                    <a:pt x="211" y="791"/>
                    <a:pt x="209" y="776"/>
                    <a:pt x="200" y="773"/>
                  </a:cubicBezTo>
                  <a:cubicBezTo>
                    <a:pt x="186" y="771"/>
                    <a:pt x="190" y="781"/>
                    <a:pt x="181" y="783"/>
                  </a:cubicBezTo>
                  <a:cubicBezTo>
                    <a:pt x="153" y="794"/>
                    <a:pt x="144" y="763"/>
                    <a:pt x="134" y="735"/>
                  </a:cubicBezTo>
                  <a:cubicBezTo>
                    <a:pt x="124" y="710"/>
                    <a:pt x="106" y="702"/>
                    <a:pt x="91" y="679"/>
                  </a:cubicBezTo>
                  <a:cubicBezTo>
                    <a:pt x="83" y="666"/>
                    <a:pt x="56" y="641"/>
                    <a:pt x="63" y="624"/>
                  </a:cubicBezTo>
                  <a:cubicBezTo>
                    <a:pt x="66" y="614"/>
                    <a:pt x="89" y="600"/>
                    <a:pt x="96" y="591"/>
                  </a:cubicBezTo>
                  <a:cubicBezTo>
                    <a:pt x="99" y="588"/>
                    <a:pt x="99" y="575"/>
                    <a:pt x="106" y="573"/>
                  </a:cubicBezTo>
                  <a:cubicBezTo>
                    <a:pt x="114" y="572"/>
                    <a:pt x="112" y="583"/>
                    <a:pt x="117" y="583"/>
                  </a:cubicBezTo>
                  <a:cubicBezTo>
                    <a:pt x="130" y="585"/>
                    <a:pt x="129" y="583"/>
                    <a:pt x="142" y="577"/>
                  </a:cubicBezTo>
                  <a:cubicBezTo>
                    <a:pt x="162" y="567"/>
                    <a:pt x="170" y="560"/>
                    <a:pt x="157" y="542"/>
                  </a:cubicBezTo>
                  <a:cubicBezTo>
                    <a:pt x="153" y="535"/>
                    <a:pt x="142" y="537"/>
                    <a:pt x="140" y="527"/>
                  </a:cubicBezTo>
                  <a:cubicBezTo>
                    <a:pt x="135" y="509"/>
                    <a:pt x="153" y="516"/>
                    <a:pt x="163" y="507"/>
                  </a:cubicBezTo>
                  <a:cubicBezTo>
                    <a:pt x="188" y="486"/>
                    <a:pt x="157" y="491"/>
                    <a:pt x="153" y="471"/>
                  </a:cubicBezTo>
                  <a:cubicBezTo>
                    <a:pt x="152" y="458"/>
                    <a:pt x="168" y="456"/>
                    <a:pt x="165" y="445"/>
                  </a:cubicBezTo>
                  <a:cubicBezTo>
                    <a:pt x="162" y="430"/>
                    <a:pt x="147" y="440"/>
                    <a:pt x="139" y="437"/>
                  </a:cubicBezTo>
                  <a:cubicBezTo>
                    <a:pt x="112" y="425"/>
                    <a:pt x="125" y="407"/>
                    <a:pt x="111" y="389"/>
                  </a:cubicBezTo>
                  <a:cubicBezTo>
                    <a:pt x="94" y="369"/>
                    <a:pt x="63" y="381"/>
                    <a:pt x="45" y="366"/>
                  </a:cubicBezTo>
                  <a:cubicBezTo>
                    <a:pt x="0" y="323"/>
                    <a:pt x="60" y="249"/>
                    <a:pt x="93" y="221"/>
                  </a:cubicBezTo>
                  <a:cubicBezTo>
                    <a:pt x="106" y="209"/>
                    <a:pt x="137" y="178"/>
                    <a:pt x="157" y="186"/>
                  </a:cubicBezTo>
                  <a:cubicBezTo>
                    <a:pt x="178" y="196"/>
                    <a:pt x="167" y="239"/>
                    <a:pt x="203" y="222"/>
                  </a:cubicBezTo>
                  <a:cubicBezTo>
                    <a:pt x="214" y="217"/>
                    <a:pt x="218" y="201"/>
                    <a:pt x="228" y="194"/>
                  </a:cubicBezTo>
                  <a:cubicBezTo>
                    <a:pt x="239" y="186"/>
                    <a:pt x="257" y="184"/>
                    <a:pt x="272" y="180"/>
                  </a:cubicBezTo>
                  <a:cubicBezTo>
                    <a:pt x="295" y="170"/>
                    <a:pt x="354" y="148"/>
                    <a:pt x="351" y="122"/>
                  </a:cubicBezTo>
                  <a:cubicBezTo>
                    <a:pt x="348" y="107"/>
                    <a:pt x="331" y="100"/>
                    <a:pt x="335" y="82"/>
                  </a:cubicBezTo>
                  <a:cubicBezTo>
                    <a:pt x="336" y="68"/>
                    <a:pt x="353" y="58"/>
                    <a:pt x="366" y="54"/>
                  </a:cubicBezTo>
                  <a:cubicBezTo>
                    <a:pt x="394" y="48"/>
                    <a:pt x="409" y="82"/>
                    <a:pt x="432" y="59"/>
                  </a:cubicBezTo>
                  <a:cubicBezTo>
                    <a:pt x="458" y="33"/>
                    <a:pt x="448" y="5"/>
                    <a:pt x="496" y="2"/>
                  </a:cubicBezTo>
                  <a:cubicBezTo>
                    <a:pt x="532" y="0"/>
                    <a:pt x="559" y="23"/>
                    <a:pt x="592" y="33"/>
                  </a:cubicBezTo>
                  <a:cubicBezTo>
                    <a:pt x="607" y="38"/>
                    <a:pt x="625" y="31"/>
                    <a:pt x="638" y="40"/>
                  </a:cubicBezTo>
                  <a:cubicBezTo>
                    <a:pt x="649" y="44"/>
                    <a:pt x="656" y="61"/>
                    <a:pt x="663" y="72"/>
                  </a:cubicBezTo>
                  <a:cubicBezTo>
                    <a:pt x="676" y="102"/>
                    <a:pt x="704" y="127"/>
                    <a:pt x="717" y="15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04" name="Freeform 140">
              <a:extLst>
                <a:ext uri="{FF2B5EF4-FFF2-40B4-BE49-F238E27FC236}">
                  <a16:creationId xmlns:a16="http://schemas.microsoft.com/office/drawing/2014/main" id="{D01C6474-E257-2747-9AFF-A3B789F5D3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7188" y="1892300"/>
              <a:ext cx="592137" cy="238125"/>
            </a:xfrm>
            <a:custGeom>
              <a:avLst/>
              <a:gdLst>
                <a:gd name="T0" fmla="*/ 1603 w 1644"/>
                <a:gd name="T1" fmla="*/ 193 h 662"/>
                <a:gd name="T2" fmla="*/ 1448 w 1644"/>
                <a:gd name="T3" fmla="*/ 267 h 662"/>
                <a:gd name="T4" fmla="*/ 1252 w 1644"/>
                <a:gd name="T5" fmla="*/ 287 h 662"/>
                <a:gd name="T6" fmla="*/ 1107 w 1644"/>
                <a:gd name="T7" fmla="*/ 297 h 662"/>
                <a:gd name="T8" fmla="*/ 975 w 1644"/>
                <a:gd name="T9" fmla="*/ 298 h 662"/>
                <a:gd name="T10" fmla="*/ 837 w 1644"/>
                <a:gd name="T11" fmla="*/ 316 h 662"/>
                <a:gd name="T12" fmla="*/ 745 w 1644"/>
                <a:gd name="T13" fmla="*/ 333 h 662"/>
                <a:gd name="T14" fmla="*/ 748 w 1644"/>
                <a:gd name="T15" fmla="*/ 351 h 662"/>
                <a:gd name="T16" fmla="*/ 672 w 1644"/>
                <a:gd name="T17" fmla="*/ 385 h 662"/>
                <a:gd name="T18" fmla="*/ 624 w 1644"/>
                <a:gd name="T19" fmla="*/ 387 h 662"/>
                <a:gd name="T20" fmla="*/ 531 w 1644"/>
                <a:gd name="T21" fmla="*/ 376 h 662"/>
                <a:gd name="T22" fmla="*/ 466 w 1644"/>
                <a:gd name="T23" fmla="*/ 488 h 662"/>
                <a:gd name="T24" fmla="*/ 397 w 1644"/>
                <a:gd name="T25" fmla="*/ 512 h 662"/>
                <a:gd name="T26" fmla="*/ 364 w 1644"/>
                <a:gd name="T27" fmla="*/ 476 h 662"/>
                <a:gd name="T28" fmla="*/ 320 w 1644"/>
                <a:gd name="T29" fmla="*/ 519 h 662"/>
                <a:gd name="T30" fmla="*/ 310 w 1644"/>
                <a:gd name="T31" fmla="*/ 568 h 662"/>
                <a:gd name="T32" fmla="*/ 262 w 1644"/>
                <a:gd name="T33" fmla="*/ 583 h 662"/>
                <a:gd name="T34" fmla="*/ 241 w 1644"/>
                <a:gd name="T35" fmla="*/ 619 h 662"/>
                <a:gd name="T36" fmla="*/ 129 w 1644"/>
                <a:gd name="T37" fmla="*/ 598 h 662"/>
                <a:gd name="T38" fmla="*/ 74 w 1644"/>
                <a:gd name="T39" fmla="*/ 527 h 662"/>
                <a:gd name="T40" fmla="*/ 104 w 1644"/>
                <a:gd name="T41" fmla="*/ 443 h 662"/>
                <a:gd name="T42" fmla="*/ 87 w 1644"/>
                <a:gd name="T43" fmla="*/ 430 h 662"/>
                <a:gd name="T44" fmla="*/ 46 w 1644"/>
                <a:gd name="T45" fmla="*/ 354 h 662"/>
                <a:gd name="T46" fmla="*/ 161 w 1644"/>
                <a:gd name="T47" fmla="*/ 334 h 662"/>
                <a:gd name="T48" fmla="*/ 249 w 1644"/>
                <a:gd name="T49" fmla="*/ 320 h 662"/>
                <a:gd name="T50" fmla="*/ 316 w 1644"/>
                <a:gd name="T51" fmla="*/ 292 h 662"/>
                <a:gd name="T52" fmla="*/ 386 w 1644"/>
                <a:gd name="T53" fmla="*/ 236 h 662"/>
                <a:gd name="T54" fmla="*/ 407 w 1644"/>
                <a:gd name="T55" fmla="*/ 214 h 662"/>
                <a:gd name="T56" fmla="*/ 427 w 1644"/>
                <a:gd name="T57" fmla="*/ 125 h 662"/>
                <a:gd name="T58" fmla="*/ 512 w 1644"/>
                <a:gd name="T59" fmla="*/ 127 h 662"/>
                <a:gd name="T60" fmla="*/ 583 w 1644"/>
                <a:gd name="T61" fmla="*/ 105 h 662"/>
                <a:gd name="T62" fmla="*/ 656 w 1644"/>
                <a:gd name="T63" fmla="*/ 76 h 662"/>
                <a:gd name="T64" fmla="*/ 753 w 1644"/>
                <a:gd name="T65" fmla="*/ 46 h 662"/>
                <a:gd name="T66" fmla="*/ 975 w 1644"/>
                <a:gd name="T67" fmla="*/ 36 h 662"/>
                <a:gd name="T68" fmla="*/ 1071 w 1644"/>
                <a:gd name="T69" fmla="*/ 30 h 662"/>
                <a:gd name="T70" fmla="*/ 1194 w 1644"/>
                <a:gd name="T71" fmla="*/ 82 h 662"/>
                <a:gd name="T72" fmla="*/ 1303 w 1644"/>
                <a:gd name="T73" fmla="*/ 89 h 662"/>
                <a:gd name="T74" fmla="*/ 1544 w 1644"/>
                <a:gd name="T75" fmla="*/ 1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44" h="662">
                  <a:moveTo>
                    <a:pt x="1623" y="128"/>
                  </a:moveTo>
                  <a:cubicBezTo>
                    <a:pt x="1616" y="147"/>
                    <a:pt x="1611" y="178"/>
                    <a:pt x="1603" y="193"/>
                  </a:cubicBezTo>
                  <a:cubicBezTo>
                    <a:pt x="1593" y="208"/>
                    <a:pt x="1570" y="216"/>
                    <a:pt x="1555" y="226"/>
                  </a:cubicBezTo>
                  <a:cubicBezTo>
                    <a:pt x="1519" y="250"/>
                    <a:pt x="1491" y="264"/>
                    <a:pt x="1448" y="267"/>
                  </a:cubicBezTo>
                  <a:cubicBezTo>
                    <a:pt x="1407" y="270"/>
                    <a:pt x="1366" y="293"/>
                    <a:pt x="1325" y="293"/>
                  </a:cubicBezTo>
                  <a:cubicBezTo>
                    <a:pt x="1300" y="293"/>
                    <a:pt x="1277" y="283"/>
                    <a:pt x="1252" y="287"/>
                  </a:cubicBezTo>
                  <a:cubicBezTo>
                    <a:pt x="1222" y="290"/>
                    <a:pt x="1198" y="293"/>
                    <a:pt x="1168" y="293"/>
                  </a:cubicBezTo>
                  <a:cubicBezTo>
                    <a:pt x="1148" y="295"/>
                    <a:pt x="1127" y="298"/>
                    <a:pt x="1107" y="297"/>
                  </a:cubicBezTo>
                  <a:cubicBezTo>
                    <a:pt x="1082" y="295"/>
                    <a:pt x="1059" y="285"/>
                    <a:pt x="1035" y="285"/>
                  </a:cubicBezTo>
                  <a:cubicBezTo>
                    <a:pt x="1013" y="285"/>
                    <a:pt x="995" y="297"/>
                    <a:pt x="975" y="298"/>
                  </a:cubicBezTo>
                  <a:cubicBezTo>
                    <a:pt x="952" y="300"/>
                    <a:pt x="931" y="290"/>
                    <a:pt x="908" y="293"/>
                  </a:cubicBezTo>
                  <a:cubicBezTo>
                    <a:pt x="881" y="297"/>
                    <a:pt x="862" y="310"/>
                    <a:pt x="837" y="316"/>
                  </a:cubicBezTo>
                  <a:cubicBezTo>
                    <a:pt x="817" y="321"/>
                    <a:pt x="797" y="320"/>
                    <a:pt x="776" y="326"/>
                  </a:cubicBezTo>
                  <a:cubicBezTo>
                    <a:pt x="764" y="329"/>
                    <a:pt x="756" y="333"/>
                    <a:pt x="745" y="333"/>
                  </a:cubicBezTo>
                  <a:cubicBezTo>
                    <a:pt x="736" y="331"/>
                    <a:pt x="731" y="323"/>
                    <a:pt x="723" y="325"/>
                  </a:cubicBezTo>
                  <a:cubicBezTo>
                    <a:pt x="694" y="333"/>
                    <a:pt x="741" y="349"/>
                    <a:pt x="748" y="351"/>
                  </a:cubicBezTo>
                  <a:cubicBezTo>
                    <a:pt x="738" y="371"/>
                    <a:pt x="727" y="395"/>
                    <a:pt x="700" y="395"/>
                  </a:cubicBezTo>
                  <a:cubicBezTo>
                    <a:pt x="692" y="395"/>
                    <a:pt x="679" y="384"/>
                    <a:pt x="672" y="385"/>
                  </a:cubicBezTo>
                  <a:cubicBezTo>
                    <a:pt x="657" y="392"/>
                    <a:pt x="666" y="410"/>
                    <a:pt x="657" y="418"/>
                  </a:cubicBezTo>
                  <a:cubicBezTo>
                    <a:pt x="633" y="440"/>
                    <a:pt x="634" y="397"/>
                    <a:pt x="624" y="387"/>
                  </a:cubicBezTo>
                  <a:cubicBezTo>
                    <a:pt x="603" y="369"/>
                    <a:pt x="585" y="413"/>
                    <a:pt x="565" y="418"/>
                  </a:cubicBezTo>
                  <a:cubicBezTo>
                    <a:pt x="534" y="425"/>
                    <a:pt x="549" y="390"/>
                    <a:pt x="531" y="376"/>
                  </a:cubicBezTo>
                  <a:cubicBezTo>
                    <a:pt x="506" y="356"/>
                    <a:pt x="512" y="412"/>
                    <a:pt x="509" y="428"/>
                  </a:cubicBezTo>
                  <a:cubicBezTo>
                    <a:pt x="504" y="450"/>
                    <a:pt x="486" y="479"/>
                    <a:pt x="466" y="488"/>
                  </a:cubicBezTo>
                  <a:cubicBezTo>
                    <a:pt x="453" y="491"/>
                    <a:pt x="440" y="488"/>
                    <a:pt x="427" y="494"/>
                  </a:cubicBezTo>
                  <a:cubicBezTo>
                    <a:pt x="418" y="499"/>
                    <a:pt x="409" y="519"/>
                    <a:pt x="397" y="512"/>
                  </a:cubicBezTo>
                  <a:cubicBezTo>
                    <a:pt x="382" y="504"/>
                    <a:pt x="405" y="470"/>
                    <a:pt x="397" y="456"/>
                  </a:cubicBezTo>
                  <a:cubicBezTo>
                    <a:pt x="384" y="433"/>
                    <a:pt x="367" y="455"/>
                    <a:pt x="364" y="476"/>
                  </a:cubicBezTo>
                  <a:cubicBezTo>
                    <a:pt x="362" y="499"/>
                    <a:pt x="381" y="534"/>
                    <a:pt x="354" y="550"/>
                  </a:cubicBezTo>
                  <a:cubicBezTo>
                    <a:pt x="333" y="563"/>
                    <a:pt x="328" y="539"/>
                    <a:pt x="320" y="519"/>
                  </a:cubicBezTo>
                  <a:cubicBezTo>
                    <a:pt x="316" y="507"/>
                    <a:pt x="302" y="465"/>
                    <a:pt x="290" y="493"/>
                  </a:cubicBezTo>
                  <a:cubicBezTo>
                    <a:pt x="282" y="512"/>
                    <a:pt x="318" y="544"/>
                    <a:pt x="310" y="568"/>
                  </a:cubicBezTo>
                  <a:cubicBezTo>
                    <a:pt x="306" y="578"/>
                    <a:pt x="298" y="588"/>
                    <a:pt x="290" y="590"/>
                  </a:cubicBezTo>
                  <a:cubicBezTo>
                    <a:pt x="275" y="596"/>
                    <a:pt x="274" y="585"/>
                    <a:pt x="262" y="583"/>
                  </a:cubicBezTo>
                  <a:cubicBezTo>
                    <a:pt x="254" y="582"/>
                    <a:pt x="257" y="572"/>
                    <a:pt x="247" y="582"/>
                  </a:cubicBezTo>
                  <a:cubicBezTo>
                    <a:pt x="239" y="588"/>
                    <a:pt x="246" y="610"/>
                    <a:pt x="241" y="619"/>
                  </a:cubicBezTo>
                  <a:cubicBezTo>
                    <a:pt x="231" y="634"/>
                    <a:pt x="198" y="647"/>
                    <a:pt x="181" y="651"/>
                  </a:cubicBezTo>
                  <a:cubicBezTo>
                    <a:pt x="133" y="661"/>
                    <a:pt x="147" y="626"/>
                    <a:pt x="129" y="598"/>
                  </a:cubicBezTo>
                  <a:cubicBezTo>
                    <a:pt x="120" y="585"/>
                    <a:pt x="107" y="580"/>
                    <a:pt x="97" y="568"/>
                  </a:cubicBezTo>
                  <a:cubicBezTo>
                    <a:pt x="86" y="555"/>
                    <a:pt x="84" y="540"/>
                    <a:pt x="74" y="527"/>
                  </a:cubicBezTo>
                  <a:cubicBezTo>
                    <a:pt x="54" y="496"/>
                    <a:pt x="28" y="511"/>
                    <a:pt x="0" y="494"/>
                  </a:cubicBezTo>
                  <a:cubicBezTo>
                    <a:pt x="20" y="471"/>
                    <a:pt x="71" y="437"/>
                    <a:pt x="104" y="443"/>
                  </a:cubicBezTo>
                  <a:cubicBezTo>
                    <a:pt x="109" y="443"/>
                    <a:pt x="145" y="473"/>
                    <a:pt x="142" y="450"/>
                  </a:cubicBezTo>
                  <a:cubicBezTo>
                    <a:pt x="138" y="428"/>
                    <a:pt x="99" y="432"/>
                    <a:pt x="87" y="430"/>
                  </a:cubicBezTo>
                  <a:cubicBezTo>
                    <a:pt x="64" y="428"/>
                    <a:pt x="38" y="427"/>
                    <a:pt x="26" y="400"/>
                  </a:cubicBezTo>
                  <a:cubicBezTo>
                    <a:pt x="20" y="381"/>
                    <a:pt x="28" y="362"/>
                    <a:pt x="46" y="354"/>
                  </a:cubicBezTo>
                  <a:cubicBezTo>
                    <a:pt x="63" y="344"/>
                    <a:pt x="89" y="351"/>
                    <a:pt x="107" y="351"/>
                  </a:cubicBezTo>
                  <a:cubicBezTo>
                    <a:pt x="132" y="353"/>
                    <a:pt x="142" y="343"/>
                    <a:pt x="161" y="334"/>
                  </a:cubicBezTo>
                  <a:cubicBezTo>
                    <a:pt x="188" y="323"/>
                    <a:pt x="191" y="329"/>
                    <a:pt x="216" y="336"/>
                  </a:cubicBezTo>
                  <a:cubicBezTo>
                    <a:pt x="241" y="343"/>
                    <a:pt x="226" y="331"/>
                    <a:pt x="249" y="320"/>
                  </a:cubicBezTo>
                  <a:cubicBezTo>
                    <a:pt x="274" y="306"/>
                    <a:pt x="260" y="328"/>
                    <a:pt x="272" y="298"/>
                  </a:cubicBezTo>
                  <a:cubicBezTo>
                    <a:pt x="285" y="265"/>
                    <a:pt x="290" y="280"/>
                    <a:pt x="316" y="292"/>
                  </a:cubicBezTo>
                  <a:cubicBezTo>
                    <a:pt x="369" y="316"/>
                    <a:pt x="313" y="260"/>
                    <a:pt x="323" y="241"/>
                  </a:cubicBezTo>
                  <a:cubicBezTo>
                    <a:pt x="328" y="229"/>
                    <a:pt x="376" y="229"/>
                    <a:pt x="386" y="236"/>
                  </a:cubicBezTo>
                  <a:cubicBezTo>
                    <a:pt x="400" y="242"/>
                    <a:pt x="409" y="280"/>
                    <a:pt x="427" y="260"/>
                  </a:cubicBezTo>
                  <a:cubicBezTo>
                    <a:pt x="440" y="244"/>
                    <a:pt x="410" y="226"/>
                    <a:pt x="407" y="214"/>
                  </a:cubicBezTo>
                  <a:cubicBezTo>
                    <a:pt x="397" y="181"/>
                    <a:pt x="427" y="198"/>
                    <a:pt x="435" y="175"/>
                  </a:cubicBezTo>
                  <a:cubicBezTo>
                    <a:pt x="440" y="158"/>
                    <a:pt x="423" y="143"/>
                    <a:pt x="427" y="125"/>
                  </a:cubicBezTo>
                  <a:cubicBezTo>
                    <a:pt x="430" y="107"/>
                    <a:pt x="455" y="79"/>
                    <a:pt x="474" y="94"/>
                  </a:cubicBezTo>
                  <a:cubicBezTo>
                    <a:pt x="491" y="105"/>
                    <a:pt x="481" y="140"/>
                    <a:pt x="512" y="127"/>
                  </a:cubicBezTo>
                  <a:cubicBezTo>
                    <a:pt x="531" y="120"/>
                    <a:pt x="531" y="92"/>
                    <a:pt x="547" y="82"/>
                  </a:cubicBezTo>
                  <a:cubicBezTo>
                    <a:pt x="575" y="69"/>
                    <a:pt x="567" y="96"/>
                    <a:pt x="583" y="105"/>
                  </a:cubicBezTo>
                  <a:cubicBezTo>
                    <a:pt x="611" y="127"/>
                    <a:pt x="610" y="92"/>
                    <a:pt x="629" y="79"/>
                  </a:cubicBezTo>
                  <a:cubicBezTo>
                    <a:pt x="638" y="76"/>
                    <a:pt x="647" y="79"/>
                    <a:pt x="656" y="76"/>
                  </a:cubicBezTo>
                  <a:cubicBezTo>
                    <a:pt x="667" y="72"/>
                    <a:pt x="675" y="64"/>
                    <a:pt x="687" y="63"/>
                  </a:cubicBezTo>
                  <a:cubicBezTo>
                    <a:pt x="710" y="56"/>
                    <a:pt x="730" y="54"/>
                    <a:pt x="753" y="46"/>
                  </a:cubicBezTo>
                  <a:cubicBezTo>
                    <a:pt x="802" y="28"/>
                    <a:pt x="862" y="35"/>
                    <a:pt x="913" y="44"/>
                  </a:cubicBezTo>
                  <a:cubicBezTo>
                    <a:pt x="937" y="48"/>
                    <a:pt x="956" y="56"/>
                    <a:pt x="975" y="36"/>
                  </a:cubicBezTo>
                  <a:cubicBezTo>
                    <a:pt x="992" y="18"/>
                    <a:pt x="993" y="7"/>
                    <a:pt x="1021" y="3"/>
                  </a:cubicBezTo>
                  <a:cubicBezTo>
                    <a:pt x="1048" y="0"/>
                    <a:pt x="1056" y="12"/>
                    <a:pt x="1071" y="30"/>
                  </a:cubicBezTo>
                  <a:cubicBezTo>
                    <a:pt x="1087" y="53"/>
                    <a:pt x="1104" y="69"/>
                    <a:pt x="1129" y="81"/>
                  </a:cubicBezTo>
                  <a:cubicBezTo>
                    <a:pt x="1155" y="94"/>
                    <a:pt x="1170" y="74"/>
                    <a:pt x="1194" y="82"/>
                  </a:cubicBezTo>
                  <a:cubicBezTo>
                    <a:pt x="1214" y="89"/>
                    <a:pt x="1216" y="114"/>
                    <a:pt x="1239" y="114"/>
                  </a:cubicBezTo>
                  <a:cubicBezTo>
                    <a:pt x="1260" y="115"/>
                    <a:pt x="1280" y="91"/>
                    <a:pt x="1303" y="89"/>
                  </a:cubicBezTo>
                  <a:cubicBezTo>
                    <a:pt x="1331" y="87"/>
                    <a:pt x="1356" y="102"/>
                    <a:pt x="1381" y="84"/>
                  </a:cubicBezTo>
                  <a:cubicBezTo>
                    <a:pt x="1425" y="49"/>
                    <a:pt x="1483" y="10"/>
                    <a:pt x="1544" y="12"/>
                  </a:cubicBezTo>
                  <a:cubicBezTo>
                    <a:pt x="1600" y="12"/>
                    <a:pt x="1643" y="74"/>
                    <a:pt x="1623" y="12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05" name="Freeform 141">
              <a:extLst>
                <a:ext uri="{FF2B5EF4-FFF2-40B4-BE49-F238E27FC236}">
                  <a16:creationId xmlns:a16="http://schemas.microsoft.com/office/drawing/2014/main" id="{6F95D7AD-2216-5444-B5B1-F5EE624ECF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7163" y="2208213"/>
              <a:ext cx="30162" cy="61912"/>
            </a:xfrm>
            <a:custGeom>
              <a:avLst/>
              <a:gdLst>
                <a:gd name="T0" fmla="*/ 64 w 83"/>
                <a:gd name="T1" fmla="*/ 47 h 174"/>
                <a:gd name="T2" fmla="*/ 5 w 83"/>
                <a:gd name="T3" fmla="*/ 46 h 174"/>
                <a:gd name="T4" fmla="*/ 19 w 83"/>
                <a:gd name="T5" fmla="*/ 85 h 174"/>
                <a:gd name="T6" fmla="*/ 5 w 83"/>
                <a:gd name="T7" fmla="*/ 155 h 174"/>
                <a:gd name="T8" fmla="*/ 29 w 83"/>
                <a:gd name="T9" fmla="*/ 156 h 174"/>
                <a:gd name="T10" fmla="*/ 34 w 83"/>
                <a:gd name="T11" fmla="*/ 138 h 174"/>
                <a:gd name="T12" fmla="*/ 56 w 83"/>
                <a:gd name="T13" fmla="*/ 132 h 174"/>
                <a:gd name="T14" fmla="*/ 64 w 83"/>
                <a:gd name="T15" fmla="*/ 47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174">
                  <a:moveTo>
                    <a:pt x="64" y="47"/>
                  </a:moveTo>
                  <a:cubicBezTo>
                    <a:pt x="49" y="34"/>
                    <a:pt x="5" y="0"/>
                    <a:pt x="5" y="46"/>
                  </a:cubicBezTo>
                  <a:cubicBezTo>
                    <a:pt x="6" y="62"/>
                    <a:pt x="18" y="71"/>
                    <a:pt x="19" y="85"/>
                  </a:cubicBezTo>
                  <a:cubicBezTo>
                    <a:pt x="21" y="105"/>
                    <a:pt x="0" y="136"/>
                    <a:pt x="5" y="155"/>
                  </a:cubicBezTo>
                  <a:cubicBezTo>
                    <a:pt x="11" y="173"/>
                    <a:pt x="19" y="168"/>
                    <a:pt x="29" y="156"/>
                  </a:cubicBezTo>
                  <a:cubicBezTo>
                    <a:pt x="33" y="151"/>
                    <a:pt x="28" y="145"/>
                    <a:pt x="34" y="138"/>
                  </a:cubicBezTo>
                  <a:cubicBezTo>
                    <a:pt x="41" y="133"/>
                    <a:pt x="51" y="136"/>
                    <a:pt x="56" y="132"/>
                  </a:cubicBezTo>
                  <a:cubicBezTo>
                    <a:pt x="69" y="123"/>
                    <a:pt x="82" y="62"/>
                    <a:pt x="64" y="4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06" name="Freeform 142">
              <a:extLst>
                <a:ext uri="{FF2B5EF4-FFF2-40B4-BE49-F238E27FC236}">
                  <a16:creationId xmlns:a16="http://schemas.microsoft.com/office/drawing/2014/main" id="{3A248C45-5A9B-D949-B384-28B07BA1B2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8713" y="2298700"/>
              <a:ext cx="95250" cy="79375"/>
            </a:xfrm>
            <a:custGeom>
              <a:avLst/>
              <a:gdLst>
                <a:gd name="T0" fmla="*/ 180 w 263"/>
                <a:gd name="T1" fmla="*/ 203 h 220"/>
                <a:gd name="T2" fmla="*/ 206 w 263"/>
                <a:gd name="T3" fmla="*/ 193 h 220"/>
                <a:gd name="T4" fmla="*/ 229 w 263"/>
                <a:gd name="T5" fmla="*/ 198 h 220"/>
                <a:gd name="T6" fmla="*/ 256 w 263"/>
                <a:gd name="T7" fmla="*/ 186 h 220"/>
                <a:gd name="T8" fmla="*/ 259 w 263"/>
                <a:gd name="T9" fmla="*/ 157 h 220"/>
                <a:gd name="T10" fmla="*/ 251 w 263"/>
                <a:gd name="T11" fmla="*/ 140 h 220"/>
                <a:gd name="T12" fmla="*/ 246 w 263"/>
                <a:gd name="T13" fmla="*/ 99 h 220"/>
                <a:gd name="T14" fmla="*/ 198 w 263"/>
                <a:gd name="T15" fmla="*/ 13 h 220"/>
                <a:gd name="T16" fmla="*/ 178 w 263"/>
                <a:gd name="T17" fmla="*/ 5 h 220"/>
                <a:gd name="T18" fmla="*/ 135 w 263"/>
                <a:gd name="T19" fmla="*/ 10 h 220"/>
                <a:gd name="T20" fmla="*/ 10 w 263"/>
                <a:gd name="T21" fmla="*/ 119 h 220"/>
                <a:gd name="T22" fmla="*/ 4 w 263"/>
                <a:gd name="T23" fmla="*/ 134 h 220"/>
                <a:gd name="T24" fmla="*/ 13 w 263"/>
                <a:gd name="T25" fmla="*/ 171 h 220"/>
                <a:gd name="T26" fmla="*/ 79 w 263"/>
                <a:gd name="T27" fmla="*/ 213 h 220"/>
                <a:gd name="T28" fmla="*/ 180 w 263"/>
                <a:gd name="T29" fmla="*/ 203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220">
                  <a:moveTo>
                    <a:pt x="180" y="203"/>
                  </a:moveTo>
                  <a:cubicBezTo>
                    <a:pt x="188" y="199"/>
                    <a:pt x="196" y="193"/>
                    <a:pt x="206" y="193"/>
                  </a:cubicBezTo>
                  <a:cubicBezTo>
                    <a:pt x="213" y="193"/>
                    <a:pt x="221" y="196"/>
                    <a:pt x="229" y="198"/>
                  </a:cubicBezTo>
                  <a:cubicBezTo>
                    <a:pt x="239" y="198"/>
                    <a:pt x="249" y="193"/>
                    <a:pt x="256" y="186"/>
                  </a:cubicBezTo>
                  <a:cubicBezTo>
                    <a:pt x="261" y="178"/>
                    <a:pt x="262" y="167"/>
                    <a:pt x="259" y="157"/>
                  </a:cubicBezTo>
                  <a:cubicBezTo>
                    <a:pt x="257" y="152"/>
                    <a:pt x="254" y="147"/>
                    <a:pt x="251" y="140"/>
                  </a:cubicBezTo>
                  <a:cubicBezTo>
                    <a:pt x="246" y="127"/>
                    <a:pt x="247" y="114"/>
                    <a:pt x="246" y="99"/>
                  </a:cubicBezTo>
                  <a:cubicBezTo>
                    <a:pt x="244" y="66"/>
                    <a:pt x="226" y="33"/>
                    <a:pt x="198" y="13"/>
                  </a:cubicBezTo>
                  <a:cubicBezTo>
                    <a:pt x="191" y="10"/>
                    <a:pt x="185" y="7"/>
                    <a:pt x="178" y="5"/>
                  </a:cubicBezTo>
                  <a:cubicBezTo>
                    <a:pt x="165" y="0"/>
                    <a:pt x="148" y="5"/>
                    <a:pt x="135" y="10"/>
                  </a:cubicBezTo>
                  <a:cubicBezTo>
                    <a:pt x="83" y="31"/>
                    <a:pt x="38" y="71"/>
                    <a:pt x="10" y="119"/>
                  </a:cubicBezTo>
                  <a:cubicBezTo>
                    <a:pt x="7" y="124"/>
                    <a:pt x="4" y="129"/>
                    <a:pt x="4" y="134"/>
                  </a:cubicBezTo>
                  <a:cubicBezTo>
                    <a:pt x="0" y="147"/>
                    <a:pt x="7" y="160"/>
                    <a:pt x="13" y="171"/>
                  </a:cubicBezTo>
                  <a:cubicBezTo>
                    <a:pt x="28" y="196"/>
                    <a:pt x="51" y="206"/>
                    <a:pt x="79" y="213"/>
                  </a:cubicBezTo>
                  <a:cubicBezTo>
                    <a:pt x="112" y="219"/>
                    <a:pt x="150" y="218"/>
                    <a:pt x="180" y="20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07" name="Freeform 143">
              <a:extLst>
                <a:ext uri="{FF2B5EF4-FFF2-40B4-BE49-F238E27FC236}">
                  <a16:creationId xmlns:a16="http://schemas.microsoft.com/office/drawing/2014/main" id="{2A800328-36C7-9741-8AF5-9730F2CA39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3213" y="3916363"/>
              <a:ext cx="26987" cy="38100"/>
            </a:xfrm>
            <a:custGeom>
              <a:avLst/>
              <a:gdLst>
                <a:gd name="T0" fmla="*/ 68 w 75"/>
                <a:gd name="T1" fmla="*/ 38 h 108"/>
                <a:gd name="T2" fmla="*/ 74 w 75"/>
                <a:gd name="T3" fmla="*/ 20 h 108"/>
                <a:gd name="T4" fmla="*/ 71 w 75"/>
                <a:gd name="T5" fmla="*/ 7 h 108"/>
                <a:gd name="T6" fmla="*/ 56 w 75"/>
                <a:gd name="T7" fmla="*/ 0 h 108"/>
                <a:gd name="T8" fmla="*/ 18 w 75"/>
                <a:gd name="T9" fmla="*/ 32 h 108"/>
                <a:gd name="T10" fmla="*/ 13 w 75"/>
                <a:gd name="T11" fmla="*/ 53 h 108"/>
                <a:gd name="T12" fmla="*/ 7 w 75"/>
                <a:gd name="T13" fmla="*/ 58 h 108"/>
                <a:gd name="T14" fmla="*/ 3 w 75"/>
                <a:gd name="T15" fmla="*/ 66 h 108"/>
                <a:gd name="T16" fmla="*/ 2 w 75"/>
                <a:gd name="T17" fmla="*/ 81 h 108"/>
                <a:gd name="T18" fmla="*/ 2 w 75"/>
                <a:gd name="T19" fmla="*/ 91 h 108"/>
                <a:gd name="T20" fmla="*/ 10 w 75"/>
                <a:gd name="T21" fmla="*/ 99 h 108"/>
                <a:gd name="T22" fmla="*/ 31 w 75"/>
                <a:gd name="T23" fmla="*/ 107 h 108"/>
                <a:gd name="T24" fmla="*/ 36 w 75"/>
                <a:gd name="T25" fmla="*/ 107 h 108"/>
                <a:gd name="T26" fmla="*/ 41 w 75"/>
                <a:gd name="T27" fmla="*/ 104 h 108"/>
                <a:gd name="T28" fmla="*/ 53 w 75"/>
                <a:gd name="T29" fmla="*/ 84 h 108"/>
                <a:gd name="T30" fmla="*/ 53 w 75"/>
                <a:gd name="T31" fmla="*/ 60 h 108"/>
                <a:gd name="T32" fmla="*/ 68 w 75"/>
                <a:gd name="T33" fmla="*/ 3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" h="108">
                  <a:moveTo>
                    <a:pt x="68" y="38"/>
                  </a:moveTo>
                  <a:cubicBezTo>
                    <a:pt x="73" y="33"/>
                    <a:pt x="74" y="27"/>
                    <a:pt x="74" y="20"/>
                  </a:cubicBezTo>
                  <a:cubicBezTo>
                    <a:pt x="74" y="15"/>
                    <a:pt x="73" y="10"/>
                    <a:pt x="71" y="7"/>
                  </a:cubicBezTo>
                  <a:cubicBezTo>
                    <a:pt x="68" y="2"/>
                    <a:pt x="61" y="0"/>
                    <a:pt x="56" y="0"/>
                  </a:cubicBezTo>
                  <a:cubicBezTo>
                    <a:pt x="38" y="0"/>
                    <a:pt x="22" y="15"/>
                    <a:pt x="18" y="32"/>
                  </a:cubicBezTo>
                  <a:cubicBezTo>
                    <a:pt x="18" y="40"/>
                    <a:pt x="18" y="48"/>
                    <a:pt x="13" y="53"/>
                  </a:cubicBezTo>
                  <a:cubicBezTo>
                    <a:pt x="12" y="55"/>
                    <a:pt x="8" y="56"/>
                    <a:pt x="7" y="58"/>
                  </a:cubicBezTo>
                  <a:cubicBezTo>
                    <a:pt x="5" y="60"/>
                    <a:pt x="5" y="63"/>
                    <a:pt x="3" y="66"/>
                  </a:cubicBezTo>
                  <a:cubicBezTo>
                    <a:pt x="3" y="71"/>
                    <a:pt x="2" y="76"/>
                    <a:pt x="2" y="81"/>
                  </a:cubicBezTo>
                  <a:cubicBezTo>
                    <a:pt x="2" y="84"/>
                    <a:pt x="0" y="88"/>
                    <a:pt x="2" y="91"/>
                  </a:cubicBezTo>
                  <a:cubicBezTo>
                    <a:pt x="3" y="94"/>
                    <a:pt x="7" y="97"/>
                    <a:pt x="10" y="99"/>
                  </a:cubicBezTo>
                  <a:cubicBezTo>
                    <a:pt x="17" y="104"/>
                    <a:pt x="25" y="107"/>
                    <a:pt x="31" y="107"/>
                  </a:cubicBezTo>
                  <a:cubicBezTo>
                    <a:pt x="33" y="107"/>
                    <a:pt x="35" y="107"/>
                    <a:pt x="36" y="107"/>
                  </a:cubicBezTo>
                  <a:cubicBezTo>
                    <a:pt x="38" y="107"/>
                    <a:pt x="40" y="106"/>
                    <a:pt x="41" y="104"/>
                  </a:cubicBezTo>
                  <a:cubicBezTo>
                    <a:pt x="45" y="97"/>
                    <a:pt x="50" y="93"/>
                    <a:pt x="53" y="84"/>
                  </a:cubicBezTo>
                  <a:cubicBezTo>
                    <a:pt x="56" y="76"/>
                    <a:pt x="51" y="68"/>
                    <a:pt x="53" y="60"/>
                  </a:cubicBezTo>
                  <a:cubicBezTo>
                    <a:pt x="54" y="48"/>
                    <a:pt x="63" y="46"/>
                    <a:pt x="68" y="3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08" name="Freeform 144">
              <a:extLst>
                <a:ext uri="{FF2B5EF4-FFF2-40B4-BE49-F238E27FC236}">
                  <a16:creationId xmlns:a16="http://schemas.microsoft.com/office/drawing/2014/main" id="{169E5BD6-3C59-D540-9677-9C05E4AC29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1713" y="2490788"/>
              <a:ext cx="47625" cy="39687"/>
            </a:xfrm>
            <a:custGeom>
              <a:avLst/>
              <a:gdLst>
                <a:gd name="T0" fmla="*/ 26 w 134"/>
                <a:gd name="T1" fmla="*/ 43 h 110"/>
                <a:gd name="T2" fmla="*/ 57 w 134"/>
                <a:gd name="T3" fmla="*/ 13 h 110"/>
                <a:gd name="T4" fmla="*/ 97 w 134"/>
                <a:gd name="T5" fmla="*/ 3 h 110"/>
                <a:gd name="T6" fmla="*/ 132 w 134"/>
                <a:gd name="T7" fmla="*/ 43 h 110"/>
                <a:gd name="T8" fmla="*/ 133 w 134"/>
                <a:gd name="T9" fmla="*/ 51 h 110"/>
                <a:gd name="T10" fmla="*/ 110 w 134"/>
                <a:gd name="T11" fmla="*/ 72 h 110"/>
                <a:gd name="T12" fmla="*/ 76 w 134"/>
                <a:gd name="T13" fmla="*/ 77 h 110"/>
                <a:gd name="T14" fmla="*/ 41 w 134"/>
                <a:gd name="T15" fmla="*/ 104 h 110"/>
                <a:gd name="T16" fmla="*/ 3 w 134"/>
                <a:gd name="T17" fmla="*/ 86 h 110"/>
                <a:gd name="T18" fmla="*/ 26 w 134"/>
                <a:gd name="T19" fmla="*/ 4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10">
                  <a:moveTo>
                    <a:pt x="26" y="43"/>
                  </a:moveTo>
                  <a:cubicBezTo>
                    <a:pt x="36" y="33"/>
                    <a:pt x="46" y="23"/>
                    <a:pt x="57" y="13"/>
                  </a:cubicBezTo>
                  <a:cubicBezTo>
                    <a:pt x="69" y="5"/>
                    <a:pt x="84" y="0"/>
                    <a:pt x="97" y="3"/>
                  </a:cubicBezTo>
                  <a:cubicBezTo>
                    <a:pt x="115" y="8"/>
                    <a:pt x="125" y="26"/>
                    <a:pt x="132" y="43"/>
                  </a:cubicBezTo>
                  <a:cubicBezTo>
                    <a:pt x="132" y="46"/>
                    <a:pt x="133" y="49"/>
                    <a:pt x="133" y="51"/>
                  </a:cubicBezTo>
                  <a:cubicBezTo>
                    <a:pt x="133" y="62"/>
                    <a:pt x="122" y="71"/>
                    <a:pt x="110" y="72"/>
                  </a:cubicBezTo>
                  <a:cubicBezTo>
                    <a:pt x="99" y="74"/>
                    <a:pt x="85" y="72"/>
                    <a:pt x="76" y="77"/>
                  </a:cubicBezTo>
                  <a:cubicBezTo>
                    <a:pt x="62" y="84"/>
                    <a:pt x="54" y="99"/>
                    <a:pt x="41" y="104"/>
                  </a:cubicBezTo>
                  <a:cubicBezTo>
                    <a:pt x="28" y="109"/>
                    <a:pt x="8" y="100"/>
                    <a:pt x="3" y="86"/>
                  </a:cubicBezTo>
                  <a:cubicBezTo>
                    <a:pt x="0" y="67"/>
                    <a:pt x="13" y="54"/>
                    <a:pt x="26" y="4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09" name="Freeform 145">
              <a:extLst>
                <a:ext uri="{FF2B5EF4-FFF2-40B4-BE49-F238E27FC236}">
                  <a16:creationId xmlns:a16="http://schemas.microsoft.com/office/drawing/2014/main" id="{135EB553-CDA3-1443-A7A7-EC9A4650C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0825" y="4200525"/>
              <a:ext cx="26988" cy="30163"/>
            </a:xfrm>
            <a:custGeom>
              <a:avLst/>
              <a:gdLst>
                <a:gd name="T0" fmla="*/ 74 w 75"/>
                <a:gd name="T1" fmla="*/ 28 h 83"/>
                <a:gd name="T2" fmla="*/ 8 w 75"/>
                <a:gd name="T3" fmla="*/ 82 h 83"/>
                <a:gd name="T4" fmla="*/ 5 w 75"/>
                <a:gd name="T5" fmla="*/ 74 h 83"/>
                <a:gd name="T6" fmla="*/ 34 w 75"/>
                <a:gd name="T7" fmla="*/ 5 h 83"/>
                <a:gd name="T8" fmla="*/ 64 w 75"/>
                <a:gd name="T9" fmla="*/ 8 h 83"/>
                <a:gd name="T10" fmla="*/ 74 w 75"/>
                <a:gd name="T11" fmla="*/ 2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83">
                  <a:moveTo>
                    <a:pt x="74" y="28"/>
                  </a:moveTo>
                  <a:lnTo>
                    <a:pt x="8" y="82"/>
                  </a:lnTo>
                  <a:cubicBezTo>
                    <a:pt x="6" y="79"/>
                    <a:pt x="6" y="77"/>
                    <a:pt x="5" y="74"/>
                  </a:cubicBezTo>
                  <a:cubicBezTo>
                    <a:pt x="0" y="49"/>
                    <a:pt x="18" y="25"/>
                    <a:pt x="34" y="5"/>
                  </a:cubicBezTo>
                  <a:cubicBezTo>
                    <a:pt x="43" y="0"/>
                    <a:pt x="56" y="2"/>
                    <a:pt x="64" y="8"/>
                  </a:cubicBezTo>
                  <a:cubicBezTo>
                    <a:pt x="71" y="13"/>
                    <a:pt x="74" y="21"/>
                    <a:pt x="74" y="2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10" name="Freeform 146">
              <a:extLst>
                <a:ext uri="{FF2B5EF4-FFF2-40B4-BE49-F238E27FC236}">
                  <a16:creationId xmlns:a16="http://schemas.microsoft.com/office/drawing/2014/main" id="{B6616B79-6844-084B-B061-D6505DBB6F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5425" y="4251325"/>
              <a:ext cx="33338" cy="52388"/>
            </a:xfrm>
            <a:custGeom>
              <a:avLst/>
              <a:gdLst>
                <a:gd name="T0" fmla="*/ 84 w 94"/>
                <a:gd name="T1" fmla="*/ 33 h 145"/>
                <a:gd name="T2" fmla="*/ 84 w 94"/>
                <a:gd name="T3" fmla="*/ 76 h 145"/>
                <a:gd name="T4" fmla="*/ 84 w 94"/>
                <a:gd name="T5" fmla="*/ 76 h 145"/>
                <a:gd name="T6" fmla="*/ 0 w 94"/>
                <a:gd name="T7" fmla="*/ 144 h 145"/>
                <a:gd name="T8" fmla="*/ 7 w 94"/>
                <a:gd name="T9" fmla="*/ 94 h 145"/>
                <a:gd name="T10" fmla="*/ 10 w 94"/>
                <a:gd name="T11" fmla="*/ 66 h 145"/>
                <a:gd name="T12" fmla="*/ 93 w 94"/>
                <a:gd name="T13" fmla="*/ 0 h 145"/>
                <a:gd name="T14" fmla="*/ 84 w 94"/>
                <a:gd name="T15" fmla="*/ 3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145">
                  <a:moveTo>
                    <a:pt x="84" y="33"/>
                  </a:moveTo>
                  <a:cubicBezTo>
                    <a:pt x="84" y="47"/>
                    <a:pt x="84" y="61"/>
                    <a:pt x="84" y="76"/>
                  </a:cubicBezTo>
                  <a:lnTo>
                    <a:pt x="84" y="76"/>
                  </a:lnTo>
                  <a:lnTo>
                    <a:pt x="0" y="144"/>
                  </a:lnTo>
                  <a:cubicBezTo>
                    <a:pt x="2" y="127"/>
                    <a:pt x="5" y="111"/>
                    <a:pt x="7" y="94"/>
                  </a:cubicBezTo>
                  <a:cubicBezTo>
                    <a:pt x="9" y="86"/>
                    <a:pt x="10" y="75"/>
                    <a:pt x="10" y="66"/>
                  </a:cubicBezTo>
                  <a:lnTo>
                    <a:pt x="93" y="0"/>
                  </a:lnTo>
                  <a:cubicBezTo>
                    <a:pt x="89" y="10"/>
                    <a:pt x="86" y="22"/>
                    <a:pt x="84" y="3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11" name="Freeform 147">
              <a:extLst>
                <a:ext uri="{FF2B5EF4-FFF2-40B4-BE49-F238E27FC236}">
                  <a16:creationId xmlns:a16="http://schemas.microsoft.com/office/drawing/2014/main" id="{52614E2E-B6D2-F742-B352-4A4BFF28DF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0663" y="4313238"/>
              <a:ext cx="26987" cy="39687"/>
            </a:xfrm>
            <a:custGeom>
              <a:avLst/>
              <a:gdLst>
                <a:gd name="T0" fmla="*/ 56 w 73"/>
                <a:gd name="T1" fmla="*/ 68 h 110"/>
                <a:gd name="T2" fmla="*/ 56 w 73"/>
                <a:gd name="T3" fmla="*/ 76 h 110"/>
                <a:gd name="T4" fmla="*/ 14 w 73"/>
                <a:gd name="T5" fmla="*/ 109 h 110"/>
                <a:gd name="T6" fmla="*/ 1 w 73"/>
                <a:gd name="T7" fmla="*/ 81 h 110"/>
                <a:gd name="T8" fmla="*/ 3 w 73"/>
                <a:gd name="T9" fmla="*/ 50 h 110"/>
                <a:gd name="T10" fmla="*/ 3 w 73"/>
                <a:gd name="T11" fmla="*/ 50 h 110"/>
                <a:gd name="T12" fmla="*/ 62 w 73"/>
                <a:gd name="T13" fmla="*/ 0 h 110"/>
                <a:gd name="T14" fmla="*/ 69 w 73"/>
                <a:gd name="T15" fmla="*/ 9 h 110"/>
                <a:gd name="T16" fmla="*/ 70 w 73"/>
                <a:gd name="T17" fmla="*/ 32 h 110"/>
                <a:gd name="T18" fmla="*/ 56 w 73"/>
                <a:gd name="T19" fmla="*/ 6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110">
                  <a:moveTo>
                    <a:pt x="56" y="68"/>
                  </a:moveTo>
                  <a:cubicBezTo>
                    <a:pt x="56" y="70"/>
                    <a:pt x="56" y="73"/>
                    <a:pt x="56" y="76"/>
                  </a:cubicBezTo>
                  <a:lnTo>
                    <a:pt x="14" y="109"/>
                  </a:lnTo>
                  <a:cubicBezTo>
                    <a:pt x="9" y="101"/>
                    <a:pt x="3" y="91"/>
                    <a:pt x="1" y="81"/>
                  </a:cubicBezTo>
                  <a:cubicBezTo>
                    <a:pt x="0" y="71"/>
                    <a:pt x="1" y="60"/>
                    <a:pt x="3" y="50"/>
                  </a:cubicBezTo>
                  <a:lnTo>
                    <a:pt x="3" y="50"/>
                  </a:lnTo>
                  <a:lnTo>
                    <a:pt x="62" y="0"/>
                  </a:lnTo>
                  <a:cubicBezTo>
                    <a:pt x="64" y="4"/>
                    <a:pt x="67" y="7"/>
                    <a:pt x="69" y="9"/>
                  </a:cubicBezTo>
                  <a:cubicBezTo>
                    <a:pt x="72" y="17"/>
                    <a:pt x="72" y="25"/>
                    <a:pt x="70" y="32"/>
                  </a:cubicBezTo>
                  <a:cubicBezTo>
                    <a:pt x="67" y="45"/>
                    <a:pt x="59" y="55"/>
                    <a:pt x="56" y="6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12" name="Freeform 148">
              <a:extLst>
                <a:ext uri="{FF2B5EF4-FFF2-40B4-BE49-F238E27FC236}">
                  <a16:creationId xmlns:a16="http://schemas.microsoft.com/office/drawing/2014/main" id="{C5685282-655E-7B42-8D5F-837B50A4D3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6213" y="4405313"/>
              <a:ext cx="34925" cy="34925"/>
            </a:xfrm>
            <a:custGeom>
              <a:avLst/>
              <a:gdLst>
                <a:gd name="T0" fmla="*/ 93 w 95"/>
                <a:gd name="T1" fmla="*/ 7 h 95"/>
                <a:gd name="T2" fmla="*/ 93 w 95"/>
                <a:gd name="T3" fmla="*/ 12 h 95"/>
                <a:gd name="T4" fmla="*/ 83 w 95"/>
                <a:gd name="T5" fmla="*/ 28 h 95"/>
                <a:gd name="T6" fmla="*/ 79 w 95"/>
                <a:gd name="T7" fmla="*/ 31 h 95"/>
                <a:gd name="T8" fmla="*/ 79 w 95"/>
                <a:gd name="T9" fmla="*/ 40 h 95"/>
                <a:gd name="T10" fmla="*/ 12 w 95"/>
                <a:gd name="T11" fmla="*/ 94 h 95"/>
                <a:gd name="T12" fmla="*/ 4 w 95"/>
                <a:gd name="T13" fmla="*/ 82 h 95"/>
                <a:gd name="T14" fmla="*/ 12 w 95"/>
                <a:gd name="T15" fmla="*/ 51 h 95"/>
                <a:gd name="T16" fmla="*/ 33 w 95"/>
                <a:gd name="T17" fmla="*/ 31 h 95"/>
                <a:gd name="T18" fmla="*/ 60 w 95"/>
                <a:gd name="T19" fmla="*/ 30 h 95"/>
                <a:gd name="T20" fmla="*/ 69 w 95"/>
                <a:gd name="T21" fmla="*/ 17 h 95"/>
                <a:gd name="T22" fmla="*/ 79 w 95"/>
                <a:gd name="T23" fmla="*/ 3 h 95"/>
                <a:gd name="T24" fmla="*/ 93 w 95"/>
                <a:gd name="T25" fmla="*/ 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5" h="95">
                  <a:moveTo>
                    <a:pt x="93" y="7"/>
                  </a:moveTo>
                  <a:cubicBezTo>
                    <a:pt x="94" y="8"/>
                    <a:pt x="93" y="10"/>
                    <a:pt x="93" y="12"/>
                  </a:cubicBezTo>
                  <a:cubicBezTo>
                    <a:pt x="91" y="18"/>
                    <a:pt x="88" y="25"/>
                    <a:pt x="83" y="28"/>
                  </a:cubicBezTo>
                  <a:cubicBezTo>
                    <a:pt x="83" y="30"/>
                    <a:pt x="81" y="31"/>
                    <a:pt x="79" y="31"/>
                  </a:cubicBezTo>
                  <a:cubicBezTo>
                    <a:pt x="78" y="35"/>
                    <a:pt x="79" y="36"/>
                    <a:pt x="79" y="40"/>
                  </a:cubicBezTo>
                  <a:lnTo>
                    <a:pt x="12" y="94"/>
                  </a:lnTo>
                  <a:cubicBezTo>
                    <a:pt x="9" y="91"/>
                    <a:pt x="5" y="87"/>
                    <a:pt x="4" y="82"/>
                  </a:cubicBezTo>
                  <a:cubicBezTo>
                    <a:pt x="0" y="71"/>
                    <a:pt x="7" y="61"/>
                    <a:pt x="12" y="51"/>
                  </a:cubicBezTo>
                  <a:cubicBezTo>
                    <a:pt x="17" y="41"/>
                    <a:pt x="23" y="33"/>
                    <a:pt x="33" y="31"/>
                  </a:cubicBezTo>
                  <a:cubicBezTo>
                    <a:pt x="41" y="30"/>
                    <a:pt x="51" y="35"/>
                    <a:pt x="60" y="30"/>
                  </a:cubicBezTo>
                  <a:cubicBezTo>
                    <a:pt x="65" y="28"/>
                    <a:pt x="68" y="21"/>
                    <a:pt x="69" y="17"/>
                  </a:cubicBezTo>
                  <a:cubicBezTo>
                    <a:pt x="71" y="12"/>
                    <a:pt x="74" y="7"/>
                    <a:pt x="79" y="3"/>
                  </a:cubicBezTo>
                  <a:cubicBezTo>
                    <a:pt x="84" y="0"/>
                    <a:pt x="91" y="2"/>
                    <a:pt x="93" y="7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13" name="Freeform 149">
              <a:extLst>
                <a:ext uri="{FF2B5EF4-FFF2-40B4-BE49-F238E27FC236}">
                  <a16:creationId xmlns:a16="http://schemas.microsoft.com/office/drawing/2014/main" id="{416D0D59-0963-0640-9A51-FCC9B45C8C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7013" y="4367213"/>
              <a:ext cx="11112" cy="20637"/>
            </a:xfrm>
            <a:custGeom>
              <a:avLst/>
              <a:gdLst>
                <a:gd name="T0" fmla="*/ 32 w 33"/>
                <a:gd name="T1" fmla="*/ 0 h 57"/>
                <a:gd name="T2" fmla="*/ 32 w 33"/>
                <a:gd name="T3" fmla="*/ 2 h 57"/>
                <a:gd name="T4" fmla="*/ 25 w 33"/>
                <a:gd name="T5" fmla="*/ 38 h 57"/>
                <a:gd name="T6" fmla="*/ 7 w 33"/>
                <a:gd name="T7" fmla="*/ 51 h 57"/>
                <a:gd name="T8" fmla="*/ 2 w 33"/>
                <a:gd name="T9" fmla="*/ 45 h 57"/>
                <a:gd name="T10" fmla="*/ 2 w 33"/>
                <a:gd name="T11" fmla="*/ 23 h 57"/>
                <a:gd name="T12" fmla="*/ 32 w 33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57">
                  <a:moveTo>
                    <a:pt x="32" y="0"/>
                  </a:moveTo>
                  <a:lnTo>
                    <a:pt x="32" y="2"/>
                  </a:lnTo>
                  <a:cubicBezTo>
                    <a:pt x="30" y="13"/>
                    <a:pt x="28" y="27"/>
                    <a:pt x="25" y="38"/>
                  </a:cubicBezTo>
                  <a:cubicBezTo>
                    <a:pt x="22" y="46"/>
                    <a:pt x="14" y="56"/>
                    <a:pt x="7" y="51"/>
                  </a:cubicBezTo>
                  <a:cubicBezTo>
                    <a:pt x="4" y="50"/>
                    <a:pt x="2" y="46"/>
                    <a:pt x="2" y="45"/>
                  </a:cubicBezTo>
                  <a:cubicBezTo>
                    <a:pt x="0" y="37"/>
                    <a:pt x="0" y="30"/>
                    <a:pt x="2" y="23"/>
                  </a:cubicBezTo>
                  <a:lnTo>
                    <a:pt x="32" y="0"/>
                  </a:ln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14" name="Freeform 150">
              <a:extLst>
                <a:ext uri="{FF2B5EF4-FFF2-40B4-BE49-F238E27FC236}">
                  <a16:creationId xmlns:a16="http://schemas.microsoft.com/office/drawing/2014/main" id="{E1EC2393-B96F-FB4E-BC4E-ECDECBACB5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0975" y="4446588"/>
              <a:ext cx="22225" cy="38100"/>
            </a:xfrm>
            <a:custGeom>
              <a:avLst/>
              <a:gdLst>
                <a:gd name="T0" fmla="*/ 54 w 63"/>
                <a:gd name="T1" fmla="*/ 55 h 107"/>
                <a:gd name="T2" fmla="*/ 51 w 63"/>
                <a:gd name="T3" fmla="*/ 76 h 107"/>
                <a:gd name="T4" fmla="*/ 15 w 63"/>
                <a:gd name="T5" fmla="*/ 106 h 107"/>
                <a:gd name="T6" fmla="*/ 11 w 63"/>
                <a:gd name="T7" fmla="*/ 96 h 107"/>
                <a:gd name="T8" fmla="*/ 3 w 63"/>
                <a:gd name="T9" fmla="*/ 83 h 107"/>
                <a:gd name="T10" fmla="*/ 10 w 63"/>
                <a:gd name="T11" fmla="*/ 48 h 107"/>
                <a:gd name="T12" fmla="*/ 11 w 63"/>
                <a:gd name="T13" fmla="*/ 40 h 107"/>
                <a:gd name="T14" fmla="*/ 61 w 63"/>
                <a:gd name="T15" fmla="*/ 0 h 107"/>
                <a:gd name="T16" fmla="*/ 54 w 63"/>
                <a:gd name="T17" fmla="*/ 5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107">
                  <a:moveTo>
                    <a:pt x="54" y="55"/>
                  </a:moveTo>
                  <a:cubicBezTo>
                    <a:pt x="53" y="63"/>
                    <a:pt x="51" y="70"/>
                    <a:pt x="51" y="76"/>
                  </a:cubicBezTo>
                  <a:lnTo>
                    <a:pt x="15" y="106"/>
                  </a:lnTo>
                  <a:cubicBezTo>
                    <a:pt x="15" y="103"/>
                    <a:pt x="13" y="99"/>
                    <a:pt x="11" y="96"/>
                  </a:cubicBezTo>
                  <a:cubicBezTo>
                    <a:pt x="10" y="91"/>
                    <a:pt x="5" y="88"/>
                    <a:pt x="3" y="83"/>
                  </a:cubicBezTo>
                  <a:cubicBezTo>
                    <a:pt x="0" y="71"/>
                    <a:pt x="5" y="60"/>
                    <a:pt x="10" y="48"/>
                  </a:cubicBezTo>
                  <a:lnTo>
                    <a:pt x="11" y="40"/>
                  </a:lnTo>
                  <a:lnTo>
                    <a:pt x="61" y="0"/>
                  </a:lnTo>
                  <a:cubicBezTo>
                    <a:pt x="62" y="20"/>
                    <a:pt x="59" y="35"/>
                    <a:pt x="54" y="55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15" name="Freeform 151">
              <a:extLst>
                <a:ext uri="{FF2B5EF4-FFF2-40B4-BE49-F238E27FC236}">
                  <a16:creationId xmlns:a16="http://schemas.microsoft.com/office/drawing/2014/main" id="{5E577978-DBBF-D043-AF2C-843D951490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2563" y="4503738"/>
              <a:ext cx="17462" cy="22225"/>
            </a:xfrm>
            <a:custGeom>
              <a:avLst/>
              <a:gdLst>
                <a:gd name="T0" fmla="*/ 46 w 49"/>
                <a:gd name="T1" fmla="*/ 28 h 63"/>
                <a:gd name="T2" fmla="*/ 43 w 49"/>
                <a:gd name="T3" fmla="*/ 37 h 63"/>
                <a:gd name="T4" fmla="*/ 21 w 49"/>
                <a:gd name="T5" fmla="*/ 46 h 63"/>
                <a:gd name="T6" fmla="*/ 13 w 49"/>
                <a:gd name="T7" fmla="*/ 62 h 63"/>
                <a:gd name="T8" fmla="*/ 5 w 49"/>
                <a:gd name="T9" fmla="*/ 54 h 63"/>
                <a:gd name="T10" fmla="*/ 5 w 49"/>
                <a:gd name="T11" fmla="*/ 41 h 63"/>
                <a:gd name="T12" fmla="*/ 0 w 49"/>
                <a:gd name="T13" fmla="*/ 24 h 63"/>
                <a:gd name="T14" fmla="*/ 31 w 49"/>
                <a:gd name="T15" fmla="*/ 0 h 63"/>
                <a:gd name="T16" fmla="*/ 38 w 49"/>
                <a:gd name="T17" fmla="*/ 16 h 63"/>
                <a:gd name="T18" fmla="*/ 46 w 49"/>
                <a:gd name="T19" fmla="*/ 2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63">
                  <a:moveTo>
                    <a:pt x="46" y="28"/>
                  </a:moveTo>
                  <a:cubicBezTo>
                    <a:pt x="48" y="31"/>
                    <a:pt x="48" y="36"/>
                    <a:pt x="43" y="37"/>
                  </a:cubicBezTo>
                  <a:cubicBezTo>
                    <a:pt x="36" y="32"/>
                    <a:pt x="23" y="37"/>
                    <a:pt x="21" y="46"/>
                  </a:cubicBezTo>
                  <a:cubicBezTo>
                    <a:pt x="18" y="52"/>
                    <a:pt x="20" y="60"/>
                    <a:pt x="13" y="62"/>
                  </a:cubicBezTo>
                  <a:cubicBezTo>
                    <a:pt x="10" y="62"/>
                    <a:pt x="6" y="59"/>
                    <a:pt x="5" y="54"/>
                  </a:cubicBezTo>
                  <a:cubicBezTo>
                    <a:pt x="5" y="49"/>
                    <a:pt x="6" y="46"/>
                    <a:pt x="5" y="41"/>
                  </a:cubicBezTo>
                  <a:cubicBezTo>
                    <a:pt x="5" y="34"/>
                    <a:pt x="3" y="29"/>
                    <a:pt x="0" y="24"/>
                  </a:cubicBezTo>
                  <a:lnTo>
                    <a:pt x="31" y="0"/>
                  </a:lnTo>
                  <a:cubicBezTo>
                    <a:pt x="31" y="6"/>
                    <a:pt x="34" y="11"/>
                    <a:pt x="38" y="16"/>
                  </a:cubicBezTo>
                  <a:cubicBezTo>
                    <a:pt x="41" y="21"/>
                    <a:pt x="44" y="23"/>
                    <a:pt x="46" y="2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16" name="Freeform 152">
              <a:extLst>
                <a:ext uri="{FF2B5EF4-FFF2-40B4-BE49-F238E27FC236}">
                  <a16:creationId xmlns:a16="http://schemas.microsoft.com/office/drawing/2014/main" id="{5FBD9877-74E3-EB4A-B535-C2709F95C9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7175" y="4440238"/>
              <a:ext cx="17463" cy="23812"/>
            </a:xfrm>
            <a:custGeom>
              <a:avLst/>
              <a:gdLst>
                <a:gd name="T0" fmla="*/ 46 w 47"/>
                <a:gd name="T1" fmla="*/ 23 h 66"/>
                <a:gd name="T2" fmla="*/ 15 w 47"/>
                <a:gd name="T3" fmla="*/ 56 h 66"/>
                <a:gd name="T4" fmla="*/ 17 w 47"/>
                <a:gd name="T5" fmla="*/ 37 h 66"/>
                <a:gd name="T6" fmla="*/ 20 w 47"/>
                <a:gd name="T7" fmla="*/ 35 h 66"/>
                <a:gd name="T8" fmla="*/ 20 w 47"/>
                <a:gd name="T9" fmla="*/ 32 h 66"/>
                <a:gd name="T10" fmla="*/ 15 w 47"/>
                <a:gd name="T11" fmla="*/ 22 h 66"/>
                <a:gd name="T12" fmla="*/ 42 w 47"/>
                <a:gd name="T13" fmla="*/ 0 h 66"/>
                <a:gd name="T14" fmla="*/ 43 w 47"/>
                <a:gd name="T15" fmla="*/ 5 h 66"/>
                <a:gd name="T16" fmla="*/ 46 w 47"/>
                <a:gd name="T17" fmla="*/ 2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66">
                  <a:moveTo>
                    <a:pt x="46" y="23"/>
                  </a:moveTo>
                  <a:cubicBezTo>
                    <a:pt x="45" y="40"/>
                    <a:pt x="30" y="50"/>
                    <a:pt x="15" y="56"/>
                  </a:cubicBezTo>
                  <a:cubicBezTo>
                    <a:pt x="0" y="65"/>
                    <a:pt x="7" y="41"/>
                    <a:pt x="17" y="37"/>
                  </a:cubicBezTo>
                  <a:cubicBezTo>
                    <a:pt x="17" y="37"/>
                    <a:pt x="18" y="35"/>
                    <a:pt x="20" y="35"/>
                  </a:cubicBezTo>
                  <a:cubicBezTo>
                    <a:pt x="20" y="33"/>
                    <a:pt x="20" y="33"/>
                    <a:pt x="20" y="32"/>
                  </a:cubicBezTo>
                  <a:cubicBezTo>
                    <a:pt x="20" y="27"/>
                    <a:pt x="18" y="23"/>
                    <a:pt x="15" y="22"/>
                  </a:cubicBezTo>
                  <a:lnTo>
                    <a:pt x="42" y="0"/>
                  </a:lnTo>
                  <a:cubicBezTo>
                    <a:pt x="42" y="2"/>
                    <a:pt x="43" y="4"/>
                    <a:pt x="43" y="5"/>
                  </a:cubicBezTo>
                  <a:cubicBezTo>
                    <a:pt x="45" y="12"/>
                    <a:pt x="45" y="17"/>
                    <a:pt x="46" y="23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17" name="Freeform 153">
              <a:extLst>
                <a:ext uri="{FF2B5EF4-FFF2-40B4-BE49-F238E27FC236}">
                  <a16:creationId xmlns:a16="http://schemas.microsoft.com/office/drawing/2014/main" id="{AF6D9B3D-29C3-4C4F-960A-F6E3A818D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3475" y="3425825"/>
              <a:ext cx="230188" cy="269875"/>
            </a:xfrm>
            <a:custGeom>
              <a:avLst/>
              <a:gdLst>
                <a:gd name="T0" fmla="*/ 581 w 640"/>
                <a:gd name="T1" fmla="*/ 729 h 750"/>
                <a:gd name="T2" fmla="*/ 506 w 640"/>
                <a:gd name="T3" fmla="*/ 719 h 750"/>
                <a:gd name="T4" fmla="*/ 453 w 640"/>
                <a:gd name="T5" fmla="*/ 672 h 750"/>
                <a:gd name="T6" fmla="*/ 435 w 640"/>
                <a:gd name="T7" fmla="*/ 606 h 750"/>
                <a:gd name="T8" fmla="*/ 344 w 640"/>
                <a:gd name="T9" fmla="*/ 574 h 750"/>
                <a:gd name="T10" fmla="*/ 275 w 640"/>
                <a:gd name="T11" fmla="*/ 538 h 750"/>
                <a:gd name="T12" fmla="*/ 186 w 640"/>
                <a:gd name="T13" fmla="*/ 481 h 750"/>
                <a:gd name="T14" fmla="*/ 109 w 640"/>
                <a:gd name="T15" fmla="*/ 489 h 750"/>
                <a:gd name="T16" fmla="*/ 39 w 640"/>
                <a:gd name="T17" fmla="*/ 453 h 750"/>
                <a:gd name="T18" fmla="*/ 2 w 640"/>
                <a:gd name="T19" fmla="*/ 392 h 750"/>
                <a:gd name="T20" fmla="*/ 11 w 640"/>
                <a:gd name="T21" fmla="*/ 362 h 750"/>
                <a:gd name="T22" fmla="*/ 64 w 640"/>
                <a:gd name="T23" fmla="*/ 311 h 750"/>
                <a:gd name="T24" fmla="*/ 160 w 640"/>
                <a:gd name="T25" fmla="*/ 229 h 750"/>
                <a:gd name="T26" fmla="*/ 125 w 640"/>
                <a:gd name="T27" fmla="*/ 159 h 750"/>
                <a:gd name="T28" fmla="*/ 122 w 640"/>
                <a:gd name="T29" fmla="*/ 87 h 750"/>
                <a:gd name="T30" fmla="*/ 94 w 640"/>
                <a:gd name="T31" fmla="*/ 42 h 750"/>
                <a:gd name="T32" fmla="*/ 94 w 640"/>
                <a:gd name="T33" fmla="*/ 8 h 750"/>
                <a:gd name="T34" fmla="*/ 145 w 640"/>
                <a:gd name="T35" fmla="*/ 9 h 750"/>
                <a:gd name="T36" fmla="*/ 267 w 640"/>
                <a:gd name="T37" fmla="*/ 64 h 750"/>
                <a:gd name="T38" fmla="*/ 324 w 640"/>
                <a:gd name="T39" fmla="*/ 98 h 750"/>
                <a:gd name="T40" fmla="*/ 387 w 640"/>
                <a:gd name="T41" fmla="*/ 92 h 750"/>
                <a:gd name="T42" fmla="*/ 422 w 640"/>
                <a:gd name="T43" fmla="*/ 102 h 750"/>
                <a:gd name="T44" fmla="*/ 425 w 640"/>
                <a:gd name="T45" fmla="*/ 123 h 750"/>
                <a:gd name="T46" fmla="*/ 425 w 640"/>
                <a:gd name="T47" fmla="*/ 136 h 750"/>
                <a:gd name="T48" fmla="*/ 425 w 640"/>
                <a:gd name="T49" fmla="*/ 143 h 750"/>
                <a:gd name="T50" fmla="*/ 441 w 640"/>
                <a:gd name="T51" fmla="*/ 182 h 750"/>
                <a:gd name="T52" fmla="*/ 445 w 640"/>
                <a:gd name="T53" fmla="*/ 199 h 750"/>
                <a:gd name="T54" fmla="*/ 456 w 640"/>
                <a:gd name="T55" fmla="*/ 207 h 750"/>
                <a:gd name="T56" fmla="*/ 455 w 640"/>
                <a:gd name="T57" fmla="*/ 233 h 750"/>
                <a:gd name="T58" fmla="*/ 464 w 640"/>
                <a:gd name="T59" fmla="*/ 294 h 750"/>
                <a:gd name="T60" fmla="*/ 468 w 640"/>
                <a:gd name="T61" fmla="*/ 314 h 750"/>
                <a:gd name="T62" fmla="*/ 479 w 640"/>
                <a:gd name="T63" fmla="*/ 354 h 750"/>
                <a:gd name="T64" fmla="*/ 474 w 640"/>
                <a:gd name="T65" fmla="*/ 380 h 750"/>
                <a:gd name="T66" fmla="*/ 440 w 640"/>
                <a:gd name="T67" fmla="*/ 497 h 750"/>
                <a:gd name="T68" fmla="*/ 483 w 640"/>
                <a:gd name="T69" fmla="*/ 553 h 750"/>
                <a:gd name="T70" fmla="*/ 537 w 640"/>
                <a:gd name="T71" fmla="*/ 571 h 750"/>
                <a:gd name="T72" fmla="*/ 548 w 640"/>
                <a:gd name="T73" fmla="*/ 594 h 750"/>
                <a:gd name="T74" fmla="*/ 611 w 640"/>
                <a:gd name="T75" fmla="*/ 632 h 750"/>
                <a:gd name="T76" fmla="*/ 629 w 640"/>
                <a:gd name="T77" fmla="*/ 698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0" h="750">
                  <a:moveTo>
                    <a:pt x="629" y="698"/>
                  </a:moveTo>
                  <a:cubicBezTo>
                    <a:pt x="621" y="716"/>
                    <a:pt x="598" y="719"/>
                    <a:pt x="581" y="729"/>
                  </a:cubicBezTo>
                  <a:cubicBezTo>
                    <a:pt x="557" y="743"/>
                    <a:pt x="552" y="749"/>
                    <a:pt x="525" y="733"/>
                  </a:cubicBezTo>
                  <a:cubicBezTo>
                    <a:pt x="519" y="729"/>
                    <a:pt x="512" y="724"/>
                    <a:pt x="506" y="719"/>
                  </a:cubicBezTo>
                  <a:cubicBezTo>
                    <a:pt x="494" y="710"/>
                    <a:pt x="483" y="700"/>
                    <a:pt x="471" y="690"/>
                  </a:cubicBezTo>
                  <a:cubicBezTo>
                    <a:pt x="466" y="685"/>
                    <a:pt x="460" y="678"/>
                    <a:pt x="453" y="672"/>
                  </a:cubicBezTo>
                  <a:cubicBezTo>
                    <a:pt x="446" y="667"/>
                    <a:pt x="443" y="662"/>
                    <a:pt x="441" y="657"/>
                  </a:cubicBezTo>
                  <a:cubicBezTo>
                    <a:pt x="435" y="642"/>
                    <a:pt x="440" y="622"/>
                    <a:pt x="435" y="606"/>
                  </a:cubicBezTo>
                  <a:cubicBezTo>
                    <a:pt x="433" y="603"/>
                    <a:pt x="432" y="599"/>
                    <a:pt x="430" y="598"/>
                  </a:cubicBezTo>
                  <a:cubicBezTo>
                    <a:pt x="413" y="566"/>
                    <a:pt x="377" y="578"/>
                    <a:pt x="344" y="574"/>
                  </a:cubicBezTo>
                  <a:cubicBezTo>
                    <a:pt x="339" y="573"/>
                    <a:pt x="333" y="573"/>
                    <a:pt x="328" y="571"/>
                  </a:cubicBezTo>
                  <a:cubicBezTo>
                    <a:pt x="310" y="563"/>
                    <a:pt x="291" y="551"/>
                    <a:pt x="275" y="538"/>
                  </a:cubicBezTo>
                  <a:cubicBezTo>
                    <a:pt x="257" y="520"/>
                    <a:pt x="239" y="504"/>
                    <a:pt x="219" y="492"/>
                  </a:cubicBezTo>
                  <a:cubicBezTo>
                    <a:pt x="209" y="487"/>
                    <a:pt x="198" y="482"/>
                    <a:pt x="186" y="481"/>
                  </a:cubicBezTo>
                  <a:cubicBezTo>
                    <a:pt x="156" y="477"/>
                    <a:pt x="133" y="489"/>
                    <a:pt x="109" y="489"/>
                  </a:cubicBezTo>
                  <a:lnTo>
                    <a:pt x="109" y="489"/>
                  </a:lnTo>
                  <a:cubicBezTo>
                    <a:pt x="94" y="489"/>
                    <a:pt x="79" y="486"/>
                    <a:pt x="61" y="471"/>
                  </a:cubicBezTo>
                  <a:cubicBezTo>
                    <a:pt x="56" y="466"/>
                    <a:pt x="48" y="459"/>
                    <a:pt x="39" y="453"/>
                  </a:cubicBezTo>
                  <a:cubicBezTo>
                    <a:pt x="26" y="439"/>
                    <a:pt x="10" y="423"/>
                    <a:pt x="3" y="411"/>
                  </a:cubicBezTo>
                  <a:cubicBezTo>
                    <a:pt x="0" y="405"/>
                    <a:pt x="0" y="398"/>
                    <a:pt x="2" y="392"/>
                  </a:cubicBezTo>
                  <a:lnTo>
                    <a:pt x="2" y="392"/>
                  </a:lnTo>
                  <a:cubicBezTo>
                    <a:pt x="5" y="382"/>
                    <a:pt x="10" y="374"/>
                    <a:pt x="11" y="362"/>
                  </a:cubicBezTo>
                  <a:cubicBezTo>
                    <a:pt x="13" y="346"/>
                    <a:pt x="2" y="331"/>
                    <a:pt x="20" y="319"/>
                  </a:cubicBezTo>
                  <a:cubicBezTo>
                    <a:pt x="30" y="314"/>
                    <a:pt x="53" y="316"/>
                    <a:pt x="64" y="311"/>
                  </a:cubicBezTo>
                  <a:cubicBezTo>
                    <a:pt x="86" y="303"/>
                    <a:pt x="110" y="299"/>
                    <a:pt x="125" y="285"/>
                  </a:cubicBezTo>
                  <a:cubicBezTo>
                    <a:pt x="138" y="271"/>
                    <a:pt x="160" y="247"/>
                    <a:pt x="160" y="229"/>
                  </a:cubicBezTo>
                  <a:cubicBezTo>
                    <a:pt x="158" y="214"/>
                    <a:pt x="148" y="201"/>
                    <a:pt x="140" y="187"/>
                  </a:cubicBezTo>
                  <a:cubicBezTo>
                    <a:pt x="133" y="179"/>
                    <a:pt x="127" y="169"/>
                    <a:pt x="125" y="159"/>
                  </a:cubicBezTo>
                  <a:cubicBezTo>
                    <a:pt x="122" y="140"/>
                    <a:pt x="128" y="125"/>
                    <a:pt x="127" y="107"/>
                  </a:cubicBezTo>
                  <a:cubicBezTo>
                    <a:pt x="125" y="102"/>
                    <a:pt x="125" y="95"/>
                    <a:pt x="122" y="87"/>
                  </a:cubicBezTo>
                  <a:cubicBezTo>
                    <a:pt x="114" y="72"/>
                    <a:pt x="105" y="57"/>
                    <a:pt x="97" y="46"/>
                  </a:cubicBezTo>
                  <a:cubicBezTo>
                    <a:pt x="95" y="44"/>
                    <a:pt x="94" y="42"/>
                    <a:pt x="94" y="42"/>
                  </a:cubicBezTo>
                  <a:lnTo>
                    <a:pt x="94" y="42"/>
                  </a:lnTo>
                  <a:cubicBezTo>
                    <a:pt x="82" y="29"/>
                    <a:pt x="69" y="23"/>
                    <a:pt x="94" y="8"/>
                  </a:cubicBezTo>
                  <a:cubicBezTo>
                    <a:pt x="105" y="0"/>
                    <a:pt x="122" y="3"/>
                    <a:pt x="137" y="8"/>
                  </a:cubicBezTo>
                  <a:cubicBezTo>
                    <a:pt x="140" y="8"/>
                    <a:pt x="143" y="9"/>
                    <a:pt x="145" y="9"/>
                  </a:cubicBezTo>
                  <a:cubicBezTo>
                    <a:pt x="166" y="16"/>
                    <a:pt x="191" y="26"/>
                    <a:pt x="216" y="36"/>
                  </a:cubicBezTo>
                  <a:cubicBezTo>
                    <a:pt x="234" y="44"/>
                    <a:pt x="252" y="54"/>
                    <a:pt x="267" y="64"/>
                  </a:cubicBezTo>
                  <a:cubicBezTo>
                    <a:pt x="272" y="67"/>
                    <a:pt x="277" y="70"/>
                    <a:pt x="282" y="74"/>
                  </a:cubicBezTo>
                  <a:cubicBezTo>
                    <a:pt x="296" y="82"/>
                    <a:pt x="310" y="92"/>
                    <a:pt x="324" y="98"/>
                  </a:cubicBezTo>
                  <a:cubicBezTo>
                    <a:pt x="331" y="102"/>
                    <a:pt x="344" y="105"/>
                    <a:pt x="356" y="105"/>
                  </a:cubicBezTo>
                  <a:cubicBezTo>
                    <a:pt x="369" y="107"/>
                    <a:pt x="382" y="103"/>
                    <a:pt x="387" y="92"/>
                  </a:cubicBezTo>
                  <a:cubicBezTo>
                    <a:pt x="389" y="92"/>
                    <a:pt x="390" y="87"/>
                    <a:pt x="390" y="85"/>
                  </a:cubicBezTo>
                  <a:cubicBezTo>
                    <a:pt x="405" y="87"/>
                    <a:pt x="415" y="95"/>
                    <a:pt x="422" y="102"/>
                  </a:cubicBezTo>
                  <a:cubicBezTo>
                    <a:pt x="422" y="102"/>
                    <a:pt x="422" y="107"/>
                    <a:pt x="422" y="108"/>
                  </a:cubicBezTo>
                  <a:cubicBezTo>
                    <a:pt x="422" y="113"/>
                    <a:pt x="423" y="118"/>
                    <a:pt x="425" y="123"/>
                  </a:cubicBezTo>
                  <a:lnTo>
                    <a:pt x="425" y="123"/>
                  </a:lnTo>
                  <a:cubicBezTo>
                    <a:pt x="425" y="128"/>
                    <a:pt x="425" y="131"/>
                    <a:pt x="425" y="136"/>
                  </a:cubicBezTo>
                  <a:cubicBezTo>
                    <a:pt x="425" y="138"/>
                    <a:pt x="425" y="140"/>
                    <a:pt x="425" y="141"/>
                  </a:cubicBezTo>
                  <a:cubicBezTo>
                    <a:pt x="425" y="141"/>
                    <a:pt x="425" y="141"/>
                    <a:pt x="425" y="143"/>
                  </a:cubicBezTo>
                  <a:cubicBezTo>
                    <a:pt x="428" y="149"/>
                    <a:pt x="433" y="156"/>
                    <a:pt x="438" y="161"/>
                  </a:cubicBezTo>
                  <a:cubicBezTo>
                    <a:pt x="441" y="168"/>
                    <a:pt x="445" y="176"/>
                    <a:pt x="441" y="182"/>
                  </a:cubicBezTo>
                  <a:cubicBezTo>
                    <a:pt x="441" y="186"/>
                    <a:pt x="440" y="187"/>
                    <a:pt x="438" y="189"/>
                  </a:cubicBezTo>
                  <a:cubicBezTo>
                    <a:pt x="438" y="194"/>
                    <a:pt x="441" y="197"/>
                    <a:pt x="445" y="199"/>
                  </a:cubicBezTo>
                  <a:cubicBezTo>
                    <a:pt x="448" y="201"/>
                    <a:pt x="451" y="202"/>
                    <a:pt x="455" y="205"/>
                  </a:cubicBezTo>
                  <a:cubicBezTo>
                    <a:pt x="456" y="205"/>
                    <a:pt x="456" y="207"/>
                    <a:pt x="456" y="207"/>
                  </a:cubicBezTo>
                  <a:cubicBezTo>
                    <a:pt x="460" y="210"/>
                    <a:pt x="461" y="217"/>
                    <a:pt x="460" y="220"/>
                  </a:cubicBezTo>
                  <a:cubicBezTo>
                    <a:pt x="460" y="225"/>
                    <a:pt x="456" y="229"/>
                    <a:pt x="455" y="233"/>
                  </a:cubicBezTo>
                  <a:cubicBezTo>
                    <a:pt x="451" y="242"/>
                    <a:pt x="455" y="252"/>
                    <a:pt x="456" y="260"/>
                  </a:cubicBezTo>
                  <a:cubicBezTo>
                    <a:pt x="460" y="271"/>
                    <a:pt x="463" y="283"/>
                    <a:pt x="464" y="294"/>
                  </a:cubicBezTo>
                  <a:cubicBezTo>
                    <a:pt x="464" y="296"/>
                    <a:pt x="464" y="298"/>
                    <a:pt x="464" y="299"/>
                  </a:cubicBezTo>
                  <a:cubicBezTo>
                    <a:pt x="464" y="306"/>
                    <a:pt x="464" y="309"/>
                    <a:pt x="468" y="314"/>
                  </a:cubicBezTo>
                  <a:cubicBezTo>
                    <a:pt x="473" y="319"/>
                    <a:pt x="476" y="324"/>
                    <a:pt x="479" y="329"/>
                  </a:cubicBezTo>
                  <a:cubicBezTo>
                    <a:pt x="483" y="337"/>
                    <a:pt x="481" y="346"/>
                    <a:pt x="479" y="354"/>
                  </a:cubicBezTo>
                  <a:cubicBezTo>
                    <a:pt x="476" y="360"/>
                    <a:pt x="476" y="369"/>
                    <a:pt x="474" y="377"/>
                  </a:cubicBezTo>
                  <a:cubicBezTo>
                    <a:pt x="474" y="378"/>
                    <a:pt x="474" y="378"/>
                    <a:pt x="474" y="380"/>
                  </a:cubicBezTo>
                  <a:cubicBezTo>
                    <a:pt x="468" y="400"/>
                    <a:pt x="460" y="406"/>
                    <a:pt x="443" y="420"/>
                  </a:cubicBezTo>
                  <a:cubicBezTo>
                    <a:pt x="408" y="449"/>
                    <a:pt x="418" y="466"/>
                    <a:pt x="440" y="497"/>
                  </a:cubicBezTo>
                  <a:cubicBezTo>
                    <a:pt x="441" y="499"/>
                    <a:pt x="443" y="500"/>
                    <a:pt x="445" y="504"/>
                  </a:cubicBezTo>
                  <a:cubicBezTo>
                    <a:pt x="458" y="520"/>
                    <a:pt x="463" y="542"/>
                    <a:pt x="483" y="553"/>
                  </a:cubicBezTo>
                  <a:lnTo>
                    <a:pt x="483" y="555"/>
                  </a:lnTo>
                  <a:cubicBezTo>
                    <a:pt x="499" y="563"/>
                    <a:pt x="522" y="558"/>
                    <a:pt x="537" y="571"/>
                  </a:cubicBezTo>
                  <a:cubicBezTo>
                    <a:pt x="544" y="578"/>
                    <a:pt x="545" y="586"/>
                    <a:pt x="548" y="593"/>
                  </a:cubicBezTo>
                  <a:lnTo>
                    <a:pt x="548" y="594"/>
                  </a:lnTo>
                  <a:cubicBezTo>
                    <a:pt x="550" y="601"/>
                    <a:pt x="552" y="607"/>
                    <a:pt x="557" y="612"/>
                  </a:cubicBezTo>
                  <a:cubicBezTo>
                    <a:pt x="572" y="626"/>
                    <a:pt x="595" y="619"/>
                    <a:pt x="611" y="632"/>
                  </a:cubicBezTo>
                  <a:cubicBezTo>
                    <a:pt x="611" y="634"/>
                    <a:pt x="611" y="634"/>
                    <a:pt x="611" y="634"/>
                  </a:cubicBezTo>
                  <a:cubicBezTo>
                    <a:pt x="628" y="649"/>
                    <a:pt x="639" y="677"/>
                    <a:pt x="629" y="698"/>
                  </a:cubicBezTo>
                </a:path>
              </a:pathLst>
            </a:cu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endParaRPr>
            </a:p>
          </p:txBody>
        </p:sp>
      </p:grpSp>
      <p:sp>
        <p:nvSpPr>
          <p:cNvPr id="5" name="TextBox 3"/>
          <p:cNvSpPr txBox="1"/>
          <p:nvPr/>
        </p:nvSpPr>
        <p:spPr>
          <a:xfrm>
            <a:off x="853265" y="-185165"/>
            <a:ext cx="21229672" cy="17419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algn="l" defTabSz="1650650">
              <a:lnSpc>
                <a:spcPct val="200000"/>
              </a:lnSpc>
              <a:defRPr sz="59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ГЕОГРАФИЯ</a:t>
            </a:r>
            <a:r>
              <a:rPr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 </a:t>
            </a:r>
            <a:r>
              <a:rPr sz="6600" cap="all" dirty="0" err="1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</a:rPr>
              <a:t>стажировки</a:t>
            </a:r>
            <a:endParaRPr sz="6600" cap="all" dirty="0">
              <a:solidFill>
                <a:srgbClr val="053674"/>
              </a:solidFill>
              <a:latin typeface="VTB Group Demi Bold" panose="020B0703050504020204" pitchFamily="34" charset="-52"/>
              <a:ea typeface="Arial"/>
              <a:cs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53265" y="2324900"/>
            <a:ext cx="9814735" cy="11151771"/>
          </a:xfrm>
          <a:prstGeom prst="rect">
            <a:avLst/>
          </a:prstGeom>
        </p:spPr>
        <p:txBody>
          <a:bodyPr wrap="square" numCol="3">
            <a:spAutoFit/>
          </a:bodyPr>
          <a:lstStyle/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Архангель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Астрахань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Барнаул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Белгород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Благовещен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Брян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Великий Новгород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Владивосто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Владимир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Волгоград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Воронеж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Грозный</a:t>
            </a:r>
            <a:endParaRPr lang="ru-RU" sz="3200" dirty="0" smtClean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Екатеринбург</a:t>
            </a: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Зеленоград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Иваново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Ижев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Иркут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Йошкар-Ола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Казань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Калининград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096000" y="1614027"/>
            <a:ext cx="3754582" cy="1184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lvl="0" indent="-4572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Калуга</a:t>
            </a:r>
          </a:p>
          <a:p>
            <a:pPr marL="457200" lvl="0" indent="-4572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Кемерово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Киров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Коломна</a:t>
            </a: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Королев</a:t>
            </a: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Кострома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Краснодар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Краснояр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Липец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Москва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Мурман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Нижний Новгород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Новокузнец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Новосибир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Новый </a:t>
            </a: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Уренгой</a:t>
            </a: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Ногин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Ом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Орёл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Оренбург</a:t>
            </a:r>
          </a:p>
          <a:p>
            <a:pPr marL="34290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2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Курск</a:t>
            </a:r>
            <a:endParaRPr lang="ru-RU" sz="24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2171918" y="2287324"/>
            <a:ext cx="4932218" cy="10987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Пенза</a:t>
            </a:r>
          </a:p>
          <a:p>
            <a:pPr marL="457200" indent="-4572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Пермь</a:t>
            </a:r>
          </a:p>
          <a:p>
            <a:pPr marL="457200" indent="-4572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Петрозаводск</a:t>
            </a:r>
            <a:endParaRPr lang="ru-RU" sz="24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Петропавловск-Камчатский</a:t>
            </a:r>
            <a:endParaRPr lang="ru-RU" sz="24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Подольск</a:t>
            </a:r>
          </a:p>
          <a:p>
            <a:pPr marL="457200" indent="-4572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Псков</a:t>
            </a:r>
            <a:endParaRPr lang="ru-RU" sz="24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Пят</a:t>
            </a: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игор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Ростов-на-Дону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Рязань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Самара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Санкт-Петербург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Саран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Саратов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Смолен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Сочи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Ставрополь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Сургут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Сыктывкар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Тамбов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4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Тверь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7454647" y="2338295"/>
            <a:ext cx="4427738" cy="7152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Томск</a:t>
            </a: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Тула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lvl="0" indent="-4572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Тюмень</a:t>
            </a:r>
            <a:endParaRPr lang="ru-RU" sz="3200" dirty="0" smtClean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Улан-Удэ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Ульянов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Уфа</a:t>
            </a:r>
            <a:endParaRPr lang="ru-RU" sz="3200" dirty="0" smtClean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Хабаровск 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Чебоксары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Челябин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Чита 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Южно-Сахалинск</a:t>
            </a: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Якутск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+mj-lt"/>
              <a:buAutoNum type="arabicPeriod" startAt="61"/>
            </a:pPr>
            <a:r>
              <a:rPr lang="ru-RU" sz="2400" dirty="0" smtClean="0">
                <a:latin typeface="VTB Group Cond"/>
                <a:ea typeface="Calibri" panose="020F0502020204030204" pitchFamily="34" charset="0"/>
                <a:cs typeface="Times New Roman" panose="02020603050405020304" pitchFamily="18" charset="0"/>
              </a:rPr>
              <a:t>Ярославль</a:t>
            </a:r>
            <a:endParaRPr lang="ru-RU" sz="3200" dirty="0">
              <a:latin typeface="VTB Group Cond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05859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виркл"/>
          <p:cNvSpPr/>
          <p:nvPr/>
        </p:nvSpPr>
        <p:spPr>
          <a:xfrm>
            <a:off x="1577164" y="2525281"/>
            <a:ext cx="20895974" cy="10202927"/>
          </a:xfrm>
          <a:prstGeom prst="roundRect">
            <a:avLst>
              <a:gd name="adj" fmla="val 2000"/>
            </a:avLst>
          </a:prstGeom>
          <a:solidFill>
            <a:srgbClr val="FFFFFF"/>
          </a:solidFill>
          <a:ln w="12700">
            <a:miter lim="400000"/>
          </a:ln>
          <a:effectLst>
            <a:outerShdw blurRad="698500" dist="315960" dir="5400000" rotWithShape="0">
              <a:srgbClr val="000000">
                <a:alpha val="6635"/>
              </a:srgbClr>
            </a:outerShdw>
          </a:effectLst>
        </p:spPr>
        <p:txBody>
          <a:bodyPr lIns="0" tIns="0" rIns="0" bIns="0" anchor="ctr"/>
          <a:lstStyle/>
          <a:p>
            <a:pPr defTabSz="82550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3200" b="0">
              <a:solidFill>
                <a:srgbClr val="FFFFFF"/>
              </a:solidFill>
              <a:latin typeface="VTB Group Book" panose="020B0503040504020204" pitchFamily="34" charset="-52"/>
              <a:ea typeface="+mn-ea"/>
              <a:cs typeface="+mn-cs"/>
              <a:sym typeface="Helvetica Neue Medium"/>
            </a:endParaRPr>
          </a:p>
        </p:txBody>
      </p:sp>
      <p:sp>
        <p:nvSpPr>
          <p:cNvPr id="55" name="Программы стажировок ВТБ доступны для всех, независимо от опыта работы"/>
          <p:cNvSpPr txBox="1"/>
          <p:nvPr/>
        </p:nvSpPr>
        <p:spPr>
          <a:xfrm>
            <a:off x="2106592" y="8901751"/>
            <a:ext cx="21783167" cy="1118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algn="l" defTabSz="1651000">
              <a:lnSpc>
                <a:spcPct val="110000"/>
              </a:lnSpc>
              <a:defRPr sz="7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6000" cap="all" dirty="0">
              <a:solidFill>
                <a:srgbClr val="053674"/>
              </a:solidFill>
              <a:latin typeface="VTB Group Book" panose="020B0503040504020204" pitchFamily="34" charset="-52"/>
              <a:ea typeface="Arial"/>
              <a:cs typeface="Arial"/>
              <a:sym typeface="Arial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5" t="3828" r="1248" b="48856"/>
          <a:stretch/>
        </p:blipFill>
        <p:spPr>
          <a:xfrm>
            <a:off x="7063525" y="3677920"/>
            <a:ext cx="12175135" cy="2152899"/>
          </a:xfrm>
          <a:prstGeom prst="rect">
            <a:avLst/>
          </a:prstGeom>
          <a:ln>
            <a:solidFill>
              <a:srgbClr val="333333"/>
            </a:solidFill>
          </a:ln>
        </p:spPr>
      </p:pic>
      <p:sp>
        <p:nvSpPr>
          <p:cNvPr id="38" name="TextBox 37"/>
          <p:cNvSpPr txBox="1"/>
          <p:nvPr/>
        </p:nvSpPr>
        <p:spPr>
          <a:xfrm>
            <a:off x="7115021" y="6068968"/>
            <a:ext cx="336540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914400" hangingPunct="1"/>
            <a:r>
              <a:rPr lang="en-US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I </a:t>
            </a:r>
            <a:r>
              <a:rPr lang="ru-RU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этап </a:t>
            </a:r>
          </a:p>
          <a:p>
            <a:pPr algn="l" defTabSz="914400" hangingPunct="1"/>
            <a:r>
              <a:rPr lang="ru-RU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01.07 – 31.08.22 Консультант</a:t>
            </a:r>
            <a:endParaRPr lang="ru-RU" sz="1800" b="0" kern="1200" dirty="0">
              <a:solidFill>
                <a:srgbClr val="343434"/>
              </a:solidFill>
              <a:latin typeface="VTB Group Book" panose="020B0503040504020204" pitchFamily="34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TextBox 87"/>
          <p:cNvSpPr>
            <a:spLocks noChangeArrowheads="1"/>
          </p:cNvSpPr>
          <p:nvPr/>
        </p:nvSpPr>
        <p:spPr bwMode="auto">
          <a:xfrm>
            <a:off x="2761322" y="6377335"/>
            <a:ext cx="3019245" cy="2096565"/>
          </a:xfrm>
          <a:prstGeom prst="roundRect">
            <a:avLst>
              <a:gd name="adj" fmla="val 0"/>
            </a:avLst>
          </a:prstGeom>
          <a:solidFill>
            <a:srgbClr val="0A2896"/>
          </a:solidFill>
          <a:ln w="9525">
            <a:noFill/>
            <a:round/>
            <a:headEnd/>
            <a:tailEnd/>
          </a:ln>
        </p:spPr>
        <p:txBody>
          <a:bodyPr lIns="191995" tIns="60958" rIns="191995" bIns="60958" anchor="t"/>
          <a:lstStyle/>
          <a:p>
            <a:pPr marL="355600" algn="l" defTabSz="914400" hangingPunct="1"/>
            <a:endParaRPr lang="ru-RU" sz="1400" kern="1200" dirty="0">
              <a:solidFill>
                <a:srgbClr val="FFFFFF"/>
              </a:solidFill>
              <a:latin typeface="VTB Group Book" panose="020B0503040504020204" pitchFamily="34" charset="-52"/>
              <a:ea typeface="VTB Group Cond Light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943154" y="6640903"/>
            <a:ext cx="264594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hangingPunct="1"/>
            <a:r>
              <a:rPr lang="ru-RU" sz="3200" kern="1200" dirty="0" smtClean="0">
                <a:solidFill>
                  <a:srgbClr val="FFFFFF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Обучение в розничном бизнесе</a:t>
            </a:r>
            <a:endParaRPr lang="ru-RU" sz="3200" kern="1200" dirty="0">
              <a:solidFill>
                <a:srgbClr val="FFFFFF"/>
              </a:solidFill>
              <a:latin typeface="VTB Group Book" panose="020B0503040504020204" pitchFamily="34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0195914" y="6051819"/>
            <a:ext cx="321277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914400" hangingPunct="1"/>
            <a:r>
              <a:rPr lang="en-US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II </a:t>
            </a:r>
            <a:r>
              <a:rPr lang="ru-RU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этап </a:t>
            </a:r>
          </a:p>
          <a:p>
            <a:pPr algn="l" defTabSz="914400" hangingPunct="1"/>
            <a:r>
              <a:rPr lang="ru-RU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01.09 – 28.02.23</a:t>
            </a:r>
          </a:p>
          <a:p>
            <a:pPr algn="l" defTabSz="914400" hangingPunct="1"/>
            <a:r>
              <a:rPr lang="ru-RU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Клиентский менеджер РБ</a:t>
            </a:r>
            <a:endParaRPr lang="ru-RU" sz="1800" b="0" kern="1200" dirty="0">
              <a:solidFill>
                <a:srgbClr val="343434"/>
              </a:solidFill>
              <a:latin typeface="VTB Group Book" panose="020B0503040504020204" pitchFamily="34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3314697" y="6000745"/>
            <a:ext cx="338421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914400" hangingPunct="1"/>
            <a:r>
              <a:rPr lang="en-US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III </a:t>
            </a:r>
            <a:r>
              <a:rPr lang="ru-RU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этап</a:t>
            </a:r>
            <a:r>
              <a:rPr lang="en-US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 </a:t>
            </a:r>
            <a:endParaRPr lang="ru-RU" sz="2800" kern="1200" dirty="0" smtClean="0">
              <a:solidFill>
                <a:srgbClr val="343434"/>
              </a:solidFill>
              <a:latin typeface="VTB Group Book" panose="020B0503040504020204" pitchFamily="34" charset="-52"/>
              <a:ea typeface="+mn-ea"/>
              <a:cs typeface="Arial" panose="020B0604020202020204" pitchFamily="34" charset="0"/>
            </a:endParaRPr>
          </a:p>
          <a:p>
            <a:pPr algn="l" defTabSz="914400" hangingPunct="1"/>
            <a:r>
              <a:rPr lang="ru-RU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01.03 – 30.04.23</a:t>
            </a:r>
          </a:p>
          <a:p>
            <a:pPr algn="l" defTabSz="914400" hangingPunct="1"/>
            <a:r>
              <a:rPr lang="ru-RU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Менеджер-контролер-</a:t>
            </a:r>
            <a:r>
              <a:rPr lang="ru-RU" sz="2800" kern="1200" dirty="0" err="1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операционист</a:t>
            </a:r>
            <a:endParaRPr lang="ru-RU" sz="1800" b="0" kern="1200" dirty="0">
              <a:solidFill>
                <a:srgbClr val="343434"/>
              </a:solidFill>
              <a:latin typeface="VTB Group Book" panose="020B0503040504020204" pitchFamily="34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6497923" y="5963273"/>
            <a:ext cx="298692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914400" hangingPunct="1"/>
            <a:r>
              <a:rPr lang="en-US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IV </a:t>
            </a:r>
            <a:r>
              <a:rPr lang="ru-RU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этап</a:t>
            </a:r>
            <a:r>
              <a:rPr lang="en-US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 </a:t>
            </a:r>
            <a:endParaRPr lang="ru-RU" sz="2800" kern="1200" dirty="0" smtClean="0">
              <a:solidFill>
                <a:srgbClr val="343434"/>
              </a:solidFill>
              <a:latin typeface="VTB Group Book" panose="020B0503040504020204" pitchFamily="34" charset="-52"/>
              <a:ea typeface="+mn-ea"/>
              <a:cs typeface="Arial" panose="020B0604020202020204" pitchFamily="34" charset="0"/>
            </a:endParaRPr>
          </a:p>
          <a:p>
            <a:pPr algn="l" defTabSz="914400" hangingPunct="1"/>
            <a:r>
              <a:rPr lang="ru-RU" sz="280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1.05 – 30.06.23 Персональный менеджер</a:t>
            </a:r>
            <a:endParaRPr lang="ru-RU" sz="1800" b="0" kern="1200" dirty="0">
              <a:solidFill>
                <a:srgbClr val="343434"/>
              </a:solidFill>
              <a:latin typeface="VTB Group Book" panose="020B0503040504020204" pitchFamily="34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392069" y="8485663"/>
            <a:ext cx="14033242" cy="3582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65925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lang="ru-RU" sz="280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</a:rPr>
              <a:t>На каждом этапе Юниор</a:t>
            </a:r>
            <a:r>
              <a:rPr lang="ru-RU" sz="2800" b="0" kern="1200" dirty="0">
                <a:solidFill>
                  <a:srgbClr val="343434"/>
                </a:solidFill>
                <a:latin typeface="VTB Group Book" pitchFamily="34" charset="-52"/>
                <a:ea typeface="+mn-ea"/>
                <a:cs typeface="+mn-cs"/>
              </a:rPr>
              <a:t>:</a:t>
            </a:r>
          </a:p>
          <a:p>
            <a:pPr marL="171450" indent="-171450" algn="l" defTabSz="914400" hangingPunct="1"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lang="ru-RU" sz="2800" b="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Знакомится </a:t>
            </a:r>
            <a:r>
              <a:rPr lang="ru-RU" sz="2800" b="0" kern="1200" dirty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со структурой и направлениями развития в розничном бизнесе</a:t>
            </a:r>
          </a:p>
          <a:p>
            <a:pPr marL="171450" indent="-171450" algn="l" defTabSz="914400" hangingPunct="1"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lang="ru-RU" sz="2800" b="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Определяет </a:t>
            </a:r>
            <a:r>
              <a:rPr lang="ru-RU" sz="2800" b="0" kern="1200" dirty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вектор обучения: ипотека, автокредитование, универсальная фронт-линия, работа с привилегированными клиентами </a:t>
            </a:r>
          </a:p>
          <a:p>
            <a:pPr marL="171450" indent="-171450" algn="l" defTabSz="914400" hangingPunct="1"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lang="ru-RU" sz="2800" b="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Проходит </a:t>
            </a:r>
            <a:r>
              <a:rPr lang="ru-RU" sz="2800" b="0" kern="1200" dirty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комплексную учебную программу, стажировку у наставника, </a:t>
            </a:r>
            <a:r>
              <a:rPr lang="ru-RU" sz="2800" b="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приступает </a:t>
            </a:r>
            <a:r>
              <a:rPr lang="ru-RU" sz="2800" b="0" kern="1200" dirty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к самостоятельной работе</a:t>
            </a:r>
          </a:p>
          <a:p>
            <a:pPr marL="171450" indent="-171450" algn="l" defTabSz="914400" hangingPunct="1">
              <a:buFont typeface="Arial" panose="020B0604020202020204" pitchFamily="34" charset="0"/>
              <a:buChar char="•"/>
              <a:defRPr sz="3500">
                <a:solidFill>
                  <a:srgbClr val="052682"/>
                </a:solidFill>
                <a:latin typeface="VTB Group Cond Light"/>
                <a:ea typeface="VTB Group Cond Light"/>
                <a:cs typeface="VTB Group Cond Light"/>
                <a:sym typeface="VTB Group Cond Light"/>
              </a:defRPr>
            </a:pPr>
            <a:r>
              <a:rPr lang="ru-RU" sz="2800" b="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По </a:t>
            </a:r>
            <a:r>
              <a:rPr lang="ru-RU" sz="2800" b="0" kern="1200" dirty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окончании стажировки </a:t>
            </a:r>
            <a:r>
              <a:rPr lang="ru-RU" sz="2800" b="0" kern="1200" dirty="0" smtClean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получает возможность перейти </a:t>
            </a:r>
            <a:r>
              <a:rPr lang="ru-RU" sz="2800" b="0" kern="1200" dirty="0">
                <a:solidFill>
                  <a:srgbClr val="343434"/>
                </a:solidFill>
                <a:latin typeface="VTB Group Book" panose="020B0503040504020204" pitchFamily="34" charset="-52"/>
                <a:ea typeface="+mn-ea"/>
                <a:cs typeface="Arial" panose="020B0604020202020204" pitchFamily="34" charset="0"/>
              </a:rPr>
              <a:t>на постоянную должность и выстроить свой карьерный путь в Банке</a:t>
            </a:r>
          </a:p>
        </p:txBody>
      </p:sp>
      <p:sp>
        <p:nvSpPr>
          <p:cNvPr id="22" name="TextBox 3"/>
          <p:cNvSpPr txBox="1"/>
          <p:nvPr/>
        </p:nvSpPr>
        <p:spPr>
          <a:xfrm>
            <a:off x="1577165" y="1034909"/>
            <a:ext cx="21229672" cy="10563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algn="l" defTabSz="1651000">
              <a:lnSpc>
                <a:spcPct val="110000"/>
              </a:lnSpc>
              <a:defRPr sz="7000" cap="all">
                <a:solidFill>
                  <a:srgbClr val="053674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  <a:sym typeface="Arial"/>
              </a:rPr>
              <a:t>обучение </a:t>
            </a:r>
            <a:r>
              <a:rPr lang="ru-RU" sz="6600" cap="all" dirty="0" err="1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  <a:sym typeface="Arial"/>
              </a:rPr>
              <a:t>втб</a:t>
            </a:r>
            <a:r>
              <a:rPr lang="ru-RU" sz="6600" cap="all" dirty="0">
                <a:solidFill>
                  <a:srgbClr val="053674"/>
                </a:solidFill>
                <a:latin typeface="VTB Group Demi Bold" panose="020B0703050504020204" pitchFamily="34" charset="-52"/>
                <a:ea typeface="Arial"/>
                <a:cs typeface="Arial"/>
                <a:sym typeface="Arial"/>
              </a:rPr>
              <a:t> юниор в региональной сети</a:t>
            </a:r>
          </a:p>
        </p:txBody>
      </p:sp>
    </p:spTree>
    <p:extLst>
      <p:ext uri="{BB962C8B-B14F-4D97-AF65-F5344CB8AC3E}">
        <p14:creationId xmlns:p14="http://schemas.microsoft.com/office/powerpoint/2010/main" val="37915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IqZaBkVkqElJtC9FRvb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_xql2SJEenM6sa91uW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zNcCtbo06a95j3nayms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vaa4QqNEqqzJmgE0jK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dVjtqp9kWdwYGLcralo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y7rRnY6k61sPsVX8trI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7RyxM1oEW6w336vPvFe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8Z21ruxk2g5Xdt4dRZk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DGqe2V9kyCit0qllhjO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Wk.mQ_vE6j2.wD3hWm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yJLZIl3EKiZh64uHy97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XmoBmYE6WMsfU2Ut8C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Mi3hqlbkG4TlPmHhNy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O0uRpBCEub4AT1l2csG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mzVRvpFEqXh7_WPJchW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5G.cdTUESsngVvvRLfd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q1Sq0A2UqRTElVIlsVO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D8dz8wQU.9BQV9YoOMg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my0j1LcU6GNvfbP8EQB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wCxIW2yEW2ll5z8eWq7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xS3VEK0kqMMIowd8wNb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ETPoLTke00b410q_Tj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egLdehY0Wb9WsG1bJXC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_Mwrj0.ECOrjQxqJbOQ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6UEZkSsUGyoVS1L_Ndb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ualFQkU.sJGH_pY0p8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MJsnQeckCmobQMSsNaT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rnF5GHkkeQKfairqXHM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HcHQmZKEOig3R5hnRbv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bcp0Q.u0yam5I8VgqQ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evMbJsJUuTJ5iYeW79a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35q1kuyUSfmswyuLCO8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ZTmNxB30GmjiWS2WGIB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G7GyvqXU.0pCxKOAN6G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CoG9e1rUm7KkXGLyT.Q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BFDTMq7k2WJtQf9EaJq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9l41ACcUSHTuhX3LC3V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JR1xcWtUSZRQiGBt5Gg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6_bsFn0kmxrORQGDO4v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4P.BxeDkGACvl67ZAC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xmJYrN_Eqrm_ky0VZfU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amOWJiL060t3CYG8Y6R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MP69PC4Em9AmQ2RXJ2q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Gf4bRN9kWFeBUAoqlCw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SKtOxXEqLyc2s76IBw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io7QkJ5USzJ86aMibbg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xRluGaWUy6obKblW8xn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b8i7vqqkKhhruJPAjR6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JCqdSQuEiHIkDpeVSC4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1jbwD56U6Wq6nrEODw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VKeBEjPUGN9q8p6UdIP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zoni6N.0e2LR6dQOTha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a.f8bp.kW8wPt1QNzbw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W3hkzCkql29g1QO_hO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XN8Bq48kWGBBZkK79kN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5vWXep10.UTQ6YjshUB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iVJsupGk.i7BT5j9M1L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iiA5JUGk.pdkgW5Hhh2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zmMZAyaE6RxbHl4WVLY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3Ip7wGGEuqF.KfJyVi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6yRPif1EqddVMJ5qib7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GeVvEcg02NqJcVK365T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8CCSo7kEuZ9BnQSgNY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Mqsf_HREGZ6JB3JT0zy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kZB2SzH0uTzTP9cr_Ec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HytK9oRU2MtTSi_uHWs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Nhi5Lu.ECpk6zDlqWjM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D4H5sI4kSuEz0ifwDEo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JGSREfmkm6VlNv8jwOI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zAfCPg7k6Uje2NzfAD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L7DvhuUk61m34NxJSQo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NRbrc2QUaP3uCjQcSnY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ngnlbUWUqg_E2xbfh91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uoq0_Rnk2Ih2Rkj1Ojl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guMjO4mk.CyJ9KPRMM5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M.AcRZa0ukNgsSr1oM0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atb3xmwk6ZApLyLbMLT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9qerrJIE2tgMeq.Pps7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RVz5NtI0eKJABpMMA9B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xs48mmvkGuhZcepwuz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qIk7ZsfEGBsfmTTHRhw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y_8EzOQ0eGZhPKbGZA.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PQhaYfgUOUpzkNud4hR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yyrNcNAkGVVXV507YqC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E6.o0aakuCRyR7zH6tN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TCdNO_oUCAh5MPlfU1w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2r1zjD2kG0B4EeQYuRp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4_i6efJEiMyG1xC3geq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vL3tX7Tk.vCccXbhjdy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I36M4aDUGaQu2TecbJq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sI5IFZMkiQtvnOG94S_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tV2D0hKUC5eSTda53wa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_dBrzTLkKgxu2DonVFr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yfkeTIdUiunpk_N36Ed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XZf.UlUUuMmetHnlOTq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NXkYf6Kk.Iv0XieyGMN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OrpHZHQ0uikgDaOwOk0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NfFzpFm0S8ceR0eWTFO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tW3CjkDkuI1E_bW_Wtk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DvMnfx1EC6n7ru1DGw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8qVLKCAEClgEfxnFmrs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lFdLklkuBd3fJ72WOc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4DuL3dKUCWJnn4KIlTm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fDcA8Cg0S6i7ND1RPSJ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JGdwzvykaytbkP4aqV9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FHjr37zUa7uax1ZjtPc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WHR9wBvE2cKINJBu7T8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YNGFBwAki.pZOER9UeJ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XoC0TevEyxSmKA0NWb1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X_YfU2Ue9qUKdRbGGs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_xgpCyHkOVB922KD65h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dc1yWwQkG09Qx7EVRkZ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6ksDrEvkqyDZ.MLk21i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S63zu6106ZeOabMpVU_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cdyXPfLEuz24U0mik_z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p2zOB.JEubiR158powc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ft4K53kSriCL2p0J55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IjZGobMEGFUtHqSxT9B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Am0pgN20aIoAcizJe8o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lJkCsSQUqM4m1VWve0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k2SCGMMEasX0KmLUcxO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4LVYQNx02YnEadNfUQ.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NnOurJfUK2HuJAJKdx5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0DjhUxDEWHEgom9hUfw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57HdPXFEinsKpJYBCF3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0cogQtXUOThS0rjklpK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kFUJZagUS_9D94SEj0u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eJMqok5kWlITVNk_tM9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6d3qTcGEuqHQDcoJNui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7j6QkcqE2Vwue9WZDJ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O8U_.zRES4frM8Ld7qn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bQ7RFVUUKQg0HePhzlG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ANOaXS90q9nish2e5xS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mvU2zSq0y2PDoWj3cY.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rFNXg8RkaJ42BPGYTP0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GSCttBCkS.DEPBNqUX2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hQ0kzhq0KdpxDStIvWC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4WODkL9EGzvwgHh4I8S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l.XkivHUuYuIbYtBefu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0zcTEPTUifqLMKBtmS8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6U0SYJ4naynM0ijtudq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uIx9bN6EqBLEhFhykIH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u6Ej_d2UaSz.QxAlFyD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9ehucMJEew3U3zqylQK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xv9bKghECY31R6HoPPN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MuSBU0wE23QVYzUiLO0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1SLbBBukS8YHq9yWCqW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rvdXQtpEikvyeR3bQK.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GdsDjL5kmoI.MtZZcUE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Z4PKu66UikyAqpFAg8w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2eRPb.EGbJ8fDWfSs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miHQwu90W_MuBC34XZ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HVqt0bYU.pFu1.awV9W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b53dc4Ui4a9PJ3gjnT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WcJ48hD0S3DgQJrqife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U0YN9rh0KKj3q7dSGg5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QaiFnybkyEPUwYXNaWJ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yaps5hwEq80yEpPXKUG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MavmXX9EuObY83LXRxK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_86hsTUiGrC4FM9s7a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r9NIP7FEKn5g_6aBHaK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Yl0mkAjke4BBRwwKzt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hFDGinmU2hMAI_b7knR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nDuJ_y8k.7DAVpsY9x.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GQVlyeC0SKlTVXHwClL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r8VLvjpkmNX7R1iyQu1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wU1fYlxkmfg5CYRhc3D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tiBj2W5UyYE7vMnvWMF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42FPUkXEiVl2vZxAcxm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vSAAw_QUOjDyKf5_EKx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Bzub8gmEKMbO0Nh28bv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UdF_u9AEinM90gkIDCw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M2dY9BPk6iJnz5rcC3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nFSjvnNEWWl._IY4947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UbBYNKc0OZW2BBvmi0k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pdMgh2zU6zuF1jc8QX4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IxjPtFoUG6dtqMeA5nc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HwfyCBl0iRCKR.kMKdT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z5ohLeP0uYJRx.Z9zc8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8JmR1Mhkmc0cgyMCKrt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nWhSXkK06S2MUY_ZHys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f7TXrGEEOmNMoXcqMf3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Vjs7CluE.3ElNcqWq3Y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.19BlvZk679w8udYJy3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t23DAbmEuXWEIHezZQ0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KSBicUlEi334AG7XXGy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vmlz.8u0aZpjfTN7j3p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TYhHX9u0iK7dHkWoKWK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053aZ3O02FWhNsW5qlg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Ba8f1lXUi3SU2XDDX_Y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VFMKm8CEWMvza_AxYOW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_zSqK6i0Se3OMMA2dn_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Ynle7ha0GP4dQwISDC9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WbsuUCE0Sn7a.HF1LWA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nhurPqbUKRzbLma_Pg7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Cas4mslUafnbUCJhide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8x.NYQrUWowoHOtlgHd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zzKzpWtUmu331S8svAv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b9.GauEUenlfNGyFUcL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9Vc9FLGEmke4B6Fm9I.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NeUKmrrUSWiplUNXKQU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i.Nrb2yky0QHPdkt3KQ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HBSmGHU0qH2Zo1dKKFr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R0IZWrl0igQwiYLeZai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ChDntXeUmEozVN.GTaE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wae2pFCUqbv0sJNF_E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pL7v5sjUm7tDjGjw3NA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jW9J4ToUeSeV8ksPJyO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6xcIXsbUGSCzkvcvbJi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8eVaRHZEOZlvAjQqiJC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KsUpOchEe1HCXpeZkeF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ylzXlOu0uKScZyn4B9h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FLo9.7FkWCqIEJMSp.J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xbagmYdUC21dD7bbxHa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ItQM_la0.1t7EcK38ha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8pmP9f0E6T2.PD_Ehyj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UOlM0gDkClocDYXhah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7mgy5zBEuARPpsY8g_T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Hkj6UiK0qc0iCaFzl0S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Xk2IqsN0WTSI_oDgxrR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KH1daDEU..FQXli0OOq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2sDEnQxkmQAQALg5aju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eIuLQRykaDpIuNlm6Vj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JX4bJj7EaANhgeIjdKM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eKoB7UqUWgBnB6lG4EN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0d1LAeHkKby71pi04Es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eJPh_QCEm2eRX.zacWB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ZKvpEQcUm0OJDxSZMG3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HTPbg9K9jupHu7R3aB.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32zh3YkGrUj.3DSVdw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6.DTwI2UOKLDEGVpWye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PXFXbys0Gd9v3Y8JZ3V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RNHNOMdUuDCl4ouhgEM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tjVApBLEi3.IbHNQXwP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6Mam1ry0a2gjYF.otX8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obrcxEaEe5HOHvRipwW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vGMT.j.UO83jNAMlhTb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6ywLlU10qQPA71Ds8WT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fc7m7tIUKR.3nkxBpo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NoYGnHSuCp6LbXlDAc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UHZkkYPk2vXiXDYYGlI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xO7AFldkWpIoG.3Ly4F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7fyfQBUiLkWGuH_Xbv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QNHHylD0miQWOL6AdeJ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FvFCHJWk6lEmTXM2ODY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_Y_iWpUWYryPhPPyR6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WbRVEhq0m6sfJvWiFiH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yaGlSZxEeJ_iPoYlJ_N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BNELh73kSubBhtHR7B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r7I4uJbEKDMdC8HwpI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gn_3x5YtLR.9OWgZJLX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Xoxxk2gESLh5hsNO2kF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xuX7cZ8kOS8sFyseYYz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9MC6sPO0iT5kaH_UIYD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InwCp0v0SHa5yObD3mW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FisRoGckGfw6.AKFZtq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Zu5j5QbEOh_1qyw2zDp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AE5YRFN0WLxDottXYN9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aLLQrbO0yFypDOo0NI_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6NovToO0GoDc3yONwjR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wg1iQVp0.H09Dn97gB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eLZOGdWSgdWDV.9UQWB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BNB2_ZNEaQjcxFk.5tx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vOs3pc0kWo4CFaHlTtH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vt6ZkifEGkSMT0HWrg2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vqkHY0aE2nI62wY.JIG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ZGE5CqBU2KJVt3c7yx4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fs24dNBEuRlGK5qiMTn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2KOawgBkCCvrrANdi6W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ob0UJvUUqSDL3QCGtog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iSOh17m0SQKMbFx1sfT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Rkd8NAukKHB4x60T__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0kmcCXWZ0vleoBnkIiS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2kgbEg1k2de9Est.Iia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0aUhvzckiB2K2tQvcZy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k5LprtpUe9xvN3BFlU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F1Uu4c2Xr_6H6jhqJr.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Gfc9RjQLC.SqJWfbXd7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lWvnA5Uold.GQgdjJk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8B8yutkEuqKC.ERRrI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7mgy5zBEuARPpsY8g_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V_FBfCEmYWZfGqPlZ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V_FBfCEmYWZfGqPlZ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miHQwu90W_MuBC34XZ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V_FBfCEmYWZfGqPlZu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V_FBfCEmYWZfGqPlZu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V_FBfCEmYWZfGqPlZu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VV_FBfCEmYWZfGqPlZ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miHQwu90W_MuBC34XZ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gCN9nuI06vtY.Y0ZAJ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5a5cr6nUeHeb0cKJ9w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5MRESiYk6mnvW.h44Z7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FSf7Rw70KyqS7YPQP8a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NR8IF0L0SySGIbULnWz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PuyHleECXv4Ypl0wc3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4RWcJExUGThWn6WQWV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wJy9.T70u6KA76sWaaK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wNHDjVU0GAySVJpTJs_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qZeJjNb0KH5iHwPgue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_MuBp5CEK9EqAw4X14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Z.HICdPU24ZM8DxIB73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znR95e0keAIOgLrOTj3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Wp0UXRjkCu2h_yFwwj.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oeb4MKW0CxRC2y5Nl0z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vcK.DLHEmuzjMitmmEv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xfpFOoUOGia0sEkez1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gBtGkxEESAx_2D94Pac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.pF9fCWLUecN2bqHrYAa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mSuu3aD0iV1TqDE7s5.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KQ0U7ZCkKxZWg07BySE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wHcTB4AEWt6O2LlpfUk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ZjA2acI0qPvnD8vk6Ij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OcPP7O60W3uAj322rlW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XgcAxHZE.DQYfqb93Gy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RAyhjPxUSMnbnQd0MRX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izSRXl4Eeo_evaFGF_R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nZAgOwUUu9zEeNdAExK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Q7KxhBXk2qbYIG2VZ6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8wMlJVJUujH3iwcKki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NgtDSDS02hm0C3vGyJt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qAogB8FkSyF5w9NY1mz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WlLrZHLk2rMt4sS3idB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I3KGego02.1OOEvfKmM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e4Ki1f7UWisXt6vvi_k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e2t2_wxEW.hDZ4gQ1Lm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_CCIOKwEGgTC3jh38Ip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5H7wnxkqjL6i.cIm5W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9JLuuAm0.R0owSC6hz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qFkfJN_U6vx3U08Ucl2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HcFxrWWkSDnlPxTIeFy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EcQPNnVUup.5wEPKlPb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9Q8F3Jb0.qNLLeos75p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ansbsFMkCZV8vj37.VZ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Z53EQA1U.PvF0rd5yDz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OS.IWQC0qYnIGSq0.LN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qXlF_vNkuok4_hcRrrp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HANt9aSUWDcWjKKfBX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DneWrZhkCyoklX9FlUE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lo5qeL8Eyb3i1311oMNQ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8_Firm Format - template_Blue">
  <a:themeElements>
    <a:clrScheme name="Custom 8">
      <a:dk1>
        <a:srgbClr val="000000"/>
      </a:dk1>
      <a:lt1>
        <a:srgbClr val="FFFFFF"/>
      </a:lt1>
      <a:dk2>
        <a:srgbClr val="0A2896"/>
      </a:dk2>
      <a:lt2>
        <a:srgbClr val="FFFFFF"/>
      </a:lt2>
      <a:accent1>
        <a:srgbClr val="D8D8D8"/>
      </a:accent1>
      <a:accent2>
        <a:srgbClr val="CCEEFF"/>
      </a:accent2>
      <a:accent3>
        <a:srgbClr val="00AAFF"/>
      </a:accent3>
      <a:accent4>
        <a:srgbClr val="0A2896"/>
      </a:accent4>
      <a:accent5>
        <a:srgbClr val="F0A028"/>
      </a:accent5>
      <a:accent6>
        <a:srgbClr val="808080"/>
      </a:accent6>
      <a:hlink>
        <a:srgbClr val="00AAFF"/>
      </a:hlink>
      <a:folHlink>
        <a:srgbClr val="0A28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TB New Template widescreen.potx" id="{EAD7C886-4BB5-4E65-9F2F-F56EDDFEAB49}" vid="{1B6CC3AA-AEBC-48BC-B389-6F91602B0EB8}"/>
    </a:ext>
  </a:extLst>
</a:theme>
</file>

<file path=ppt/theme/theme3.xml><?xml version="1.0" encoding="utf-8"?>
<a:theme xmlns:a="http://schemas.openxmlformats.org/drawingml/2006/main" name="27_Firm Format - template_Blue">
  <a:themeElements>
    <a:clrScheme name="Custom 8">
      <a:dk1>
        <a:srgbClr val="000000"/>
      </a:dk1>
      <a:lt1>
        <a:srgbClr val="FFFFFF"/>
      </a:lt1>
      <a:dk2>
        <a:srgbClr val="0A2896"/>
      </a:dk2>
      <a:lt2>
        <a:srgbClr val="FFFFFF"/>
      </a:lt2>
      <a:accent1>
        <a:srgbClr val="D8D8D8"/>
      </a:accent1>
      <a:accent2>
        <a:srgbClr val="CCEEFF"/>
      </a:accent2>
      <a:accent3>
        <a:srgbClr val="00AAFF"/>
      </a:accent3>
      <a:accent4>
        <a:srgbClr val="0A2896"/>
      </a:accent4>
      <a:accent5>
        <a:srgbClr val="F0A028"/>
      </a:accent5>
      <a:accent6>
        <a:srgbClr val="808080"/>
      </a:accent6>
      <a:hlink>
        <a:srgbClr val="00AAFF"/>
      </a:hlink>
      <a:folHlink>
        <a:srgbClr val="0A28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TB New Template widescreen.potx" id="{EAD7C886-4BB5-4E65-9F2F-F56EDDFEAB49}" vid="{1B6CC3AA-AEBC-48BC-B389-6F91602B0EB8}"/>
    </a:ext>
  </a:extLst>
</a:theme>
</file>

<file path=ppt/theme/theme4.xml><?xml version="1.0" encoding="utf-8"?>
<a:theme xmlns:a="http://schemas.openxmlformats.org/drawingml/2006/main" name="29_Firm Format - template_Blue">
  <a:themeElements>
    <a:clrScheme name="Custom 8">
      <a:dk1>
        <a:srgbClr val="000000"/>
      </a:dk1>
      <a:lt1>
        <a:srgbClr val="FFFFFF"/>
      </a:lt1>
      <a:dk2>
        <a:srgbClr val="0A2896"/>
      </a:dk2>
      <a:lt2>
        <a:srgbClr val="FFFFFF"/>
      </a:lt2>
      <a:accent1>
        <a:srgbClr val="D8D8D8"/>
      </a:accent1>
      <a:accent2>
        <a:srgbClr val="CCEEFF"/>
      </a:accent2>
      <a:accent3>
        <a:srgbClr val="00AAFF"/>
      </a:accent3>
      <a:accent4>
        <a:srgbClr val="0A2896"/>
      </a:accent4>
      <a:accent5>
        <a:srgbClr val="F0A028"/>
      </a:accent5>
      <a:accent6>
        <a:srgbClr val="808080"/>
      </a:accent6>
      <a:hlink>
        <a:srgbClr val="00AAFF"/>
      </a:hlink>
      <a:folHlink>
        <a:srgbClr val="0A28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TB New Template widescreen.potx" id="{EAD7C886-4BB5-4E65-9F2F-F56EDDFEAB49}" vid="{1B6CC3AA-AEBC-48BC-B389-6F91602B0EB8}"/>
    </a:ext>
  </a:extLst>
</a:theme>
</file>

<file path=ppt/theme/theme5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42_Firm Format - template_Blue">
  <a:themeElements>
    <a:clrScheme name="Custom 8">
      <a:dk1>
        <a:srgbClr val="000000"/>
      </a:dk1>
      <a:lt1>
        <a:srgbClr val="FFFFFF"/>
      </a:lt1>
      <a:dk2>
        <a:srgbClr val="0A2896"/>
      </a:dk2>
      <a:lt2>
        <a:srgbClr val="FFFFFF"/>
      </a:lt2>
      <a:accent1>
        <a:srgbClr val="D8D8D8"/>
      </a:accent1>
      <a:accent2>
        <a:srgbClr val="CCEEFF"/>
      </a:accent2>
      <a:accent3>
        <a:srgbClr val="00AAFF"/>
      </a:accent3>
      <a:accent4>
        <a:srgbClr val="0A2896"/>
      </a:accent4>
      <a:accent5>
        <a:srgbClr val="F0A028"/>
      </a:accent5>
      <a:accent6>
        <a:srgbClr val="808080"/>
      </a:accent6>
      <a:hlink>
        <a:srgbClr val="00AAFF"/>
      </a:hlink>
      <a:folHlink>
        <a:srgbClr val="0A28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TB New Template widescreen.potx" id="{EAD7C886-4BB5-4E65-9F2F-F56EDDFEAB49}" vid="{1B6CC3AA-AEBC-48BC-B389-6F91602B0EB8}"/>
    </a:ext>
  </a:extLst>
</a:theme>
</file>

<file path=ppt/theme/theme7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Override1.xml><?xml version="1.0" encoding="utf-8"?>
<a:themeOverride xmlns:a="http://schemas.openxmlformats.org/drawingml/2006/main">
  <a:clrScheme name="White">
    <a:dk1>
      <a:srgbClr val="000000"/>
    </a:dk1>
    <a:lt1>
      <a:srgbClr val="FFFFFF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2.xml><?xml version="1.0" encoding="utf-8"?>
<a:themeOverride xmlns:a="http://schemas.openxmlformats.org/drawingml/2006/main">
  <a:clrScheme name="White">
    <a:dk1>
      <a:srgbClr val="000000"/>
    </a:dk1>
    <a:lt1>
      <a:srgbClr val="FFFFFF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3.xml><?xml version="1.0" encoding="utf-8"?>
<a:themeOverride xmlns:a="http://schemas.openxmlformats.org/drawingml/2006/main">
  <a:clrScheme name="White">
    <a:dk1>
      <a:srgbClr val="000000"/>
    </a:dk1>
    <a:lt1>
      <a:srgbClr val="FFFFFF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4.xml><?xml version="1.0" encoding="utf-8"?>
<a:themeOverride xmlns:a="http://schemas.openxmlformats.org/drawingml/2006/main">
  <a:clrScheme name="White">
    <a:dk1>
      <a:srgbClr val="000000"/>
    </a:dk1>
    <a:lt1>
      <a:srgbClr val="FFFFFF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5.xml><?xml version="1.0" encoding="utf-8"?>
<a:themeOverride xmlns:a="http://schemas.openxmlformats.org/drawingml/2006/main">
  <a:clrScheme name="White">
    <a:dk1>
      <a:srgbClr val="000000"/>
    </a:dk1>
    <a:lt1>
      <a:srgbClr val="FFFFFF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ppt/theme/themeOverride6.xml><?xml version="1.0" encoding="utf-8"?>
<a:themeOverride xmlns:a="http://schemas.openxmlformats.org/drawingml/2006/main">
  <a:clrScheme name="White">
    <a:dk1>
      <a:srgbClr val="000000"/>
    </a:dk1>
    <a:lt1>
      <a:srgbClr val="FFFFFF"/>
    </a:lt1>
    <a:dk2>
      <a:srgbClr val="5E5E5E"/>
    </a:dk2>
    <a:lt2>
      <a:srgbClr val="D5D5D5"/>
    </a:lt2>
    <a:accent1>
      <a:srgbClr val="00A2FF"/>
    </a:accent1>
    <a:accent2>
      <a:srgbClr val="16E7CF"/>
    </a:accent2>
    <a:accent3>
      <a:srgbClr val="61D836"/>
    </a:accent3>
    <a:accent4>
      <a:srgbClr val="FAE232"/>
    </a:accent4>
    <a:accent5>
      <a:srgbClr val="FF644E"/>
    </a:accent5>
    <a:accent6>
      <a:srgbClr val="EF5FA7"/>
    </a:accent6>
    <a:hlink>
      <a:srgbClr val="0000FF"/>
    </a:hlink>
    <a:folHlink>
      <a:srgbClr val="FF00F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44</TotalTime>
  <Words>1117</Words>
  <Application>Microsoft Office PowerPoint</Application>
  <PresentationFormat>Произвольный</PresentationFormat>
  <Paragraphs>277</Paragraphs>
  <Slides>19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42" baseType="lpstr">
      <vt:lpstr>Arial</vt:lpstr>
      <vt:lpstr>Calibri</vt:lpstr>
      <vt:lpstr>Helvetica Neue</vt:lpstr>
      <vt:lpstr>Helvetica Neue Light</vt:lpstr>
      <vt:lpstr>Helvetica Neue Medium</vt:lpstr>
      <vt:lpstr>Montserrat Regular</vt:lpstr>
      <vt:lpstr>Muller Medium</vt:lpstr>
      <vt:lpstr>Muller Regular</vt:lpstr>
      <vt:lpstr>Times New Roman</vt:lpstr>
      <vt:lpstr>VTB Group Book</vt:lpstr>
      <vt:lpstr>VTB Group Cond</vt:lpstr>
      <vt:lpstr>VTB Group Cond Demi Bold</vt:lpstr>
      <vt:lpstr>VTB Group Cond Light</vt:lpstr>
      <vt:lpstr>VTB Group Demi Bold</vt:lpstr>
      <vt:lpstr>Wingdings</vt:lpstr>
      <vt:lpstr>White</vt:lpstr>
      <vt:lpstr>28_Firm Format - template_Blue</vt:lpstr>
      <vt:lpstr>27_Firm Format - template_Blue</vt:lpstr>
      <vt:lpstr>29_Firm Format - template_Blue</vt:lpstr>
      <vt:lpstr>1_White</vt:lpstr>
      <vt:lpstr>42_Firm Format - template_Blue</vt:lpstr>
      <vt:lpstr>think-cell Slide</vt:lpstr>
      <vt:lpstr>Слайд think-cell</vt:lpstr>
      <vt:lpstr>Презентация PowerPoint</vt:lpstr>
      <vt:lpstr>Группа ВТБ сегодн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еонидис Нина Сергеевна</dc:creator>
  <cp:lastModifiedBy>Анохина Александра Романовна</cp:lastModifiedBy>
  <cp:revision>68</cp:revision>
  <dcterms:modified xsi:type="dcterms:W3CDTF">2022-03-28T12:58:46Z</dcterms:modified>
</cp:coreProperties>
</file>